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90" r:id="rId5"/>
    <p:sldMasterId id="2147483714" r:id="rId6"/>
    <p:sldMasterId id="2147483744" r:id="rId7"/>
    <p:sldMasterId id="2147483765" r:id="rId8"/>
  </p:sldMasterIdLst>
  <p:notesMasterIdLst>
    <p:notesMasterId r:id="rId59"/>
  </p:notesMasterIdLst>
  <p:handoutMasterIdLst>
    <p:handoutMasterId r:id="rId60"/>
  </p:handoutMasterIdLst>
  <p:sldIdLst>
    <p:sldId id="377" r:id="rId9"/>
    <p:sldId id="378" r:id="rId10"/>
    <p:sldId id="379" r:id="rId11"/>
    <p:sldId id="381" r:id="rId12"/>
    <p:sldId id="382" r:id="rId13"/>
    <p:sldId id="383" r:id="rId14"/>
    <p:sldId id="384" r:id="rId15"/>
    <p:sldId id="380" r:id="rId16"/>
    <p:sldId id="386" r:id="rId17"/>
    <p:sldId id="388" r:id="rId18"/>
    <p:sldId id="389" r:id="rId19"/>
    <p:sldId id="391" r:id="rId20"/>
    <p:sldId id="390" r:id="rId21"/>
    <p:sldId id="393" r:id="rId22"/>
    <p:sldId id="392" r:id="rId23"/>
    <p:sldId id="394" r:id="rId24"/>
    <p:sldId id="426" r:id="rId25"/>
    <p:sldId id="431" r:id="rId26"/>
    <p:sldId id="427" r:id="rId27"/>
    <p:sldId id="428" r:id="rId28"/>
    <p:sldId id="429" r:id="rId29"/>
    <p:sldId id="430" r:id="rId30"/>
    <p:sldId id="424" r:id="rId31"/>
    <p:sldId id="416" r:id="rId32"/>
    <p:sldId id="417" r:id="rId33"/>
    <p:sldId id="421" r:id="rId34"/>
    <p:sldId id="422" r:id="rId35"/>
    <p:sldId id="425" r:id="rId36"/>
    <p:sldId id="412" r:id="rId37"/>
    <p:sldId id="413" r:id="rId38"/>
    <p:sldId id="414" r:id="rId39"/>
    <p:sldId id="415" r:id="rId40"/>
    <p:sldId id="432" r:id="rId41"/>
    <p:sldId id="433" r:id="rId42"/>
    <p:sldId id="434" r:id="rId43"/>
    <p:sldId id="435" r:id="rId44"/>
    <p:sldId id="436" r:id="rId45"/>
    <p:sldId id="437" r:id="rId46"/>
    <p:sldId id="438" r:id="rId47"/>
    <p:sldId id="439" r:id="rId48"/>
    <p:sldId id="440" r:id="rId49"/>
    <p:sldId id="418" r:id="rId50"/>
    <p:sldId id="419" r:id="rId51"/>
    <p:sldId id="420" r:id="rId52"/>
    <p:sldId id="442" r:id="rId53"/>
    <p:sldId id="443" r:id="rId54"/>
    <p:sldId id="444" r:id="rId55"/>
    <p:sldId id="445" r:id="rId56"/>
    <p:sldId id="446" r:id="rId57"/>
    <p:sldId id="362" r:id="rId58"/>
  </p:sldIdLst>
  <p:sldSz cx="9144000" cy="5143500" type="screen16x9"/>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1952616-07AB-46D9-9B72-DC1040A274E3}">
          <p14:sldIdLst>
            <p14:sldId id="377"/>
          </p14:sldIdLst>
        </p14:section>
        <p14:section name="AppService" id="{E4BA9222-6FD9-46ED-B9FD-692DE28B9DF8}">
          <p14:sldIdLst>
            <p14:sldId id="378"/>
            <p14:sldId id="379"/>
            <p14:sldId id="381"/>
            <p14:sldId id="382"/>
            <p14:sldId id="383"/>
            <p14:sldId id="384"/>
            <p14:sldId id="380"/>
            <p14:sldId id="386"/>
            <p14:sldId id="388"/>
            <p14:sldId id="389"/>
            <p14:sldId id="391"/>
            <p14:sldId id="390"/>
            <p14:sldId id="393"/>
            <p14:sldId id="392"/>
          </p14:sldIdLst>
        </p14:section>
        <p14:section name="Storage" id="{3442616A-59BE-46DC-A64B-6EFB0239B567}">
          <p14:sldIdLst>
            <p14:sldId id="394"/>
            <p14:sldId id="426"/>
            <p14:sldId id="431"/>
            <p14:sldId id="427"/>
            <p14:sldId id="428"/>
            <p14:sldId id="429"/>
            <p14:sldId id="430"/>
            <p14:sldId id="424"/>
            <p14:sldId id="416"/>
            <p14:sldId id="417"/>
            <p14:sldId id="421"/>
            <p14:sldId id="422"/>
            <p14:sldId id="425"/>
            <p14:sldId id="412"/>
            <p14:sldId id="413"/>
            <p14:sldId id="414"/>
            <p14:sldId id="415"/>
          </p14:sldIdLst>
        </p14:section>
        <p14:section name="DevOps" id="{2ACBAB49-04B7-4EC1-8676-85ED343E4BD5}">
          <p14:sldIdLst>
            <p14:sldId id="432"/>
            <p14:sldId id="433"/>
            <p14:sldId id="434"/>
            <p14:sldId id="435"/>
            <p14:sldId id="436"/>
            <p14:sldId id="437"/>
            <p14:sldId id="438"/>
            <p14:sldId id="439"/>
            <p14:sldId id="440"/>
            <p14:sldId id="418"/>
            <p14:sldId id="419"/>
            <p14:sldId id="420"/>
            <p14:sldId id="442"/>
            <p14:sldId id="443"/>
            <p14:sldId id="444"/>
            <p14:sldId id="445"/>
            <p14:sldId id="446"/>
            <p14:sldId id="36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62983A"/>
    <a:srgbClr val="FFFFFF"/>
    <a:srgbClr val="72BF44"/>
    <a:srgbClr val="0071BC"/>
    <a:srgbClr val="FF8B8B"/>
    <a:srgbClr val="8FAAE5"/>
    <a:srgbClr val="82BE55"/>
    <a:srgbClr val="264DA6"/>
    <a:srgbClr val="386A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357" autoAdjust="0"/>
  </p:normalViewPr>
  <p:slideViewPr>
    <p:cSldViewPr>
      <p:cViewPr varScale="1">
        <p:scale>
          <a:sx n="99" d="100"/>
          <a:sy n="99" d="100"/>
        </p:scale>
        <p:origin x="926" y="43"/>
      </p:cViewPr>
      <p:guideLst>
        <p:guide orient="horz" pos="1620"/>
        <p:guide pos="2880"/>
      </p:guideLst>
    </p:cSldViewPr>
  </p:slideViewPr>
  <p:notesTextViewPr>
    <p:cViewPr>
      <p:scale>
        <a:sx n="100" d="100"/>
        <a:sy n="100" d="100"/>
      </p:scale>
      <p:origin x="0" y="0"/>
    </p:cViewPr>
  </p:notesTextViewPr>
  <p:notesViewPr>
    <p:cSldViewPr>
      <p:cViewPr varScale="1">
        <p:scale>
          <a:sx n="98" d="100"/>
          <a:sy n="98" d="100"/>
        </p:scale>
        <p:origin x="2658"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3FDC4BA-F62C-46A2-87C1-2103180CFF88}" type="datetimeFigureOut">
              <a:rPr lang="de-AT" smtClean="0"/>
              <a:t>10.02.2019</a:t>
            </a:fld>
            <a:endParaRPr lang="de-AT"/>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AT"/>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D50C009-48F3-49BF-8609-46CB9CE208D1}" type="slidenum">
              <a:rPr lang="de-AT" smtClean="0"/>
              <a:t>‹#›</a:t>
            </a:fld>
            <a:endParaRPr lang="de-AT"/>
          </a:p>
        </p:txBody>
      </p:sp>
    </p:spTree>
    <p:extLst>
      <p:ext uri="{BB962C8B-B14F-4D97-AF65-F5344CB8AC3E}">
        <p14:creationId xmlns:p14="http://schemas.microsoft.com/office/powerpoint/2010/main" val="7999634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612A09C-9A01-4873-9E29-1DA9CA5B5B01}" type="datetimeFigureOut">
              <a:rPr lang="de-DE" smtClean="0"/>
              <a:pPr/>
              <a:t>10.02.2019</a:t>
            </a:fld>
            <a:endParaRPr lang="de-AT"/>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0EAB6EA-6F0D-4BB8-A057-E1D8374E5B98}" type="slidenum">
              <a:rPr lang="de-AT" smtClean="0"/>
              <a:pPr/>
              <a:t>‹#›</a:t>
            </a:fld>
            <a:endParaRPr lang="de-AT"/>
          </a:p>
        </p:txBody>
      </p:sp>
    </p:spTree>
    <p:extLst>
      <p:ext uri="{BB962C8B-B14F-4D97-AF65-F5344CB8AC3E}">
        <p14:creationId xmlns:p14="http://schemas.microsoft.com/office/powerpoint/2010/main" val="31151645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2019 8:4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170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0381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91957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5275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5906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DevOps is the union of people, process, and products to enable continuous delivery of value to end users. </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The contraction of </a:t>
            </a:r>
            <a:r>
              <a:rPr lang="en-US" sz="1200" i="1" dirty="0">
                <a:latin typeface="Segoe UI" panose="020B0502040204020203" pitchFamily="34" charset="0"/>
                <a:cs typeface="Segoe UI" panose="020B0502040204020203" pitchFamily="34" charset="0"/>
              </a:rPr>
              <a:t>Dev</a:t>
            </a:r>
            <a:r>
              <a:rPr lang="en-US" sz="1200" dirty="0">
                <a:latin typeface="Segoe UI" panose="020B0502040204020203" pitchFamily="34" charset="0"/>
                <a:cs typeface="Segoe UI" panose="020B0502040204020203" pitchFamily="34" charset="0"/>
              </a:rPr>
              <a:t> and </a:t>
            </a:r>
            <a:r>
              <a:rPr lang="en-US" sz="1200" i="1" dirty="0">
                <a:latin typeface="Segoe UI" panose="020B0502040204020203" pitchFamily="34" charset="0"/>
                <a:cs typeface="Segoe UI" panose="020B0502040204020203" pitchFamily="34" charset="0"/>
              </a:rPr>
              <a:t>Ops</a:t>
            </a:r>
            <a:r>
              <a:rPr lang="en-US" sz="1200" dirty="0">
                <a:latin typeface="Segoe UI" panose="020B0502040204020203" pitchFamily="34" charset="0"/>
                <a:cs typeface="Segoe UI" panose="020B0502040204020203" pitchFamily="34" charset="0"/>
              </a:rPr>
              <a:t> refers to replacing </a:t>
            </a:r>
            <a:r>
              <a:rPr lang="en-US" sz="1200" dirty="0" err="1">
                <a:latin typeface="Segoe UI" panose="020B0502040204020203" pitchFamily="34" charset="0"/>
                <a:cs typeface="Segoe UI" panose="020B0502040204020203" pitchFamily="34" charset="0"/>
              </a:rPr>
              <a:t>silo’ed</a:t>
            </a:r>
            <a:r>
              <a:rPr lang="en-US" sz="1200" dirty="0">
                <a:latin typeface="Segoe UI" panose="020B0502040204020203" pitchFamily="34" charset="0"/>
                <a:cs typeface="Segoe UI" panose="020B0502040204020203" pitchFamily="34" charset="0"/>
              </a:rPr>
              <a:t> Development and Operations to create multidisciplinary teams that now work together with shared and efficient practices and tools. </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Essential DevOps practices include </a:t>
            </a:r>
            <a:r>
              <a:rPr lang="en-US" sz="1200" b="1" i="1" dirty="0">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agile planning, </a:t>
            </a:r>
            <a:r>
              <a:rPr lang="en-US" sz="1200" b="1" i="1" dirty="0">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continuous integration, </a:t>
            </a:r>
            <a:r>
              <a:rPr lang="en-US" sz="1200" b="1" i="1" dirty="0">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continuous delivery, </a:t>
            </a:r>
            <a:r>
              <a:rPr lang="en-US" sz="1200" b="1" i="1" dirty="0">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and monitoring of applications.</a:t>
            </a:r>
            <a:br>
              <a:rPr lang="en-US" sz="1200" dirty="0">
                <a:latin typeface="Segoe UI" panose="020B0502040204020203" pitchFamily="34" charset="0"/>
                <a:cs typeface="Segoe UI" panose="020B0502040204020203" pitchFamily="34" charset="0"/>
              </a:rPr>
            </a:br>
            <a:endParaRPr lang="en-US" sz="12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200" b="1" i="1" dirty="0">
                <a:latin typeface="Segoe UI" panose="020B0502040204020203" pitchFamily="34" charset="0"/>
                <a:cs typeface="Segoe UI" panose="020B0502040204020203" pitchFamily="34" charset="0"/>
              </a:rPr>
              <a:t>CLICK</a:t>
            </a:r>
            <a:r>
              <a:rPr lang="en-US" sz="1200" dirty="0">
                <a:latin typeface="Segoe UI" panose="020B0502040204020203" pitchFamily="34" charset="0"/>
                <a:cs typeface="Segoe UI" panose="020B0502040204020203" pitchFamily="34" charset="0"/>
              </a:rPr>
              <a:t> DevOps becomes reality with powerful tools that help development teams move through the different phases of the DevOps lifecycle quickly and efficiently.</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There are many powerful best-of-breed point solutions – both OSS and commercial – available today.</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These tools cover individual DevOps tasks or entire phases, and teams choose and integrate their preferred tools in order to get an end-to-end toolchain that works for them.</a:t>
            </a:r>
          </a:p>
          <a:p>
            <a:pPr marL="0" indent="0">
              <a:buFont typeface="Arial" panose="020B0604020202020204" pitchFamily="34" charset="0"/>
              <a:buNone/>
            </a:pPr>
            <a:endParaRPr lang="en-US" sz="12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200" b="1" i="1" dirty="0">
                <a:latin typeface="Segoe UI" panose="020B0502040204020203" pitchFamily="34" charset="0"/>
                <a:cs typeface="Segoe UI" panose="020B0502040204020203" pitchFamily="34" charset="0"/>
              </a:rPr>
              <a:t>CLICK</a:t>
            </a:r>
            <a:r>
              <a:rPr lang="en-US" sz="1200" dirty="0">
                <a:latin typeface="Segoe UI" panose="020B0502040204020203" pitchFamily="34" charset="0"/>
                <a:cs typeface="Segoe UI" panose="020B0502040204020203" pitchFamily="34" charset="0"/>
              </a:rPr>
              <a:t> Visual Studio Team Services (VSTS) is our Azure OSS DevOps solution and it is an easy and flexible offering.</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It’s enterprise class, integrated from end to end, extensible, and works with other tool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It ties everything together – program in any language, develop on any operating system, and deploy to any platfor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It’s best with Azure, but it integrates with other cloud providers, giving users the flexibility to explore and gradually move to Azu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dirty="0">
              <a:latin typeface="Segoe UI" panose="020B0502040204020203" pitchFamily="34" charset="0"/>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We do not ask you to stop promoting your favorite OSS DevOps tools – quite the opposite, we want your customers move the tools they are using to Azu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However, we </a:t>
            </a:r>
            <a:r>
              <a:rPr lang="en-US" sz="1200" b="1" dirty="0">
                <a:latin typeface="Segoe UI" panose="020B0502040204020203" pitchFamily="34" charset="0"/>
                <a:cs typeface="Segoe UI" panose="020B0502040204020203" pitchFamily="34" charset="0"/>
              </a:rPr>
              <a:t>do</a:t>
            </a:r>
            <a:r>
              <a:rPr lang="en-US" sz="1200" dirty="0">
                <a:latin typeface="Segoe UI" panose="020B0502040204020203" pitchFamily="34" charset="0"/>
                <a:cs typeface="Segoe UI" panose="020B0502040204020203" pitchFamily="34" charset="0"/>
              </a:rPr>
              <a:t> want you to keep in mind that VSTS is a great integration platform that can work with your OSS tool of choice and also brings additional value if you include it as part of an existing OSS DevOps setup.</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How? Let’s take </a:t>
            </a:r>
            <a:r>
              <a:rPr lang="en-US" sz="1200" b="1" dirty="0">
                <a:latin typeface="Segoe UI" panose="020B0502040204020203" pitchFamily="34" charset="0"/>
                <a:cs typeface="Segoe UI" panose="020B0502040204020203" pitchFamily="34" charset="0"/>
              </a:rPr>
              <a:t>Jenkins</a:t>
            </a:r>
            <a:r>
              <a:rPr lang="en-US" sz="1200" dirty="0">
                <a:latin typeface="Segoe UI" panose="020B0502040204020203" pitchFamily="34" charset="0"/>
                <a:cs typeface="Segoe UI" panose="020B0502040204020203" pitchFamily="34" charset="0"/>
              </a:rPr>
              <a:t> as an examp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Jenkins is a great tool and best-of-breed OSS solution. Jenkins runs on Azure, in fact you can provision a fully functional Jenkins instance in just a few minutes from the Azure portal. That’s a great start and will create some consump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But Jenkins also has some drawbacks from past experience:</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dirty="0">
                <a:latin typeface="Segoe UI" panose="020B0502040204020203" pitchFamily="34" charset="0"/>
                <a:cs typeface="Segoe UI" panose="020B0502040204020203" pitchFamily="34" charset="0"/>
              </a:rPr>
              <a:t>Managing Jenkins infrastructure</a:t>
            </a:r>
            <a:r>
              <a:rPr lang="en-US" sz="1200" dirty="0">
                <a:latin typeface="Segoe UI" panose="020B0502040204020203" pitchFamily="34" charset="0"/>
                <a:cs typeface="Segoe UI" panose="020B0502040204020203" pitchFamily="34" charset="0"/>
              </a:rPr>
              <a:t> can be cumbersome. It requires a master/slave relationship between all build nodes. As a team grows, they will require more builds which in turns requires more build nodes. From an infrastructure perspective, you need a dedicated team to manage that whole setup to ensure it runs smoothly.</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dirty="0">
                <a:latin typeface="Segoe UI" panose="020B0502040204020203" pitchFamily="34" charset="0"/>
                <a:cs typeface="Segoe UI" panose="020B0502040204020203" pitchFamily="34" charset="0"/>
              </a:rPr>
              <a:t>Security</a:t>
            </a:r>
            <a:r>
              <a:rPr lang="en-US" sz="1200" dirty="0">
                <a:latin typeface="Segoe UI" panose="020B0502040204020203" pitchFamily="34" charset="0"/>
                <a:cs typeface="Segoe UI" panose="020B0502040204020203" pitchFamily="34" charset="0"/>
              </a:rPr>
              <a:t> within Jenkins is enforced via plugins and highly complex to setup (when compared to VSTS).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The plugin </a:t>
            </a:r>
            <a:r>
              <a:rPr lang="en-US" sz="1200" b="1" dirty="0">
                <a:latin typeface="Segoe UI" panose="020B0502040204020203" pitchFamily="34" charset="0"/>
                <a:cs typeface="Segoe UI" panose="020B0502040204020203" pitchFamily="34" charset="0"/>
              </a:rPr>
              <a:t>ecosystem</a:t>
            </a:r>
            <a:r>
              <a:rPr lang="en-US" sz="1200" dirty="0">
                <a:latin typeface="Segoe UI" panose="020B0502040204020203" pitchFamily="34" charset="0"/>
                <a:cs typeface="Segoe UI" panose="020B0502040204020203" pitchFamily="34" charset="0"/>
              </a:rPr>
              <a:t> is wide but there a lot of plugins that cause stability issues within Jenkins.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dirty="0">
                <a:latin typeface="Segoe UI" panose="020B0502040204020203" pitchFamily="34" charset="0"/>
                <a:cs typeface="Segoe UI" panose="020B0502040204020203" pitchFamily="34" charset="0"/>
              </a:rPr>
              <a:t>Upgrading</a:t>
            </a:r>
            <a:r>
              <a:rPr lang="en-US" sz="1200" dirty="0">
                <a:latin typeface="Segoe UI" panose="020B0502040204020203" pitchFamily="34" charset="0"/>
                <a:cs typeface="Segoe UI" panose="020B0502040204020203" pitchFamily="34" charset="0"/>
              </a:rPr>
              <a:t> Jenkins is very painful which results in more teams using outdated version of Jenkins which can cause security risks.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dirty="0">
                <a:latin typeface="Segoe UI" panose="020B0502040204020203" pitchFamily="34" charset="0"/>
                <a:cs typeface="Segoe UI" panose="020B0502040204020203" pitchFamily="34" charset="0"/>
              </a:rPr>
              <a:t>Integrating</a:t>
            </a:r>
            <a:r>
              <a:rPr lang="en-US" sz="1200" dirty="0">
                <a:latin typeface="Segoe UI" panose="020B0502040204020203" pitchFamily="34" charset="0"/>
                <a:cs typeface="Segoe UI" panose="020B0502040204020203" pitchFamily="34" charset="0"/>
              </a:rPr>
              <a:t> Jenkins with other tools like Jira or </a:t>
            </a:r>
            <a:r>
              <a:rPr lang="en-US" sz="1200" dirty="0" err="1">
                <a:latin typeface="Segoe UI" panose="020B0502040204020203" pitchFamily="34" charset="0"/>
                <a:cs typeface="Segoe UI" panose="020B0502040204020203" pitchFamily="34" charset="0"/>
              </a:rPr>
              <a:t>Github</a:t>
            </a:r>
            <a:r>
              <a:rPr lang="en-US" sz="1200" dirty="0">
                <a:latin typeface="Segoe UI" panose="020B0502040204020203" pitchFamily="34" charset="0"/>
                <a:cs typeface="Segoe UI" panose="020B0502040204020203" pitchFamily="34" charset="0"/>
              </a:rPr>
              <a:t> is cumbersome (while VSTS provides features from all tools within one product).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If a Jenkins setup is </a:t>
            </a:r>
            <a:r>
              <a:rPr lang="en-US" sz="1200" b="1" dirty="0">
                <a:latin typeface="Segoe UI" panose="020B0502040204020203" pitchFamily="34" charset="0"/>
                <a:cs typeface="Segoe UI" panose="020B0502040204020203" pitchFamily="34" charset="0"/>
              </a:rPr>
              <a:t>mission-critical</a:t>
            </a:r>
            <a:r>
              <a:rPr lang="en-US" sz="1200" dirty="0">
                <a:latin typeface="Segoe UI" panose="020B0502040204020203" pitchFamily="34" charset="0"/>
                <a:cs typeface="Segoe UI" panose="020B0502040204020203" pitchFamily="34" charset="0"/>
              </a:rPr>
              <a:t> then setting up Jenkins in HA is extremely hard considering its backend is a filesystem rather than a database. Consequently, teams will tend to scale the Jenkins master vertically instead of horizontally as the number of jobs increases. The on-premises team is responsible to provide a decent SLA to the dev/ops team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This is not to say that teams should stop using Jenkins – but they should be aware how VSTS can help mitigate some of the drawback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This was just an example of one tool in an end-to-end DevOps toolchai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latin typeface="Segoe UI" panose="020B0502040204020203" pitchFamily="34" charset="0"/>
                <a:cs typeface="Segoe UI" panose="020B0502040204020203" pitchFamily="34" charset="0"/>
              </a:rPr>
              <a:t>If your customer is using multiple different tools, similar issues will crop up every tim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2019 9:0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4017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4715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79C3B8-7366-4A44-A34B-3977080C19E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20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Header Placeholder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74983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www.timecockpit.com/" TargetMode="Externa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ext Placeholder 10"/>
          <p:cNvSpPr>
            <a:spLocks noGrp="1"/>
          </p:cNvSpPr>
          <p:nvPr>
            <p:ph type="body" sz="quarter" idx="24" hasCustomPrompt="1"/>
          </p:nvPr>
        </p:nvSpPr>
        <p:spPr>
          <a:xfrm>
            <a:off x="1141904" y="339502"/>
            <a:ext cx="7750576" cy="685598"/>
          </a:xfrm>
          <a:prstGeom prst="rect">
            <a:avLst/>
          </a:prstGeom>
        </p:spPr>
        <p:txBody>
          <a:bodyPr lIns="0" tIns="0" rIns="0" bIns="0" anchor="b"/>
          <a:lstStyle>
            <a:lvl1pPr marL="0" indent="0">
              <a:spcBef>
                <a:spcPts val="0"/>
              </a:spcBef>
              <a:buFontTx/>
              <a:buNone/>
              <a:defRPr sz="1400">
                <a:solidFill>
                  <a:schemeClr val="accent2"/>
                </a:solidFill>
                <a:latin typeface="+mn-lt"/>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stStyle>
          <a:p>
            <a:pPr lvl="0"/>
            <a:r>
              <a:rPr lang="en-US" noProof="0" dirty="0"/>
              <a:t>Add long title here</a:t>
            </a:r>
          </a:p>
        </p:txBody>
      </p:sp>
      <p:sp>
        <p:nvSpPr>
          <p:cNvPr id="23" name="Content Placeholder 22"/>
          <p:cNvSpPr>
            <a:spLocks noGrp="1"/>
          </p:cNvSpPr>
          <p:nvPr>
            <p:ph sz="quarter" idx="20" hasCustomPrompt="1"/>
          </p:nvPr>
        </p:nvSpPr>
        <p:spPr>
          <a:xfrm>
            <a:off x="5221932" y="1498094"/>
            <a:ext cx="790140" cy="790090"/>
          </a:xfrm>
          <a:prstGeom prst="rect">
            <a:avLst/>
          </a:prstGeom>
          <a:solidFill>
            <a:schemeClr val="bg1">
              <a:lumMod val="75000"/>
            </a:schemeClr>
          </a:solidFill>
        </p:spPr>
        <p:txBody>
          <a:bodyPr anchor="ctr"/>
          <a:lstStyle>
            <a:lvl1pPr marL="0" indent="0" algn="ctr">
              <a:buNone/>
              <a:defRPr sz="1000">
                <a:solidFill>
                  <a:schemeClr val="bg1">
                    <a:lumMod val="50000"/>
                  </a:schemeClr>
                </a:solidFill>
                <a:latin typeface="+mj-lt"/>
              </a:defRPr>
            </a:lvl1pPr>
          </a:lstStyle>
          <a:p>
            <a:pPr lvl="0"/>
            <a:r>
              <a:rPr lang="en-US" noProof="0" dirty="0"/>
              <a:t>Image</a:t>
            </a:r>
          </a:p>
        </p:txBody>
      </p:sp>
      <p:sp>
        <p:nvSpPr>
          <p:cNvPr id="3" name="Rectangle 2"/>
          <p:cNvSpPr/>
          <p:nvPr userDrawn="1"/>
        </p:nvSpPr>
        <p:spPr>
          <a:xfrm>
            <a:off x="0" y="1496184"/>
            <a:ext cx="5148064" cy="248524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Titel 1"/>
          <p:cNvSpPr>
            <a:spLocks noGrp="1"/>
          </p:cNvSpPr>
          <p:nvPr>
            <p:ph type="title" hasCustomPrompt="1"/>
          </p:nvPr>
        </p:nvSpPr>
        <p:spPr>
          <a:xfrm>
            <a:off x="1144000" y="2445764"/>
            <a:ext cx="3785944" cy="681980"/>
          </a:xfrm>
          <a:prstGeom prst="rect">
            <a:avLst/>
          </a:prstGeom>
        </p:spPr>
        <p:txBody>
          <a:bodyPr wrap="square" lIns="0" tIns="0" rIns="0" bIns="0" anchor="b"/>
          <a:lstStyle>
            <a:lvl1pPr>
              <a:defRPr sz="5400">
                <a:solidFill>
                  <a:schemeClr val="tx1"/>
                </a:solidFill>
              </a:defRPr>
            </a:lvl1pPr>
          </a:lstStyle>
          <a:p>
            <a:r>
              <a:rPr lang="en-US" noProof="0" dirty="0"/>
              <a:t>Short Title</a:t>
            </a:r>
          </a:p>
        </p:txBody>
      </p:sp>
      <p:sp>
        <p:nvSpPr>
          <p:cNvPr id="12" name="Text Placeholder 11"/>
          <p:cNvSpPr>
            <a:spLocks noGrp="1"/>
          </p:cNvSpPr>
          <p:nvPr>
            <p:ph type="body" sz="quarter" idx="12" hasCustomPrompt="1"/>
          </p:nvPr>
        </p:nvSpPr>
        <p:spPr>
          <a:xfrm>
            <a:off x="6084168" y="1496184"/>
            <a:ext cx="2952328" cy="396000"/>
          </a:xfrm>
          <a:prstGeom prst="rect">
            <a:avLst/>
          </a:prstGeom>
        </p:spPr>
        <p:txBody>
          <a:bodyPr lIns="0" tIns="0" rIns="0" bIns="0">
            <a:noAutofit/>
          </a:bodyPr>
          <a:lstStyle>
            <a:lvl1pPr marL="0" indent="0">
              <a:buNone/>
              <a:defRPr sz="2400">
                <a:solidFill>
                  <a:schemeClr val="tx1"/>
                </a:solidFill>
                <a:latin typeface="Segoe UI" pitchFamily="34" charset="0"/>
                <a:ea typeface="Segoe UI" pitchFamily="34" charset="0"/>
                <a:cs typeface="Segoe UI" pitchFamily="34" charset="0"/>
              </a:defRPr>
            </a:lvl1pPr>
          </a:lstStyle>
          <a:p>
            <a:pPr lvl="0"/>
            <a:r>
              <a:rPr lang="en-US" noProof="0" dirty="0"/>
              <a:t>Your Name</a:t>
            </a:r>
          </a:p>
        </p:txBody>
      </p:sp>
      <p:sp>
        <p:nvSpPr>
          <p:cNvPr id="13" name="Text Placeholder 11"/>
          <p:cNvSpPr>
            <a:spLocks noGrp="1"/>
          </p:cNvSpPr>
          <p:nvPr>
            <p:ph type="body" sz="quarter" idx="13" hasCustomPrompt="1"/>
          </p:nvPr>
        </p:nvSpPr>
        <p:spPr>
          <a:xfrm>
            <a:off x="6084168" y="1892184"/>
            <a:ext cx="2952328" cy="396000"/>
          </a:xfrm>
          <a:prstGeom prst="rect">
            <a:avLst/>
          </a:prstGeom>
        </p:spPr>
        <p:txBody>
          <a:bodyPr lIns="0" tIns="0" rIns="0" bIns="0">
            <a:noAutofit/>
          </a:bodyPr>
          <a:lstStyle>
            <a:lvl1pPr marL="0" indent="0">
              <a:buNone/>
              <a:defRPr sz="1000">
                <a:solidFill>
                  <a:schemeClr val="tx1"/>
                </a:solidFill>
                <a:latin typeface="Segoe UI" pitchFamily="34" charset="0"/>
                <a:ea typeface="Segoe UI" pitchFamily="34" charset="0"/>
                <a:cs typeface="Segoe UI" pitchFamily="34" charset="0"/>
              </a:defRPr>
            </a:lvl1pPr>
          </a:lstStyle>
          <a:p>
            <a:pPr lvl="0"/>
            <a:r>
              <a:rPr lang="en-US" noProof="0" dirty="0"/>
              <a:t>Add company information here</a:t>
            </a:r>
          </a:p>
        </p:txBody>
      </p:sp>
      <p:sp>
        <p:nvSpPr>
          <p:cNvPr id="15" name="Text Placeholder 11"/>
          <p:cNvSpPr>
            <a:spLocks noGrp="1"/>
          </p:cNvSpPr>
          <p:nvPr>
            <p:ph type="body" sz="quarter" idx="15" hasCustomPrompt="1"/>
          </p:nvPr>
        </p:nvSpPr>
        <p:spPr>
          <a:xfrm>
            <a:off x="6084168" y="2338228"/>
            <a:ext cx="2952328" cy="796579"/>
          </a:xfrm>
          <a:prstGeom prst="rect">
            <a:avLst/>
          </a:prstGeom>
        </p:spPr>
        <p:txBody>
          <a:bodyPr lIns="0" tIns="0" rIns="0" bIns="0" anchor="ctr">
            <a:noAutofit/>
          </a:bodyPr>
          <a:lstStyle>
            <a:lvl1pPr marL="0" indent="0">
              <a:buNone/>
              <a:defRPr sz="1000">
                <a:solidFill>
                  <a:schemeClr val="tx1"/>
                </a:solidFill>
                <a:latin typeface="Segoe UI" pitchFamily="34" charset="0"/>
                <a:ea typeface="Segoe UI" pitchFamily="34" charset="0"/>
                <a:cs typeface="Segoe UI" pitchFamily="34" charset="0"/>
              </a:defRPr>
            </a:lvl1pPr>
          </a:lstStyle>
          <a:p>
            <a:pPr lvl="0"/>
            <a:r>
              <a:rPr lang="en-US" noProof="0" dirty="0"/>
              <a:t>Add your contact details here</a:t>
            </a:r>
          </a:p>
        </p:txBody>
      </p:sp>
      <p:sp>
        <p:nvSpPr>
          <p:cNvPr id="20" name="Text Placeholder 19"/>
          <p:cNvSpPr>
            <a:spLocks noGrp="1"/>
          </p:cNvSpPr>
          <p:nvPr>
            <p:ph type="body" sz="quarter" idx="25" hasCustomPrompt="1"/>
          </p:nvPr>
        </p:nvSpPr>
        <p:spPr>
          <a:xfrm>
            <a:off x="1144000" y="3134807"/>
            <a:ext cx="3790135" cy="367201"/>
          </a:xfrm>
          <a:prstGeom prst="rect">
            <a:avLst/>
          </a:prstGeom>
        </p:spPr>
        <p:txBody>
          <a:bodyPr lIns="0" tIns="0" rIns="0" bIns="0" anchor="b"/>
          <a:lstStyle>
            <a:lvl1pPr marL="0" indent="0">
              <a:buFontTx/>
              <a:buNone/>
              <a:defRPr sz="2400">
                <a:solidFill>
                  <a:schemeClr val="tx1"/>
                </a:solidFill>
                <a:latin typeface="+mj-lt"/>
              </a:defRPr>
            </a:lvl1pPr>
            <a:lvl2pPr marL="457200" indent="0">
              <a:buFontTx/>
              <a:buNone/>
              <a:defRPr sz="2400">
                <a:solidFill>
                  <a:schemeClr val="tx1"/>
                </a:solidFill>
                <a:latin typeface="+mj-lt"/>
              </a:defRPr>
            </a:lvl2pPr>
            <a:lvl3pPr marL="914400" indent="0">
              <a:buFontTx/>
              <a:buNone/>
              <a:defRPr sz="2400">
                <a:solidFill>
                  <a:schemeClr val="tx1"/>
                </a:solidFill>
                <a:latin typeface="+mj-lt"/>
              </a:defRPr>
            </a:lvl3pPr>
            <a:lvl4pPr marL="1371600" indent="0">
              <a:buFontTx/>
              <a:buNone/>
              <a:defRPr sz="2400">
                <a:solidFill>
                  <a:schemeClr val="tx1"/>
                </a:solidFill>
                <a:latin typeface="+mj-lt"/>
              </a:defRPr>
            </a:lvl4pPr>
            <a:lvl5pPr marL="1828800" indent="0">
              <a:buFontTx/>
              <a:buNone/>
              <a:defRPr sz="2400">
                <a:solidFill>
                  <a:schemeClr val="tx1"/>
                </a:solidFill>
                <a:latin typeface="+mj-lt"/>
              </a:defRPr>
            </a:lvl5pPr>
          </a:lstStyle>
          <a:p>
            <a:pPr lvl="0"/>
            <a:r>
              <a:rPr lang="en-US" noProof="0" dirty="0"/>
              <a:t>Subtitle</a:t>
            </a:r>
          </a:p>
        </p:txBody>
      </p:sp>
      <p:sp>
        <p:nvSpPr>
          <p:cNvPr id="29" name="Text Placeholder 28"/>
          <p:cNvSpPr>
            <a:spLocks noGrp="1"/>
          </p:cNvSpPr>
          <p:nvPr>
            <p:ph type="body" sz="quarter" idx="26" hasCustomPrompt="1"/>
          </p:nvPr>
        </p:nvSpPr>
        <p:spPr>
          <a:xfrm>
            <a:off x="5218187" y="2338228"/>
            <a:ext cx="793885" cy="796579"/>
          </a:xfrm>
          <a:prstGeom prst="rect">
            <a:avLst/>
          </a:prstGeom>
          <a:solidFill>
            <a:schemeClr val="bg1">
              <a:lumMod val="75000"/>
            </a:schemeClr>
          </a:solidFill>
        </p:spPr>
        <p:txBody>
          <a:bodyPr lIns="46800" rIns="46800" anchor="ctr"/>
          <a:lstStyle>
            <a:lvl1pPr marL="0" indent="0" algn="r">
              <a:buFontTx/>
              <a:buNone/>
              <a:defRPr sz="1000">
                <a:solidFill>
                  <a:schemeClr val="tx1"/>
                </a:solidFill>
                <a:latin typeface="+mn-lt"/>
              </a:defRPr>
            </a:lvl1pPr>
            <a:lvl2pPr marL="457200" indent="0">
              <a:buFontTx/>
              <a:buNone/>
              <a:defRPr sz="1000">
                <a:latin typeface="+mn-lt"/>
              </a:defRPr>
            </a:lvl2pPr>
            <a:lvl3pPr marL="914400" indent="0">
              <a:buFontTx/>
              <a:buNone/>
              <a:defRPr sz="1000">
                <a:latin typeface="+mn-lt"/>
              </a:defRPr>
            </a:lvl3pPr>
            <a:lvl4pPr marL="1371600" indent="0">
              <a:buFontTx/>
              <a:buNone/>
              <a:defRPr sz="1000">
                <a:latin typeface="+mn-lt"/>
              </a:defRPr>
            </a:lvl4pPr>
            <a:lvl5pPr marL="1828800" indent="0">
              <a:buFontTx/>
              <a:buNone/>
              <a:defRPr sz="1000">
                <a:latin typeface="+mn-lt"/>
              </a:defRPr>
            </a:lvl5pPr>
          </a:lstStyle>
          <a:p>
            <a:pPr lvl="0"/>
            <a:r>
              <a:rPr lang="en-US" noProof="0" dirty="0"/>
              <a:t>Contact</a:t>
            </a:r>
          </a:p>
        </p:txBody>
      </p:sp>
      <p:sp>
        <p:nvSpPr>
          <p:cNvPr id="31" name="Rectangle 30"/>
          <p:cNvSpPr/>
          <p:nvPr userDrawn="1"/>
        </p:nvSpPr>
        <p:spPr>
          <a:xfrm>
            <a:off x="5218187" y="3184851"/>
            <a:ext cx="793885" cy="7965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30" name="Grafik 3" descr="timecockpit_horizontal_rgb.png"/>
          <p:cNvPicPr>
            <a:picLocks noChangeAspect="1"/>
          </p:cNvPicPr>
          <p:nvPr userDrawn="1"/>
        </p:nvPicPr>
        <p:blipFill rotWithShape="1">
          <a:blip r:embed="rId2" cstate="print"/>
          <a:srcRect r="83641"/>
          <a:stretch/>
        </p:blipFill>
        <p:spPr>
          <a:xfrm>
            <a:off x="5292821" y="3260832"/>
            <a:ext cx="644615" cy="644615"/>
          </a:xfrm>
          <a:prstGeom prst="rect">
            <a:avLst/>
          </a:prstGeom>
        </p:spPr>
      </p:pic>
      <p:sp>
        <p:nvSpPr>
          <p:cNvPr id="32" name="Textfeld 12"/>
          <p:cNvSpPr txBox="1"/>
          <p:nvPr userDrawn="1"/>
        </p:nvSpPr>
        <p:spPr>
          <a:xfrm>
            <a:off x="6012160" y="3624803"/>
            <a:ext cx="1200650" cy="276999"/>
          </a:xfrm>
          <a:prstGeom prst="rect">
            <a:avLst/>
          </a:prstGeom>
          <a:noFill/>
        </p:spPr>
        <p:txBody>
          <a:bodyPr wrap="none" rtlCol="0">
            <a:spAutoFit/>
          </a:bodyPr>
          <a:lstStyle/>
          <a:p>
            <a:r>
              <a:rPr lang="en-US" sz="1200" b="1" noProof="0" dirty="0">
                <a:solidFill>
                  <a:schemeClr val="accent1"/>
                </a:solidFill>
              </a:rPr>
              <a:t>Saves the day.</a:t>
            </a:r>
          </a:p>
        </p:txBody>
      </p:sp>
      <p:pic>
        <p:nvPicPr>
          <p:cNvPr id="33" name="Grafik 3" descr="timecockpit_horizontal_rgb.png"/>
          <p:cNvPicPr>
            <a:picLocks noChangeAspect="1"/>
          </p:cNvPicPr>
          <p:nvPr userDrawn="1"/>
        </p:nvPicPr>
        <p:blipFill rotWithShape="1">
          <a:blip r:embed="rId2" cstate="print"/>
          <a:srcRect l="21866" r="-448"/>
          <a:stretch/>
        </p:blipFill>
        <p:spPr>
          <a:xfrm>
            <a:off x="6054274" y="3278177"/>
            <a:ext cx="2232338" cy="464728"/>
          </a:xfrm>
          <a:prstGeom prst="rect">
            <a:avLst/>
          </a:prstGeom>
        </p:spPr>
      </p:pic>
    </p:spTree>
    <p:extLst>
      <p:ext uri="{BB962C8B-B14F-4D97-AF65-F5344CB8AC3E}">
        <p14:creationId xmlns:p14="http://schemas.microsoft.com/office/powerpoint/2010/main" val="247847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llustration">
    <p:spTree>
      <p:nvGrpSpPr>
        <p:cNvPr id="1" name=""/>
        <p:cNvGrpSpPr/>
        <p:nvPr/>
      </p:nvGrpSpPr>
      <p:grpSpPr>
        <a:xfrm>
          <a:off x="0" y="0"/>
          <a:ext cx="0" cy="0"/>
          <a:chOff x="0" y="0"/>
          <a:chExt cx="0" cy="0"/>
        </a:xfrm>
      </p:grpSpPr>
      <p:sp>
        <p:nvSpPr>
          <p:cNvPr id="3" name="Rectangle 2"/>
          <p:cNvSpPr/>
          <p:nvPr userDrawn="1"/>
        </p:nvSpPr>
        <p:spPr>
          <a:xfrm>
            <a:off x="0" y="0"/>
            <a:ext cx="6012072"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latin typeface="+mj-lt"/>
            </a:endParaRPr>
          </a:p>
        </p:txBody>
      </p:sp>
      <p:sp>
        <p:nvSpPr>
          <p:cNvPr id="7" name="Titel 1"/>
          <p:cNvSpPr>
            <a:spLocks noGrp="1"/>
          </p:cNvSpPr>
          <p:nvPr>
            <p:ph type="title" hasCustomPrompt="1"/>
          </p:nvPr>
        </p:nvSpPr>
        <p:spPr>
          <a:xfrm>
            <a:off x="6175648" y="185166"/>
            <a:ext cx="2716832" cy="499080"/>
          </a:xfrm>
          <a:prstGeom prst="rect">
            <a:avLst/>
          </a:prstGeom>
        </p:spPr>
        <p:txBody>
          <a:bodyPr wrap="square" lIns="0" tIns="0" rIns="0" bIns="0" anchor="b"/>
          <a:lstStyle>
            <a:lvl1pPr>
              <a:defRPr sz="2400">
                <a:solidFill>
                  <a:schemeClr val="tx1"/>
                </a:solidFill>
                <a:latin typeface="Segoe UI Semilight" panose="020B0402040204020203" pitchFamily="34" charset="0"/>
                <a:cs typeface="Segoe UI Semilight" panose="020B0402040204020203" pitchFamily="34" charset="0"/>
              </a:defRPr>
            </a:lvl1pPr>
          </a:lstStyle>
          <a:p>
            <a:r>
              <a:rPr lang="de-DE" dirty="0"/>
              <a:t>Title</a:t>
            </a:r>
            <a:endParaRPr lang="en-US" dirty="0"/>
          </a:p>
        </p:txBody>
      </p:sp>
      <p:sp>
        <p:nvSpPr>
          <p:cNvPr id="8" name="Content Placeholder 7"/>
          <p:cNvSpPr>
            <a:spLocks noGrp="1"/>
          </p:cNvSpPr>
          <p:nvPr>
            <p:ph sz="quarter" idx="22" hasCustomPrompt="1"/>
          </p:nvPr>
        </p:nvSpPr>
        <p:spPr>
          <a:xfrm>
            <a:off x="467544" y="684246"/>
            <a:ext cx="5328592" cy="4215448"/>
          </a:xfrm>
          <a:prstGeom prst="rect">
            <a:avLst/>
          </a:prstGeom>
        </p:spPr>
        <p:txBody>
          <a:bodyPr lIns="0" tIns="0" rIns="0" bIns="0"/>
          <a:lstStyle>
            <a:lvl1pPr marL="180975" indent="-180975">
              <a:spcBef>
                <a:spcPts val="1200"/>
              </a:spcBef>
              <a:buFontTx/>
              <a:buNone/>
              <a:defRPr sz="2000">
                <a:solidFill>
                  <a:schemeClr val="tx1"/>
                </a:solidFill>
                <a:latin typeface="+mj-lt"/>
              </a:defRPr>
            </a:lvl1pPr>
            <a:lvl2pPr marL="361950" indent="-180975">
              <a:spcBef>
                <a:spcPts val="0"/>
              </a:spcBef>
              <a:buFontTx/>
              <a:buNone/>
              <a:defRPr sz="1600">
                <a:solidFill>
                  <a:schemeClr val="tx1"/>
                </a:solidFill>
                <a:latin typeface="+mj-lt"/>
              </a:defRPr>
            </a:lvl2pPr>
            <a:lvl3pPr marL="534988" indent="-173038">
              <a:spcBef>
                <a:spcPts val="0"/>
              </a:spcBef>
              <a:buFontTx/>
              <a:buNone/>
              <a:defRPr sz="1200">
                <a:solidFill>
                  <a:schemeClr val="tx1"/>
                </a:solidFill>
                <a:latin typeface="+mj-lt"/>
              </a:defRPr>
            </a:lvl3pPr>
            <a:lvl4pPr marL="715963" indent="-180975">
              <a:spcBef>
                <a:spcPts val="0"/>
              </a:spcBef>
              <a:buFontTx/>
              <a:buNone/>
              <a:defRPr sz="1000">
                <a:solidFill>
                  <a:schemeClr val="tx1"/>
                </a:solidFill>
                <a:latin typeface="+mj-lt"/>
              </a:defRPr>
            </a:lvl4pPr>
            <a:lvl5pPr marL="898525" indent="-182563">
              <a:spcBef>
                <a:spcPts val="0"/>
              </a:spcBef>
              <a:buFontTx/>
              <a:buNone/>
              <a:defRPr sz="1000">
                <a:solidFill>
                  <a:schemeClr val="tx1"/>
                </a:solidFill>
                <a:latin typeface="+mj-lt"/>
              </a:defRPr>
            </a:lvl5pPr>
          </a:lstStyle>
          <a:p>
            <a:pPr lvl="0"/>
            <a:r>
              <a:rPr lang="en-US" dirty="0"/>
              <a:t>Add illustration or text here (prefer illustr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23" hasCustomPrompt="1"/>
          </p:nvPr>
        </p:nvSpPr>
        <p:spPr>
          <a:xfrm>
            <a:off x="6175648" y="685362"/>
            <a:ext cx="2716832" cy="382602"/>
          </a:xfrm>
          <a:prstGeom prst="rect">
            <a:avLst/>
          </a:prstGeom>
        </p:spPr>
        <p:txBody>
          <a:bodyPr lIns="0" tIns="0" rIns="0" bIns="0"/>
          <a:lstStyle>
            <a:lvl1pPr marL="0" indent="0">
              <a:buFontTx/>
              <a:buNone/>
              <a:defRPr sz="1200">
                <a:solidFill>
                  <a:schemeClr val="tx1"/>
                </a:solidFill>
                <a:latin typeface="+mj-lt"/>
                <a:cs typeface="Segoe UI Semilight" panose="020B0402040204020203" pitchFamily="34" charset="0"/>
              </a:defRPr>
            </a:lvl1pPr>
            <a:lvl2pPr marL="457200" indent="0">
              <a:buFontTx/>
              <a:buNone/>
              <a:defRPr sz="1400">
                <a:solidFill>
                  <a:schemeClr val="tx1"/>
                </a:solidFill>
                <a:latin typeface="+mn-lt"/>
              </a:defRPr>
            </a:lvl2pPr>
            <a:lvl3pPr marL="914400" indent="0">
              <a:buFontTx/>
              <a:buNone/>
              <a:defRPr sz="1400">
                <a:solidFill>
                  <a:schemeClr val="tx1"/>
                </a:solidFill>
                <a:latin typeface="+mn-lt"/>
              </a:defRPr>
            </a:lvl3pPr>
            <a:lvl4pPr marL="1371600" indent="0">
              <a:buFontTx/>
              <a:buNone/>
              <a:defRPr sz="1400">
                <a:solidFill>
                  <a:schemeClr val="tx1"/>
                </a:solidFill>
                <a:latin typeface="+mn-lt"/>
              </a:defRPr>
            </a:lvl4pPr>
            <a:lvl5pPr marL="1828800" indent="0">
              <a:buFontTx/>
              <a:buNone/>
              <a:defRPr sz="1400">
                <a:solidFill>
                  <a:schemeClr val="tx1"/>
                </a:solidFill>
                <a:latin typeface="+mn-lt"/>
              </a:defRPr>
            </a:lvl5pPr>
          </a:lstStyle>
          <a:p>
            <a:pPr lvl="0"/>
            <a:r>
              <a:rPr lang="en-US" dirty="0"/>
              <a:t>Add a subtitle if necessary</a:t>
            </a:r>
          </a:p>
        </p:txBody>
      </p:sp>
      <p:sp>
        <p:nvSpPr>
          <p:cNvPr id="12" name="Text Placeholder 11"/>
          <p:cNvSpPr>
            <a:spLocks noGrp="1"/>
          </p:cNvSpPr>
          <p:nvPr>
            <p:ph type="body" sz="quarter" idx="24"/>
          </p:nvPr>
        </p:nvSpPr>
        <p:spPr>
          <a:xfrm>
            <a:off x="6179999" y="1203598"/>
            <a:ext cx="2712481" cy="3696096"/>
          </a:xfrm>
          <a:prstGeom prst="rect">
            <a:avLst/>
          </a:prstGeom>
        </p:spPr>
        <p:txBody>
          <a:bodyPr lIns="0" tIns="0" rIns="0" bIns="0"/>
          <a:lstStyle>
            <a:lvl1pPr marL="180975" indent="-180975">
              <a:spcBef>
                <a:spcPts val="1800"/>
              </a:spcBef>
              <a:buFontTx/>
              <a:buNone/>
              <a:defRPr sz="1800">
                <a:solidFill>
                  <a:schemeClr val="tx1"/>
                </a:solidFill>
                <a:latin typeface="Segoe UI Semilight" panose="020B0402040204020203" pitchFamily="34" charset="0"/>
                <a:cs typeface="Segoe UI Semilight" panose="020B0402040204020203" pitchFamily="34" charset="0"/>
              </a:defRPr>
            </a:lvl1pPr>
            <a:lvl2pPr marL="361950" indent="-180975">
              <a:spcBef>
                <a:spcPts val="0"/>
              </a:spcBef>
              <a:buFontTx/>
              <a:buNone/>
              <a:defRPr sz="1400">
                <a:solidFill>
                  <a:schemeClr val="tx1"/>
                </a:solidFill>
                <a:latin typeface="+mj-lt"/>
                <a:cs typeface="Segoe UI Semilight" panose="020B0402040204020203" pitchFamily="34" charset="0"/>
              </a:defRPr>
            </a:lvl2pPr>
            <a:lvl3pPr marL="534988" indent="-173038">
              <a:spcBef>
                <a:spcPts val="0"/>
              </a:spcBef>
              <a:buFontTx/>
              <a:buNone/>
              <a:defRPr sz="1200">
                <a:solidFill>
                  <a:schemeClr val="tx1"/>
                </a:solidFill>
                <a:latin typeface="+mj-lt"/>
                <a:cs typeface="Segoe UI Semilight" panose="020B0402040204020203" pitchFamily="34" charset="0"/>
              </a:defRPr>
            </a:lvl3pPr>
            <a:lvl4pPr marL="715963" indent="-180975">
              <a:spcBef>
                <a:spcPts val="0"/>
              </a:spcBef>
              <a:buFontTx/>
              <a:buNone/>
              <a:defRPr sz="1050">
                <a:solidFill>
                  <a:schemeClr val="tx1"/>
                </a:solidFill>
                <a:latin typeface="+mj-lt"/>
                <a:cs typeface="Segoe UI Semilight" panose="020B0402040204020203" pitchFamily="34" charset="0"/>
              </a:defRPr>
            </a:lvl4pPr>
            <a:lvl5pPr marL="898525" indent="-182563">
              <a:spcBef>
                <a:spcPts val="0"/>
              </a:spcBef>
              <a:buFontTx/>
              <a:buNone/>
              <a:defRPr sz="1000">
                <a:solidFill>
                  <a:schemeClr val="tx1"/>
                </a:solidFill>
                <a:latin typeface="+mj-lt"/>
                <a:cs typeface="Segoe UI Semilight" panose="020B04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25"/>
          </p:nvPr>
        </p:nvSpPr>
        <p:spPr>
          <a:xfrm>
            <a:off x="6175648" y="4535015"/>
            <a:ext cx="271683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201850735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xEl>
                                              <p:pRg st="1" end="1"/>
                                            </p:txEl>
                                          </p:spTgt>
                                        </p:tgtEl>
                                        <p:attrNameLst>
                                          <p:attrName>style.visibility</p:attrName>
                                        </p:attrNameLst>
                                      </p:cBhvr>
                                      <p:to>
                                        <p:strVal val="visible"/>
                                      </p:to>
                                    </p:set>
                                    <p:animEffect transition="in" filter="fade">
                                      <p:cBhvr>
                                        <p:cTn id="10" dur="500"/>
                                        <p:tgtEl>
                                          <p:spTgt spid="1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animEffect transition="in" filter="fade">
                                      <p:cBhvr>
                                        <p:cTn id="13" dur="500"/>
                                        <p:tgtEl>
                                          <p:spTgt spid="12">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xEl>
                                              <p:pRg st="3" end="3"/>
                                            </p:txEl>
                                          </p:spTgt>
                                        </p:tgtEl>
                                        <p:attrNameLst>
                                          <p:attrName>style.visibility</p:attrName>
                                        </p:attrNameLst>
                                      </p:cBhvr>
                                      <p:to>
                                        <p:strVal val="visible"/>
                                      </p:to>
                                    </p:set>
                                    <p:animEffect transition="in" filter="fade">
                                      <p:cBhvr>
                                        <p:cTn id="16" dur="500"/>
                                        <p:tgtEl>
                                          <p:spTgt spid="12">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10" presetClass="entr" presetSubtype="0" fill="hold" nodeType="click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83744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t>2/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22967023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t>2/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34672099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Full">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6865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1"/>
            <a:ext cx="7395504" cy="674749"/>
          </a:xfrm>
        </p:spPr>
        <p:txBody>
          <a:bodyPr/>
          <a:lstStyle>
            <a:lvl1pPr marL="207716" indent="-207716">
              <a:tabLst>
                <a:tab pos="207716" algn="l"/>
              </a:tabLst>
              <a:defRPr sz="441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787617"/>
          </a:xfrm>
        </p:spPr>
        <p:txBody>
          <a:bodyPr/>
          <a:lstStyle>
            <a:lvl1pPr marL="0" indent="0" algn="r">
              <a:spcBef>
                <a:spcPts val="0"/>
              </a:spcBef>
              <a:buNone/>
              <a:defRPr sz="2352"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71115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2311190"/>
      </p:ext>
    </p:extLst>
  </p:cSld>
  <p:clrMapOvr>
    <a:masterClrMapping/>
  </p:clrMapOvr>
  <p:transition spd="slow">
    <p:push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1" y="1071350"/>
            <a:ext cx="9143999" cy="4084074"/>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7529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Diagram layout">
    <p:bg>
      <p:bgPr>
        <a:solidFill>
          <a:srgbClr val="000000"/>
        </a:solidFill>
        <a:effectLst/>
      </p:bgPr>
    </p:bg>
    <p:spTree>
      <p:nvGrpSpPr>
        <p:cNvPr id="1" name=""/>
        <p:cNvGrpSpPr/>
        <p:nvPr/>
      </p:nvGrpSpPr>
      <p:grpSpPr>
        <a:xfrm>
          <a:off x="0" y="0"/>
          <a:ext cx="0" cy="0"/>
          <a:chOff x="0" y="0"/>
          <a:chExt cx="0" cy="0"/>
        </a:xfrm>
      </p:grpSpPr>
      <p:sp>
        <p:nvSpPr>
          <p:cNvPr id="8" name="Freeform: Shape 7"/>
          <p:cNvSpPr/>
          <p:nvPr userDrawn="1"/>
        </p:nvSpPr>
        <p:spPr>
          <a:xfrm>
            <a:off x="2" y="1071351"/>
            <a:ext cx="9143999" cy="4072151"/>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672161">
              <a:defRPr/>
            </a:pPr>
            <a:endParaRPr lang="en-US" sz="1324" kern="0">
              <a:solidFill>
                <a:prstClr val="white"/>
              </a:solidFill>
            </a:endParaRPr>
          </a:p>
        </p:txBody>
      </p:sp>
      <p:sp>
        <p:nvSpPr>
          <p:cNvPr id="4" name="Text Placeholder 3"/>
          <p:cNvSpPr>
            <a:spLocks noGrp="1"/>
          </p:cNvSpPr>
          <p:nvPr>
            <p:ph type="body" sz="quarter" idx="10"/>
          </p:nvPr>
        </p:nvSpPr>
        <p:spPr>
          <a:xfrm>
            <a:off x="5769417" y="1416897"/>
            <a:ext cx="2983159" cy="3432688"/>
          </a:xfrm>
        </p:spPr>
        <p:txBody>
          <a:bodyPr>
            <a:noAutofit/>
          </a:bodyPr>
          <a:lstStyle>
            <a:lvl1pPr>
              <a:buClr>
                <a:schemeClr val="accent1"/>
              </a:buClr>
              <a:defRPr sz="1500">
                <a:solidFill>
                  <a:schemeClr val="tx2"/>
                </a:solidFill>
                <a:latin typeface="+mj-lt"/>
              </a:defRPr>
            </a:lvl1pPr>
            <a:lvl2pPr>
              <a:buClr>
                <a:schemeClr val="accent1"/>
              </a:buClr>
              <a:defRPr sz="1350">
                <a:solidFill>
                  <a:schemeClr val="tx2"/>
                </a:solidFill>
                <a:latin typeface="+mj-lt"/>
              </a:defRPr>
            </a:lvl2pPr>
            <a:lvl3pPr>
              <a:buClr>
                <a:schemeClr val="accent1"/>
              </a:buClr>
              <a:defRPr sz="1200">
                <a:solidFill>
                  <a:schemeClr val="tx2"/>
                </a:solidFill>
                <a:latin typeface="+mj-lt"/>
              </a:defRPr>
            </a:lvl3pPr>
            <a:lvl4pPr>
              <a:buClr>
                <a:schemeClr val="accent1"/>
              </a:buClr>
              <a:defRPr sz="1050">
                <a:solidFill>
                  <a:schemeClr val="tx2"/>
                </a:solidFill>
                <a:latin typeface="+mj-lt"/>
              </a:defRPr>
            </a:lvl4pPr>
            <a:lvl5pPr>
              <a:buClr>
                <a:schemeClr val="accent1"/>
              </a:buClr>
              <a:defRPr sz="105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16318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llustration (Empty)">
    <p:spTree>
      <p:nvGrpSpPr>
        <p:cNvPr id="1" name=""/>
        <p:cNvGrpSpPr/>
        <p:nvPr/>
      </p:nvGrpSpPr>
      <p:grpSpPr>
        <a:xfrm>
          <a:off x="0" y="0"/>
          <a:ext cx="0" cy="0"/>
          <a:chOff x="0" y="0"/>
          <a:chExt cx="0" cy="0"/>
        </a:xfrm>
      </p:grpSpPr>
      <p:sp>
        <p:nvSpPr>
          <p:cNvPr id="3" name="Rectangle 2"/>
          <p:cNvSpPr/>
          <p:nvPr userDrawn="1"/>
        </p:nvSpPr>
        <p:spPr>
          <a:xfrm>
            <a:off x="0" y="0"/>
            <a:ext cx="6012072"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latin typeface="+mj-lt"/>
            </a:endParaRPr>
          </a:p>
        </p:txBody>
      </p:sp>
      <p:sp>
        <p:nvSpPr>
          <p:cNvPr id="7" name="Titel 1"/>
          <p:cNvSpPr>
            <a:spLocks noGrp="1"/>
          </p:cNvSpPr>
          <p:nvPr>
            <p:ph type="title" hasCustomPrompt="1"/>
          </p:nvPr>
        </p:nvSpPr>
        <p:spPr>
          <a:xfrm>
            <a:off x="6175648" y="185166"/>
            <a:ext cx="2716832" cy="499080"/>
          </a:xfrm>
          <a:prstGeom prst="rect">
            <a:avLst/>
          </a:prstGeom>
        </p:spPr>
        <p:txBody>
          <a:bodyPr wrap="square" lIns="0" tIns="0" rIns="0" bIns="0" anchor="b"/>
          <a:lstStyle>
            <a:lvl1pPr>
              <a:defRPr sz="2400">
                <a:solidFill>
                  <a:schemeClr val="tx1"/>
                </a:solidFill>
                <a:latin typeface="Segoe UI Semilight" panose="020B0402040204020203" pitchFamily="34" charset="0"/>
                <a:cs typeface="Segoe UI Semilight" panose="020B0402040204020203" pitchFamily="34" charset="0"/>
              </a:defRPr>
            </a:lvl1pPr>
          </a:lstStyle>
          <a:p>
            <a:r>
              <a:rPr lang="de-DE" dirty="0"/>
              <a:t>Title</a:t>
            </a:r>
            <a:endParaRPr lang="en-US" dirty="0"/>
          </a:p>
        </p:txBody>
      </p:sp>
      <p:sp>
        <p:nvSpPr>
          <p:cNvPr id="10" name="Text Placeholder 9"/>
          <p:cNvSpPr>
            <a:spLocks noGrp="1"/>
          </p:cNvSpPr>
          <p:nvPr>
            <p:ph type="body" sz="quarter" idx="23" hasCustomPrompt="1"/>
          </p:nvPr>
        </p:nvSpPr>
        <p:spPr>
          <a:xfrm>
            <a:off x="6175648" y="685362"/>
            <a:ext cx="2716832" cy="382602"/>
          </a:xfrm>
          <a:prstGeom prst="rect">
            <a:avLst/>
          </a:prstGeom>
        </p:spPr>
        <p:txBody>
          <a:bodyPr lIns="0" tIns="0" rIns="0" bIns="0"/>
          <a:lstStyle>
            <a:lvl1pPr marL="0" indent="0">
              <a:buFontTx/>
              <a:buNone/>
              <a:defRPr sz="1200">
                <a:solidFill>
                  <a:schemeClr val="tx1"/>
                </a:solidFill>
                <a:latin typeface="+mj-lt"/>
                <a:cs typeface="Segoe UI Semilight" panose="020B0402040204020203" pitchFamily="34" charset="0"/>
              </a:defRPr>
            </a:lvl1pPr>
            <a:lvl2pPr marL="457200" indent="0">
              <a:buFontTx/>
              <a:buNone/>
              <a:defRPr sz="1400">
                <a:solidFill>
                  <a:schemeClr val="tx1"/>
                </a:solidFill>
                <a:latin typeface="+mn-lt"/>
              </a:defRPr>
            </a:lvl2pPr>
            <a:lvl3pPr marL="914400" indent="0">
              <a:buFontTx/>
              <a:buNone/>
              <a:defRPr sz="1400">
                <a:solidFill>
                  <a:schemeClr val="tx1"/>
                </a:solidFill>
                <a:latin typeface="+mn-lt"/>
              </a:defRPr>
            </a:lvl3pPr>
            <a:lvl4pPr marL="1371600" indent="0">
              <a:buFontTx/>
              <a:buNone/>
              <a:defRPr sz="1400">
                <a:solidFill>
                  <a:schemeClr val="tx1"/>
                </a:solidFill>
                <a:latin typeface="+mn-lt"/>
              </a:defRPr>
            </a:lvl4pPr>
            <a:lvl5pPr marL="1828800" indent="0">
              <a:buFontTx/>
              <a:buNone/>
              <a:defRPr sz="1400">
                <a:solidFill>
                  <a:schemeClr val="tx1"/>
                </a:solidFill>
                <a:latin typeface="+mn-lt"/>
              </a:defRPr>
            </a:lvl5pPr>
          </a:lstStyle>
          <a:p>
            <a:pPr lvl="0"/>
            <a:r>
              <a:rPr lang="en-US" dirty="0"/>
              <a:t>Add a subtitle if necessary</a:t>
            </a:r>
          </a:p>
        </p:txBody>
      </p:sp>
      <p:sp>
        <p:nvSpPr>
          <p:cNvPr id="12" name="Text Placeholder 11"/>
          <p:cNvSpPr>
            <a:spLocks noGrp="1"/>
          </p:cNvSpPr>
          <p:nvPr>
            <p:ph type="body" sz="quarter" idx="24"/>
          </p:nvPr>
        </p:nvSpPr>
        <p:spPr>
          <a:xfrm>
            <a:off x="6179999" y="1203598"/>
            <a:ext cx="2712481" cy="3696096"/>
          </a:xfrm>
          <a:prstGeom prst="rect">
            <a:avLst/>
          </a:prstGeom>
        </p:spPr>
        <p:txBody>
          <a:bodyPr lIns="0" tIns="0" rIns="0" bIns="0"/>
          <a:lstStyle>
            <a:lvl1pPr marL="180975" indent="-180975">
              <a:spcBef>
                <a:spcPts val="1800"/>
              </a:spcBef>
              <a:buFontTx/>
              <a:buNone/>
              <a:defRPr sz="1800">
                <a:solidFill>
                  <a:schemeClr val="tx1"/>
                </a:solidFill>
                <a:latin typeface="Segoe UI Semilight" panose="020B0402040204020203" pitchFamily="34" charset="0"/>
                <a:cs typeface="Segoe UI Semilight" panose="020B0402040204020203" pitchFamily="34" charset="0"/>
              </a:defRPr>
            </a:lvl1pPr>
            <a:lvl2pPr marL="361950" indent="-180975">
              <a:spcBef>
                <a:spcPts val="0"/>
              </a:spcBef>
              <a:buFontTx/>
              <a:buNone/>
              <a:defRPr sz="1400">
                <a:solidFill>
                  <a:schemeClr val="tx1"/>
                </a:solidFill>
                <a:latin typeface="+mj-lt"/>
                <a:cs typeface="Segoe UI Semilight" panose="020B0402040204020203" pitchFamily="34" charset="0"/>
              </a:defRPr>
            </a:lvl2pPr>
            <a:lvl3pPr marL="534988" indent="-173038">
              <a:spcBef>
                <a:spcPts val="0"/>
              </a:spcBef>
              <a:buFontTx/>
              <a:buNone/>
              <a:defRPr sz="1200">
                <a:solidFill>
                  <a:schemeClr val="tx1"/>
                </a:solidFill>
                <a:latin typeface="+mj-lt"/>
                <a:cs typeface="Segoe UI Semilight" panose="020B0402040204020203" pitchFamily="34" charset="0"/>
              </a:defRPr>
            </a:lvl3pPr>
            <a:lvl4pPr marL="715963" indent="-180975">
              <a:spcBef>
                <a:spcPts val="0"/>
              </a:spcBef>
              <a:buFontTx/>
              <a:buNone/>
              <a:defRPr sz="1050">
                <a:solidFill>
                  <a:schemeClr val="tx1"/>
                </a:solidFill>
                <a:latin typeface="+mj-lt"/>
                <a:cs typeface="Segoe UI Semilight" panose="020B0402040204020203" pitchFamily="34" charset="0"/>
              </a:defRPr>
            </a:lvl4pPr>
            <a:lvl5pPr marL="898525" indent="-182563">
              <a:spcBef>
                <a:spcPts val="0"/>
              </a:spcBef>
              <a:buFontTx/>
              <a:buNone/>
              <a:defRPr sz="1000">
                <a:solidFill>
                  <a:schemeClr val="tx1"/>
                </a:solidFill>
                <a:latin typeface="+mj-lt"/>
                <a:cs typeface="Segoe UI Semilight" panose="020B04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p:cNvSpPr>
            <a:spLocks noGrp="1"/>
          </p:cNvSpPr>
          <p:nvPr>
            <p:ph type="body" sz="quarter" idx="25"/>
          </p:nvPr>
        </p:nvSpPr>
        <p:spPr>
          <a:xfrm>
            <a:off x="6175648" y="4535015"/>
            <a:ext cx="271683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2605700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xEl>
                                              <p:pRg st="1" end="1"/>
                                            </p:txEl>
                                          </p:spTgt>
                                        </p:tgtEl>
                                        <p:attrNameLst>
                                          <p:attrName>style.visibility</p:attrName>
                                        </p:attrNameLst>
                                      </p:cBhvr>
                                      <p:to>
                                        <p:strVal val="visible"/>
                                      </p:to>
                                    </p:set>
                                    <p:animEffect transition="in" filter="fade">
                                      <p:cBhvr>
                                        <p:cTn id="10" dur="500"/>
                                        <p:tgtEl>
                                          <p:spTgt spid="1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animEffect transition="in" filter="fade">
                                      <p:cBhvr>
                                        <p:cTn id="13" dur="500"/>
                                        <p:tgtEl>
                                          <p:spTgt spid="12">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xEl>
                                              <p:pRg st="3" end="3"/>
                                            </p:txEl>
                                          </p:spTgt>
                                        </p:tgtEl>
                                        <p:attrNameLst>
                                          <p:attrName>style.visibility</p:attrName>
                                        </p:attrNameLst>
                                      </p:cBhvr>
                                      <p:to>
                                        <p:strVal val="visible"/>
                                      </p:to>
                                    </p:set>
                                    <p:animEffect transition="in" filter="fade">
                                      <p:cBhvr>
                                        <p:cTn id="16" dur="500"/>
                                        <p:tgtEl>
                                          <p:spTgt spid="12">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10" presetClass="entr" presetSubtype="0" fill="hold" nodeType="click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sp>
        <p:nvSpPr>
          <p:cNvPr id="3" name="Rectangle 2"/>
          <p:cNvSpPr/>
          <p:nvPr userDrawn="1"/>
        </p:nvSpPr>
        <p:spPr>
          <a:xfrm>
            <a:off x="14755" y="0"/>
            <a:ext cx="9144000"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9" name="Content Placeholder 7"/>
          <p:cNvSpPr>
            <a:spLocks noGrp="1"/>
          </p:cNvSpPr>
          <p:nvPr>
            <p:ph sz="quarter" idx="22" hasCustomPrompt="1"/>
          </p:nvPr>
        </p:nvSpPr>
        <p:spPr>
          <a:xfrm>
            <a:off x="467544" y="699542"/>
            <a:ext cx="8208912" cy="3240360"/>
          </a:xfrm>
          <a:prstGeom prst="rect">
            <a:avLst/>
          </a:prstGeom>
        </p:spPr>
        <p:txBody>
          <a:bodyPr lIns="0" tIns="0" rIns="0" bIns="0"/>
          <a:lstStyle>
            <a:lvl1pPr marL="180975" indent="-180975">
              <a:spcBef>
                <a:spcPts val="1200"/>
              </a:spcBef>
              <a:buFontTx/>
              <a:buNone/>
              <a:defRPr sz="2000">
                <a:solidFill>
                  <a:schemeClr val="tx1"/>
                </a:solidFill>
                <a:latin typeface="+mj-lt"/>
              </a:defRPr>
            </a:lvl1pPr>
            <a:lvl2pPr marL="361950" indent="-180975">
              <a:spcBef>
                <a:spcPts val="0"/>
              </a:spcBef>
              <a:buFontTx/>
              <a:buNone/>
              <a:defRPr sz="1600">
                <a:solidFill>
                  <a:schemeClr val="tx1"/>
                </a:solidFill>
                <a:latin typeface="+mj-lt"/>
              </a:defRPr>
            </a:lvl2pPr>
            <a:lvl3pPr marL="534988" indent="-173038">
              <a:spcBef>
                <a:spcPts val="0"/>
              </a:spcBef>
              <a:buFontTx/>
              <a:buNone/>
              <a:defRPr sz="1200">
                <a:solidFill>
                  <a:schemeClr val="tx1"/>
                </a:solidFill>
                <a:latin typeface="+mj-lt"/>
              </a:defRPr>
            </a:lvl3pPr>
            <a:lvl4pPr marL="715963" indent="-180975">
              <a:spcBef>
                <a:spcPts val="0"/>
              </a:spcBef>
              <a:buFontTx/>
              <a:buNone/>
              <a:defRPr sz="1000">
                <a:solidFill>
                  <a:schemeClr val="tx1"/>
                </a:solidFill>
                <a:latin typeface="+mj-lt"/>
              </a:defRPr>
            </a:lvl4pPr>
            <a:lvl5pPr marL="898525" indent="-182563">
              <a:spcBef>
                <a:spcPts val="0"/>
              </a:spcBef>
              <a:buFontTx/>
              <a:buNone/>
              <a:defRPr sz="1000">
                <a:solidFill>
                  <a:schemeClr val="tx1"/>
                </a:solidFill>
                <a:latin typeface="+mj-lt"/>
              </a:defRPr>
            </a:lvl5pPr>
          </a:lstStyle>
          <a:p>
            <a:pPr lvl="0"/>
            <a:r>
              <a:rPr lang="en-US" dirty="0"/>
              <a:t>Add illustration or text here (prefer illustr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p:cNvSpPr>
            <a:spLocks noGrp="1"/>
          </p:cNvSpPr>
          <p:nvPr>
            <p:ph type="body" sz="quarter" idx="23" hasCustomPrompt="1"/>
          </p:nvPr>
        </p:nvSpPr>
        <p:spPr>
          <a:xfrm>
            <a:off x="467544" y="4510990"/>
            <a:ext cx="8208912" cy="382602"/>
          </a:xfrm>
          <a:prstGeom prst="rect">
            <a:avLst/>
          </a:prstGeom>
        </p:spPr>
        <p:txBody>
          <a:bodyPr lIns="0" tIns="0" rIns="0" bIns="0"/>
          <a:lstStyle>
            <a:lvl1pPr marL="0" indent="0">
              <a:buFontTx/>
              <a:buNone/>
              <a:defRPr sz="1200">
                <a:solidFill>
                  <a:schemeClr val="tx1"/>
                </a:solidFill>
                <a:latin typeface="+mj-lt"/>
                <a:cs typeface="Segoe UI Semilight" panose="020B0402040204020203" pitchFamily="34" charset="0"/>
              </a:defRPr>
            </a:lvl1pPr>
            <a:lvl2pPr marL="457200" indent="0">
              <a:buFontTx/>
              <a:buNone/>
              <a:defRPr sz="1400">
                <a:solidFill>
                  <a:schemeClr val="tx1"/>
                </a:solidFill>
                <a:latin typeface="+mn-lt"/>
              </a:defRPr>
            </a:lvl2pPr>
            <a:lvl3pPr marL="914400" indent="0">
              <a:buFontTx/>
              <a:buNone/>
              <a:defRPr sz="1400">
                <a:solidFill>
                  <a:schemeClr val="tx1"/>
                </a:solidFill>
                <a:latin typeface="+mn-lt"/>
              </a:defRPr>
            </a:lvl3pPr>
            <a:lvl4pPr marL="1371600" indent="0">
              <a:buFontTx/>
              <a:buNone/>
              <a:defRPr sz="1400">
                <a:solidFill>
                  <a:schemeClr val="tx1"/>
                </a:solidFill>
                <a:latin typeface="+mn-lt"/>
              </a:defRPr>
            </a:lvl4pPr>
            <a:lvl5pPr marL="1828800" indent="0">
              <a:buFontTx/>
              <a:buNone/>
              <a:defRPr sz="1400">
                <a:solidFill>
                  <a:schemeClr val="tx1"/>
                </a:solidFill>
                <a:latin typeface="+mn-lt"/>
              </a:defRPr>
            </a:lvl5pPr>
          </a:lstStyle>
          <a:p>
            <a:pPr lvl="0"/>
            <a:r>
              <a:rPr lang="en-US" dirty="0"/>
              <a:t>Add a subtitle if necessary</a:t>
            </a:r>
          </a:p>
        </p:txBody>
      </p:sp>
      <p:sp>
        <p:nvSpPr>
          <p:cNvPr id="12" name="Titel 1"/>
          <p:cNvSpPr>
            <a:spLocks noGrp="1"/>
          </p:cNvSpPr>
          <p:nvPr>
            <p:ph type="title" hasCustomPrompt="1"/>
          </p:nvPr>
        </p:nvSpPr>
        <p:spPr>
          <a:xfrm>
            <a:off x="467544" y="3995434"/>
            <a:ext cx="8208912" cy="499080"/>
          </a:xfrm>
          <a:prstGeom prst="rect">
            <a:avLst/>
          </a:prstGeom>
        </p:spPr>
        <p:txBody>
          <a:bodyPr wrap="square" lIns="0" tIns="0" rIns="0" bIns="0" anchor="b"/>
          <a:lstStyle>
            <a:lvl1pPr>
              <a:defRPr sz="2800">
                <a:solidFill>
                  <a:schemeClr val="tx1"/>
                </a:solidFill>
                <a:latin typeface="Segoe UI Semilight" panose="020B0402040204020203" pitchFamily="34" charset="0"/>
                <a:cs typeface="Segoe UI Semilight" panose="020B0402040204020203" pitchFamily="34" charset="0"/>
              </a:defRPr>
            </a:lvl1pPr>
          </a:lstStyle>
          <a:p>
            <a:r>
              <a:rPr lang="de-DE" dirty="0"/>
              <a:t>Title</a:t>
            </a:r>
            <a:endParaRPr lang="en-US" dirty="0"/>
          </a:p>
        </p:txBody>
      </p:sp>
      <p:sp>
        <p:nvSpPr>
          <p:cNvPr id="6" name="Text Placeholder 4"/>
          <p:cNvSpPr>
            <a:spLocks noGrp="1"/>
          </p:cNvSpPr>
          <p:nvPr>
            <p:ph type="body" sz="quarter" idx="25"/>
          </p:nvPr>
        </p:nvSpPr>
        <p:spPr>
          <a:xfrm>
            <a:off x="467544" y="4778821"/>
            <a:ext cx="8208912" cy="364679"/>
          </a:xfrm>
          <a:prstGeom prst="rect">
            <a:avLst/>
          </a:prstGeom>
        </p:spPr>
        <p:txBody>
          <a:bodyPr lIns="0" tIns="0" rIns="0" bIns="0" anchor="b"/>
          <a:lstStyle>
            <a:lvl1pPr marL="0" indent="0" algn="r">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3241353490"/>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3" name="Rectangle 2"/>
          <p:cNvSpPr/>
          <p:nvPr userDrawn="1"/>
        </p:nvSpPr>
        <p:spPr>
          <a:xfrm>
            <a:off x="0" y="0"/>
            <a:ext cx="6012072"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latin typeface="+mj-lt"/>
            </a:endParaRPr>
          </a:p>
        </p:txBody>
      </p:sp>
      <p:sp>
        <p:nvSpPr>
          <p:cNvPr id="7" name="Titel 1"/>
          <p:cNvSpPr>
            <a:spLocks noGrp="1"/>
          </p:cNvSpPr>
          <p:nvPr>
            <p:ph type="title" hasCustomPrompt="1"/>
          </p:nvPr>
        </p:nvSpPr>
        <p:spPr>
          <a:xfrm>
            <a:off x="6184117" y="178629"/>
            <a:ext cx="2708363" cy="499080"/>
          </a:xfrm>
          <a:prstGeom prst="rect">
            <a:avLst/>
          </a:prstGeom>
        </p:spPr>
        <p:txBody>
          <a:bodyPr wrap="square" lIns="0" tIns="0" rIns="0" bIns="0" anchor="b"/>
          <a:lstStyle>
            <a:lvl1pPr>
              <a:defRPr sz="2400">
                <a:solidFill>
                  <a:schemeClr val="tx1"/>
                </a:solidFill>
                <a:latin typeface="Segoe UI Semilight" panose="020B0402040204020203" pitchFamily="34" charset="0"/>
                <a:cs typeface="Segoe UI Semilight" panose="020B0402040204020203" pitchFamily="34" charset="0"/>
              </a:defRPr>
            </a:lvl1pPr>
          </a:lstStyle>
          <a:p>
            <a:r>
              <a:rPr lang="de-DE" dirty="0"/>
              <a:t>Title</a:t>
            </a:r>
            <a:endParaRPr lang="en-US" dirty="0"/>
          </a:p>
        </p:txBody>
      </p:sp>
      <p:sp>
        <p:nvSpPr>
          <p:cNvPr id="8" name="Content Placeholder 7"/>
          <p:cNvSpPr>
            <a:spLocks noGrp="1"/>
          </p:cNvSpPr>
          <p:nvPr>
            <p:ph sz="quarter" idx="22" hasCustomPrompt="1"/>
          </p:nvPr>
        </p:nvSpPr>
        <p:spPr>
          <a:xfrm>
            <a:off x="467544" y="178629"/>
            <a:ext cx="5328592" cy="4721065"/>
          </a:xfrm>
          <a:prstGeom prst="rect">
            <a:avLst/>
          </a:prstGeom>
        </p:spPr>
        <p:txBody>
          <a:bodyPr lIns="0" tIns="0" rIns="0" bIns="0"/>
          <a:lstStyle>
            <a:lvl1pPr marL="0" indent="0">
              <a:spcBef>
                <a:spcPts val="0"/>
              </a:spcBef>
              <a:buFontTx/>
              <a:buNone/>
              <a:tabLst>
                <a:tab pos="180975" algn="l"/>
                <a:tab pos="361950" algn="l"/>
                <a:tab pos="534988" algn="l"/>
                <a:tab pos="715963" algn="l"/>
                <a:tab pos="898525" algn="l"/>
                <a:tab pos="1079500" algn="l"/>
                <a:tab pos="1252538" algn="l"/>
                <a:tab pos="1433513" algn="l"/>
                <a:tab pos="1614488" algn="l"/>
                <a:tab pos="1795463" algn="l"/>
                <a:tab pos="1976438" algn="l"/>
                <a:tab pos="2149475" algn="l"/>
                <a:tab pos="2332038" algn="l"/>
                <a:tab pos="2513013" algn="l"/>
                <a:tab pos="2693988" algn="l"/>
                <a:tab pos="2867025" algn="l"/>
                <a:tab pos="3048000" algn="l"/>
                <a:tab pos="3228975" algn="l"/>
              </a:tabLst>
              <a:defRPr sz="1200">
                <a:solidFill>
                  <a:schemeClr val="tx1"/>
                </a:solidFill>
                <a:latin typeface="Consolas" panose="020B0609020204030204" pitchFamily="49" charset="0"/>
                <a:cs typeface="Consolas" panose="020B0609020204030204" pitchFamily="49" charset="0"/>
              </a:defRPr>
            </a:lvl1pPr>
            <a:lvl2pPr marL="361950" indent="-180975">
              <a:spcBef>
                <a:spcPts val="0"/>
              </a:spcBef>
              <a:buFontTx/>
              <a:buNone/>
              <a:defRPr sz="1200">
                <a:solidFill>
                  <a:schemeClr val="tx1"/>
                </a:solidFill>
                <a:latin typeface="Consolas" panose="020B0609020204030204" pitchFamily="49" charset="0"/>
                <a:cs typeface="Consolas" panose="020B0609020204030204" pitchFamily="49" charset="0"/>
              </a:defRPr>
            </a:lvl2pPr>
            <a:lvl3pPr marL="534988" indent="-173038">
              <a:spcBef>
                <a:spcPts val="0"/>
              </a:spcBef>
              <a:buFontTx/>
              <a:buNone/>
              <a:defRPr sz="1200">
                <a:solidFill>
                  <a:schemeClr val="tx1"/>
                </a:solidFill>
                <a:latin typeface="Consolas" panose="020B0609020204030204" pitchFamily="49" charset="0"/>
                <a:cs typeface="Consolas" panose="020B0609020204030204" pitchFamily="49" charset="0"/>
              </a:defRPr>
            </a:lvl3pPr>
            <a:lvl4pPr marL="715963" indent="-180975">
              <a:spcBef>
                <a:spcPts val="0"/>
              </a:spcBef>
              <a:buFontTx/>
              <a:buNone/>
              <a:defRPr sz="1200">
                <a:solidFill>
                  <a:schemeClr val="tx1"/>
                </a:solidFill>
                <a:latin typeface="Consolas" panose="020B0609020204030204" pitchFamily="49" charset="0"/>
                <a:cs typeface="Consolas" panose="020B0609020204030204" pitchFamily="49" charset="0"/>
              </a:defRPr>
            </a:lvl4pPr>
            <a:lvl5pPr marL="898525" indent="-182563">
              <a:spcBef>
                <a:spcPts val="0"/>
              </a:spcBef>
              <a:buFontTx/>
              <a:buNone/>
              <a:defRPr sz="1200">
                <a:solidFill>
                  <a:schemeClr val="tx1"/>
                </a:solidFill>
                <a:latin typeface="Consolas" panose="020B0609020204030204" pitchFamily="49" charset="0"/>
                <a:cs typeface="Consolas" panose="020B0609020204030204" pitchFamily="49" charset="0"/>
              </a:defRPr>
            </a:lvl5pPr>
          </a:lstStyle>
          <a:p>
            <a:pPr lvl="0"/>
            <a:r>
              <a:rPr lang="en-US" noProof="1"/>
              <a:t>Add your code (you can use tabs)</a:t>
            </a:r>
          </a:p>
        </p:txBody>
      </p:sp>
      <p:sp>
        <p:nvSpPr>
          <p:cNvPr id="10" name="Text Placeholder 9"/>
          <p:cNvSpPr>
            <a:spLocks noGrp="1"/>
          </p:cNvSpPr>
          <p:nvPr>
            <p:ph type="body" sz="quarter" idx="23" hasCustomPrompt="1"/>
          </p:nvPr>
        </p:nvSpPr>
        <p:spPr>
          <a:xfrm>
            <a:off x="6184117" y="689380"/>
            <a:ext cx="2708363" cy="382602"/>
          </a:xfrm>
          <a:prstGeom prst="rect">
            <a:avLst/>
          </a:prstGeom>
        </p:spPr>
        <p:txBody>
          <a:bodyPr lIns="0" tIns="0" rIns="0" bIns="0"/>
          <a:lstStyle>
            <a:lvl1pPr marL="0" indent="0">
              <a:buFontTx/>
              <a:buNone/>
              <a:defRPr sz="1200">
                <a:solidFill>
                  <a:schemeClr val="tx1"/>
                </a:solidFill>
                <a:latin typeface="+mj-lt"/>
                <a:cs typeface="Segoe UI Semilight" panose="020B0402040204020203" pitchFamily="34" charset="0"/>
              </a:defRPr>
            </a:lvl1pPr>
            <a:lvl2pPr marL="457200" indent="0">
              <a:buFontTx/>
              <a:buNone/>
              <a:defRPr sz="1400">
                <a:solidFill>
                  <a:schemeClr val="tx1"/>
                </a:solidFill>
                <a:latin typeface="+mn-lt"/>
              </a:defRPr>
            </a:lvl2pPr>
            <a:lvl3pPr marL="914400" indent="0">
              <a:buFontTx/>
              <a:buNone/>
              <a:defRPr sz="1400">
                <a:solidFill>
                  <a:schemeClr val="tx1"/>
                </a:solidFill>
                <a:latin typeface="+mn-lt"/>
              </a:defRPr>
            </a:lvl3pPr>
            <a:lvl4pPr marL="1371600" indent="0">
              <a:buFontTx/>
              <a:buNone/>
              <a:defRPr sz="1400">
                <a:solidFill>
                  <a:schemeClr val="tx1"/>
                </a:solidFill>
                <a:latin typeface="+mn-lt"/>
              </a:defRPr>
            </a:lvl4pPr>
            <a:lvl5pPr marL="1828800" indent="0">
              <a:buFontTx/>
              <a:buNone/>
              <a:defRPr sz="1400">
                <a:solidFill>
                  <a:schemeClr val="tx1"/>
                </a:solidFill>
                <a:latin typeface="+mn-lt"/>
              </a:defRPr>
            </a:lvl5pPr>
          </a:lstStyle>
          <a:p>
            <a:pPr lvl="0"/>
            <a:r>
              <a:rPr lang="en-US" dirty="0"/>
              <a:t>Add a subtitle if necessary</a:t>
            </a:r>
          </a:p>
        </p:txBody>
      </p:sp>
      <p:sp>
        <p:nvSpPr>
          <p:cNvPr id="12" name="Text Placeholder 11"/>
          <p:cNvSpPr>
            <a:spLocks noGrp="1"/>
          </p:cNvSpPr>
          <p:nvPr>
            <p:ph type="body" sz="quarter" idx="24"/>
          </p:nvPr>
        </p:nvSpPr>
        <p:spPr>
          <a:xfrm>
            <a:off x="6179999" y="1275606"/>
            <a:ext cx="2712481" cy="3624088"/>
          </a:xfrm>
          <a:prstGeom prst="rect">
            <a:avLst/>
          </a:prstGeom>
        </p:spPr>
        <p:txBody>
          <a:bodyPr lIns="0" tIns="0" rIns="0" bIns="0"/>
          <a:lstStyle>
            <a:lvl1pPr marL="180975" indent="-180975">
              <a:spcBef>
                <a:spcPts val="1800"/>
              </a:spcBef>
              <a:buFontTx/>
              <a:buNone/>
              <a:defRPr sz="1800">
                <a:solidFill>
                  <a:schemeClr val="tx1"/>
                </a:solidFill>
                <a:latin typeface="Segoe UI Semilight" panose="020B0402040204020203" pitchFamily="34" charset="0"/>
                <a:cs typeface="Segoe UI Semilight" panose="020B0402040204020203" pitchFamily="34" charset="0"/>
              </a:defRPr>
            </a:lvl1pPr>
            <a:lvl2pPr marL="361950" indent="-180975">
              <a:spcBef>
                <a:spcPts val="0"/>
              </a:spcBef>
              <a:buFontTx/>
              <a:buNone/>
              <a:defRPr sz="1400">
                <a:solidFill>
                  <a:schemeClr val="tx1"/>
                </a:solidFill>
                <a:latin typeface="+mj-lt"/>
                <a:cs typeface="Segoe UI Semilight" panose="020B0402040204020203" pitchFamily="34" charset="0"/>
              </a:defRPr>
            </a:lvl2pPr>
            <a:lvl3pPr marL="534988" indent="-173038">
              <a:spcBef>
                <a:spcPts val="0"/>
              </a:spcBef>
              <a:buFontTx/>
              <a:buNone/>
              <a:defRPr sz="1200">
                <a:solidFill>
                  <a:schemeClr val="tx1"/>
                </a:solidFill>
                <a:latin typeface="+mj-lt"/>
                <a:cs typeface="Segoe UI Semilight" panose="020B0402040204020203" pitchFamily="34" charset="0"/>
              </a:defRPr>
            </a:lvl3pPr>
            <a:lvl4pPr marL="715963" indent="-180975">
              <a:spcBef>
                <a:spcPts val="0"/>
              </a:spcBef>
              <a:buFontTx/>
              <a:buNone/>
              <a:defRPr sz="1050">
                <a:solidFill>
                  <a:schemeClr val="tx1"/>
                </a:solidFill>
                <a:latin typeface="+mj-lt"/>
                <a:cs typeface="Segoe UI Semilight" panose="020B0402040204020203" pitchFamily="34" charset="0"/>
              </a:defRPr>
            </a:lvl4pPr>
            <a:lvl5pPr marL="898525" indent="-182563">
              <a:spcBef>
                <a:spcPts val="0"/>
              </a:spcBef>
              <a:buFontTx/>
              <a:buNone/>
              <a:defRPr sz="1000">
                <a:solidFill>
                  <a:schemeClr val="tx1"/>
                </a:solidFill>
                <a:latin typeface="+mj-lt"/>
                <a:cs typeface="Segoe UI Semilight" panose="020B04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25"/>
          </p:nvPr>
        </p:nvSpPr>
        <p:spPr>
          <a:xfrm>
            <a:off x="6175648" y="4535015"/>
            <a:ext cx="271683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395764273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xEl>
                                              <p:pRg st="1" end="1"/>
                                            </p:txEl>
                                          </p:spTgt>
                                        </p:tgtEl>
                                        <p:attrNameLst>
                                          <p:attrName>style.visibility</p:attrName>
                                        </p:attrNameLst>
                                      </p:cBhvr>
                                      <p:to>
                                        <p:strVal val="visible"/>
                                      </p:to>
                                    </p:set>
                                    <p:animEffect transition="in" filter="fade">
                                      <p:cBhvr>
                                        <p:cTn id="10" dur="500"/>
                                        <p:tgtEl>
                                          <p:spTgt spid="1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animEffect transition="in" filter="fade">
                                      <p:cBhvr>
                                        <p:cTn id="13" dur="500"/>
                                        <p:tgtEl>
                                          <p:spTgt spid="12">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xEl>
                                              <p:pRg st="3" end="3"/>
                                            </p:txEl>
                                          </p:spTgt>
                                        </p:tgtEl>
                                        <p:attrNameLst>
                                          <p:attrName>style.visibility</p:attrName>
                                        </p:attrNameLst>
                                      </p:cBhvr>
                                      <p:to>
                                        <p:strVal val="visible"/>
                                      </p:to>
                                    </p:set>
                                    <p:animEffect transition="in" filter="fade">
                                      <p:cBhvr>
                                        <p:cTn id="16" dur="500"/>
                                        <p:tgtEl>
                                          <p:spTgt spid="12">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10" presetClass="entr" presetSubtype="0" fill="hold" nodeType="click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Rectangle 2"/>
          <p:cNvSpPr/>
          <p:nvPr userDrawn="1"/>
        </p:nvSpPr>
        <p:spPr>
          <a:xfrm>
            <a:off x="0" y="0"/>
            <a:ext cx="6012072"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latin typeface="+mj-lt"/>
            </a:endParaRPr>
          </a:p>
        </p:txBody>
      </p:sp>
      <p:sp>
        <p:nvSpPr>
          <p:cNvPr id="16" name="Text Placeholder 11"/>
          <p:cNvSpPr>
            <a:spLocks noGrp="1"/>
          </p:cNvSpPr>
          <p:nvPr>
            <p:ph type="body" sz="quarter" idx="16" hasCustomPrompt="1"/>
          </p:nvPr>
        </p:nvSpPr>
        <p:spPr>
          <a:xfrm>
            <a:off x="6179999" y="182786"/>
            <a:ext cx="2716832" cy="504056"/>
          </a:xfrm>
          <a:prstGeom prst="rect">
            <a:avLst/>
          </a:prstGeom>
        </p:spPr>
        <p:txBody>
          <a:bodyPr lIns="0" tIns="0" rIns="0" bIns="0" anchor="b">
            <a:noAutofit/>
          </a:bodyPr>
          <a:lstStyle>
            <a:lvl1pPr marL="0" indent="0">
              <a:buNone/>
              <a:defRPr sz="2400">
                <a:solidFill>
                  <a:schemeClr val="tx1"/>
                </a:solidFill>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de-AT" dirty="0"/>
              <a:t>Text</a:t>
            </a:r>
          </a:p>
        </p:txBody>
      </p:sp>
      <p:sp>
        <p:nvSpPr>
          <p:cNvPr id="12" name="Text Placeholder 11"/>
          <p:cNvSpPr>
            <a:spLocks noGrp="1"/>
          </p:cNvSpPr>
          <p:nvPr>
            <p:ph type="body" sz="quarter" idx="24"/>
          </p:nvPr>
        </p:nvSpPr>
        <p:spPr>
          <a:xfrm>
            <a:off x="6179999" y="1275606"/>
            <a:ext cx="2712481" cy="3624088"/>
          </a:xfrm>
          <a:prstGeom prst="rect">
            <a:avLst/>
          </a:prstGeom>
        </p:spPr>
        <p:txBody>
          <a:bodyPr lIns="0" tIns="0" rIns="0" bIns="0"/>
          <a:lstStyle>
            <a:lvl1pPr marL="180975" indent="-180975">
              <a:spcBef>
                <a:spcPts val="1800"/>
              </a:spcBef>
              <a:buFontTx/>
              <a:buNone/>
              <a:defRPr sz="1800">
                <a:solidFill>
                  <a:schemeClr val="tx1"/>
                </a:solidFill>
                <a:latin typeface="Segoe UI Semilight" panose="020B0402040204020203" pitchFamily="34" charset="0"/>
                <a:cs typeface="Segoe UI Semilight" panose="020B0402040204020203" pitchFamily="34" charset="0"/>
              </a:defRPr>
            </a:lvl1pPr>
            <a:lvl2pPr marL="361950" indent="-180975">
              <a:spcBef>
                <a:spcPts val="0"/>
              </a:spcBef>
              <a:buFontTx/>
              <a:buNone/>
              <a:defRPr sz="1400">
                <a:solidFill>
                  <a:schemeClr val="tx1"/>
                </a:solidFill>
                <a:latin typeface="+mj-lt"/>
                <a:cs typeface="Segoe UI Semilight" panose="020B0402040204020203" pitchFamily="34" charset="0"/>
              </a:defRPr>
            </a:lvl2pPr>
            <a:lvl3pPr marL="534988" indent="-173038">
              <a:spcBef>
                <a:spcPts val="0"/>
              </a:spcBef>
              <a:buFontTx/>
              <a:buNone/>
              <a:defRPr sz="1200">
                <a:solidFill>
                  <a:schemeClr val="tx1"/>
                </a:solidFill>
                <a:latin typeface="+mj-lt"/>
                <a:cs typeface="Segoe UI Semilight" panose="020B0402040204020203" pitchFamily="34" charset="0"/>
              </a:defRPr>
            </a:lvl3pPr>
            <a:lvl4pPr marL="715963" indent="-180975">
              <a:spcBef>
                <a:spcPts val="0"/>
              </a:spcBef>
              <a:buFontTx/>
              <a:buNone/>
              <a:defRPr sz="1050">
                <a:solidFill>
                  <a:schemeClr val="tx1"/>
                </a:solidFill>
                <a:latin typeface="+mj-lt"/>
                <a:cs typeface="Segoe UI Semilight" panose="020B0402040204020203" pitchFamily="34" charset="0"/>
              </a:defRPr>
            </a:lvl4pPr>
            <a:lvl5pPr marL="898525" indent="-182563">
              <a:spcBef>
                <a:spcPts val="0"/>
              </a:spcBef>
              <a:buFontTx/>
              <a:buNone/>
              <a:defRPr sz="1000">
                <a:solidFill>
                  <a:schemeClr val="tx1"/>
                </a:solidFill>
                <a:latin typeface="+mj-lt"/>
                <a:cs typeface="Segoe UI Semilight" panose="020B04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p:cNvSpPr txBox="1"/>
          <p:nvPr userDrawn="1"/>
        </p:nvSpPr>
        <p:spPr>
          <a:xfrm>
            <a:off x="251520" y="3884031"/>
            <a:ext cx="2198038" cy="1015663"/>
          </a:xfrm>
          <a:prstGeom prst="rect">
            <a:avLst/>
          </a:prstGeom>
          <a:noFill/>
        </p:spPr>
        <p:txBody>
          <a:bodyPr wrap="none" rtlCol="0">
            <a:spAutoFit/>
          </a:bodyPr>
          <a:lstStyle/>
          <a:p>
            <a:r>
              <a:rPr lang="de-AT" sz="6000" kern="1200" dirty="0">
                <a:solidFill>
                  <a:schemeClr val="tx1"/>
                </a:solidFill>
                <a:latin typeface="Segoe UI Semilight" panose="020B0402040204020203" pitchFamily="34" charset="0"/>
                <a:ea typeface="+mj-ea"/>
                <a:cs typeface="Segoe UI Semilight" panose="020B0402040204020203" pitchFamily="34" charset="0"/>
              </a:rPr>
              <a:t>Demo</a:t>
            </a:r>
            <a:endParaRPr lang="en-US" sz="6000" kern="1200" dirty="0">
              <a:solidFill>
                <a:schemeClr val="tx1"/>
              </a:solidFill>
              <a:latin typeface="Segoe UI Semilight" panose="020B0402040204020203" pitchFamily="34" charset="0"/>
              <a:ea typeface="+mj-ea"/>
              <a:cs typeface="Segoe UI Semilight" panose="020B0402040204020203" pitchFamily="34" charset="0"/>
            </a:endParaRPr>
          </a:p>
        </p:txBody>
      </p:sp>
      <p:sp>
        <p:nvSpPr>
          <p:cNvPr id="7" name="Text Placeholder 9"/>
          <p:cNvSpPr>
            <a:spLocks noGrp="1"/>
          </p:cNvSpPr>
          <p:nvPr>
            <p:ph type="body" sz="quarter" idx="25" hasCustomPrompt="1"/>
          </p:nvPr>
        </p:nvSpPr>
        <p:spPr>
          <a:xfrm>
            <a:off x="6184117" y="702080"/>
            <a:ext cx="2708363" cy="382602"/>
          </a:xfrm>
          <a:prstGeom prst="rect">
            <a:avLst/>
          </a:prstGeom>
        </p:spPr>
        <p:txBody>
          <a:bodyPr lIns="0" tIns="0" rIns="0" bIns="0"/>
          <a:lstStyle>
            <a:lvl1pPr marL="0" indent="0">
              <a:buFontTx/>
              <a:buNone/>
              <a:defRPr sz="1200">
                <a:solidFill>
                  <a:schemeClr val="tx1"/>
                </a:solidFill>
                <a:latin typeface="+mj-lt"/>
                <a:cs typeface="Segoe UI Semilight" panose="020B0402040204020203" pitchFamily="34" charset="0"/>
              </a:defRPr>
            </a:lvl1pPr>
            <a:lvl2pPr marL="457200" indent="0">
              <a:buFontTx/>
              <a:buNone/>
              <a:defRPr sz="1400">
                <a:solidFill>
                  <a:schemeClr val="tx1"/>
                </a:solidFill>
                <a:latin typeface="+mn-lt"/>
              </a:defRPr>
            </a:lvl2pPr>
            <a:lvl3pPr marL="914400" indent="0">
              <a:buFontTx/>
              <a:buNone/>
              <a:defRPr sz="1400">
                <a:solidFill>
                  <a:schemeClr val="tx1"/>
                </a:solidFill>
                <a:latin typeface="+mn-lt"/>
              </a:defRPr>
            </a:lvl3pPr>
            <a:lvl4pPr marL="1371600" indent="0">
              <a:buFontTx/>
              <a:buNone/>
              <a:defRPr sz="1400">
                <a:solidFill>
                  <a:schemeClr val="tx1"/>
                </a:solidFill>
                <a:latin typeface="+mn-lt"/>
              </a:defRPr>
            </a:lvl4pPr>
            <a:lvl5pPr marL="1828800" indent="0">
              <a:buFontTx/>
              <a:buNone/>
              <a:defRPr sz="1400">
                <a:solidFill>
                  <a:schemeClr val="tx1"/>
                </a:solidFill>
                <a:latin typeface="+mn-lt"/>
              </a:defRPr>
            </a:lvl5pPr>
          </a:lstStyle>
          <a:p>
            <a:pPr lvl="0"/>
            <a:r>
              <a:rPr lang="en-US" dirty="0"/>
              <a:t>Add a subtitle if necessary</a:t>
            </a:r>
          </a:p>
        </p:txBody>
      </p:sp>
      <p:sp>
        <p:nvSpPr>
          <p:cNvPr id="8" name="Text Placeholder 4"/>
          <p:cNvSpPr>
            <a:spLocks noGrp="1"/>
          </p:cNvSpPr>
          <p:nvPr>
            <p:ph type="body" sz="quarter" idx="26"/>
          </p:nvPr>
        </p:nvSpPr>
        <p:spPr>
          <a:xfrm>
            <a:off x="6175648" y="4535015"/>
            <a:ext cx="271683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110918186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xEl>
                                              <p:pRg st="1" end="1"/>
                                            </p:txEl>
                                          </p:spTgt>
                                        </p:tgtEl>
                                        <p:attrNameLst>
                                          <p:attrName>style.visibility</p:attrName>
                                        </p:attrNameLst>
                                      </p:cBhvr>
                                      <p:to>
                                        <p:strVal val="visible"/>
                                      </p:to>
                                    </p:set>
                                    <p:animEffect transition="in" filter="fade">
                                      <p:cBhvr>
                                        <p:cTn id="10" dur="500"/>
                                        <p:tgtEl>
                                          <p:spTgt spid="1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animEffect transition="in" filter="fade">
                                      <p:cBhvr>
                                        <p:cTn id="13" dur="500"/>
                                        <p:tgtEl>
                                          <p:spTgt spid="12">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xEl>
                                              <p:pRg st="3" end="3"/>
                                            </p:txEl>
                                          </p:spTgt>
                                        </p:tgtEl>
                                        <p:attrNameLst>
                                          <p:attrName>style.visibility</p:attrName>
                                        </p:attrNameLst>
                                      </p:cBhvr>
                                      <p:to>
                                        <p:strVal val="visible"/>
                                      </p:to>
                                    </p:set>
                                    <p:animEffect transition="in" filter="fade">
                                      <p:cBhvr>
                                        <p:cTn id="16" dur="500"/>
                                        <p:tgtEl>
                                          <p:spTgt spid="12">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10" presetClass="entr" presetSubtype="0" fill="hold" nodeType="click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 cockpit (en)">
    <p:spTree>
      <p:nvGrpSpPr>
        <p:cNvPr id="1" name=""/>
        <p:cNvGrpSpPr/>
        <p:nvPr/>
      </p:nvGrpSpPr>
      <p:grpSpPr>
        <a:xfrm>
          <a:off x="0" y="0"/>
          <a:ext cx="0" cy="0"/>
          <a:chOff x="0" y="0"/>
          <a:chExt cx="0" cy="0"/>
        </a:xfrm>
      </p:grpSpPr>
      <p:sp>
        <p:nvSpPr>
          <p:cNvPr id="3" name="TextBox 2"/>
          <p:cNvSpPr txBox="1"/>
          <p:nvPr userDrawn="1"/>
        </p:nvSpPr>
        <p:spPr>
          <a:xfrm>
            <a:off x="1144189" y="1584177"/>
            <a:ext cx="7748291" cy="3559323"/>
          </a:xfrm>
          <a:prstGeom prst="rect">
            <a:avLst/>
          </a:prstGeom>
          <a:noFill/>
        </p:spPr>
        <p:txBody>
          <a:bodyPr wrap="square" rtlCol="0">
            <a:noAutofit/>
          </a:bodyPr>
          <a:lstStyle/>
          <a:p>
            <a:pPr marL="0" indent="0">
              <a:buNone/>
            </a:pPr>
            <a:r>
              <a:rPr lang="en-US" sz="1800" dirty="0">
                <a:latin typeface="Segoe UI Semilight" panose="020B0402040204020203" pitchFamily="34" charset="0"/>
                <a:ea typeface="ＭＳ Ｐゴシック" charset="0"/>
                <a:cs typeface="Segoe UI Semilight" panose="020B0402040204020203" pitchFamily="34" charset="0"/>
              </a:rPr>
              <a:t>                      is the leading time tracking solution for knowledge workers. Graphical time tracking calendar, automatic tracking of your work using signal trackers, high level of extensibility and customizability, full support to work offline, and SaaS deployment model make it the optimal choice especially in the IT consulting business.</a:t>
            </a:r>
          </a:p>
          <a:p>
            <a:pPr marL="0" indent="0">
              <a:buNone/>
            </a:pPr>
            <a:endParaRPr lang="en-US" sz="1800" dirty="0">
              <a:latin typeface="Segoe UI Semilight" panose="020B0402040204020203" pitchFamily="34" charset="0"/>
              <a:ea typeface="ＭＳ Ｐゴシック" charset="0"/>
              <a:cs typeface="Segoe UI Semilight" panose="020B0402040204020203" pitchFamily="34" charset="0"/>
            </a:endParaRPr>
          </a:p>
          <a:p>
            <a:pPr marL="0" indent="0">
              <a:buNone/>
            </a:pPr>
            <a:r>
              <a:rPr lang="en-US" sz="1800" dirty="0">
                <a:latin typeface="Segoe UI Semilight" panose="020B0402040204020203" pitchFamily="34" charset="0"/>
                <a:ea typeface="ＭＳ Ｐゴシック" charset="0"/>
                <a:cs typeface="Segoe UI Semilight" panose="020B0402040204020203" pitchFamily="34" charset="0"/>
              </a:rPr>
              <a:t>Try                       for free and without any risk. You can get your trial account at </a:t>
            </a:r>
            <a:r>
              <a:rPr lang="en-US" sz="1800" dirty="0">
                <a:latin typeface="Segoe UI Semilight" panose="020B0402040204020203" pitchFamily="34" charset="0"/>
                <a:ea typeface="ＭＳ Ｐゴシック" charset="0"/>
                <a:cs typeface="Segoe UI Semilight" panose="020B0402040204020203" pitchFamily="34" charset="0"/>
                <a:hlinkClick r:id="rId2"/>
              </a:rPr>
              <a:t>http://www.timecockpit.com</a:t>
            </a:r>
            <a:r>
              <a:rPr lang="en-US" sz="1800" dirty="0">
                <a:latin typeface="Segoe UI Semilight" panose="020B0402040204020203" pitchFamily="34" charset="0"/>
                <a:ea typeface="ＭＳ Ｐゴシック" charset="0"/>
                <a:cs typeface="Segoe UI Semilight" panose="020B0402040204020203" pitchFamily="34" charset="0"/>
              </a:rPr>
              <a:t>. After the trial period you can use                       for only 0,25€ per user and day without a minimal subscription time and without a minimal number of users.</a:t>
            </a:r>
            <a:endParaRPr lang="en-US" dirty="0">
              <a:latin typeface="Segoe UI Semilight" panose="020B0402040204020203" pitchFamily="34" charset="0"/>
              <a:cs typeface="Segoe UI Semilight" panose="020B0402040204020203" pitchFamily="34" charset="0"/>
            </a:endParaRPr>
          </a:p>
        </p:txBody>
      </p:sp>
      <p:pic>
        <p:nvPicPr>
          <p:cNvPr id="5" name="Grafik 11" descr="timecockpit_horizontal_rgb.png"/>
          <p:cNvPicPr>
            <a:picLocks noChangeAspect="1"/>
          </p:cNvPicPr>
          <p:nvPr userDrawn="1"/>
        </p:nvPicPr>
        <p:blipFill>
          <a:blip r:embed="rId3" cstate="print"/>
          <a:srcRect l="20996"/>
          <a:stretch>
            <a:fillRect/>
          </a:stretch>
        </p:blipFill>
        <p:spPr>
          <a:xfrm>
            <a:off x="1209152" y="1624947"/>
            <a:ext cx="1308588" cy="270960"/>
          </a:xfrm>
          <a:prstGeom prst="rect">
            <a:avLst/>
          </a:prstGeom>
        </p:spPr>
      </p:pic>
      <p:pic>
        <p:nvPicPr>
          <p:cNvPr id="6" name="Grafik 15" descr="timecockpit_horizontal_rgb.png"/>
          <p:cNvPicPr>
            <a:picLocks noChangeAspect="1"/>
          </p:cNvPicPr>
          <p:nvPr userDrawn="1"/>
        </p:nvPicPr>
        <p:blipFill>
          <a:blip r:embed="rId3" cstate="print"/>
          <a:srcRect l="20996"/>
          <a:stretch>
            <a:fillRect/>
          </a:stretch>
        </p:blipFill>
        <p:spPr>
          <a:xfrm>
            <a:off x="1580616" y="3269445"/>
            <a:ext cx="1308588" cy="270960"/>
          </a:xfrm>
          <a:prstGeom prst="rect">
            <a:avLst/>
          </a:prstGeom>
        </p:spPr>
      </p:pic>
      <p:pic>
        <p:nvPicPr>
          <p:cNvPr id="7" name="Grafik 16" descr="timecockpit_horizontal_rgb.png"/>
          <p:cNvPicPr>
            <a:picLocks noChangeAspect="1"/>
          </p:cNvPicPr>
          <p:nvPr userDrawn="1"/>
        </p:nvPicPr>
        <p:blipFill>
          <a:blip r:embed="rId3" cstate="print"/>
          <a:srcRect l="20996"/>
          <a:stretch>
            <a:fillRect/>
          </a:stretch>
        </p:blipFill>
        <p:spPr>
          <a:xfrm>
            <a:off x="7600952" y="3540405"/>
            <a:ext cx="1308588" cy="270960"/>
          </a:xfrm>
          <a:prstGeom prst="rect">
            <a:avLst/>
          </a:prstGeom>
        </p:spPr>
      </p:pic>
      <p:pic>
        <p:nvPicPr>
          <p:cNvPr id="9" name="Grafik 3" descr="timecockpit_horizontal_rgb.png"/>
          <p:cNvPicPr>
            <a:picLocks noChangeAspect="1"/>
          </p:cNvPicPr>
          <p:nvPr userDrawn="1"/>
        </p:nvPicPr>
        <p:blipFill rotWithShape="1">
          <a:blip r:embed="rId3" cstate="print"/>
          <a:srcRect l="-945" t="1" r="-2982" b="-11979"/>
          <a:stretch/>
        </p:blipFill>
        <p:spPr>
          <a:xfrm>
            <a:off x="1144189" y="520626"/>
            <a:ext cx="3874660" cy="682972"/>
          </a:xfrm>
          <a:prstGeom prst="rect">
            <a:avLst/>
          </a:prstGeom>
        </p:spPr>
      </p:pic>
    </p:spTree>
    <p:extLst>
      <p:ext uri="{BB962C8B-B14F-4D97-AF65-F5344CB8AC3E}">
        <p14:creationId xmlns:p14="http://schemas.microsoft.com/office/powerpoint/2010/main" val="1610291102"/>
      </p:ext>
    </p:extLst>
  </p:cSld>
  <p:clrMapOvr>
    <a:masterClrMapping/>
  </p:clrMapOvr>
  <p:transition spd="slow">
    <p:push/>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 cockpit (de)">
    <p:spTree>
      <p:nvGrpSpPr>
        <p:cNvPr id="1" name=""/>
        <p:cNvGrpSpPr/>
        <p:nvPr/>
      </p:nvGrpSpPr>
      <p:grpSpPr>
        <a:xfrm>
          <a:off x="0" y="0"/>
          <a:ext cx="0" cy="0"/>
          <a:chOff x="0" y="0"/>
          <a:chExt cx="0" cy="0"/>
        </a:xfrm>
      </p:grpSpPr>
      <p:sp>
        <p:nvSpPr>
          <p:cNvPr id="3" name="TextBox 2"/>
          <p:cNvSpPr txBox="1"/>
          <p:nvPr userDrawn="1"/>
        </p:nvSpPr>
        <p:spPr>
          <a:xfrm>
            <a:off x="1144189" y="1584177"/>
            <a:ext cx="7748291" cy="3559323"/>
          </a:xfrm>
          <a:prstGeom prst="rect">
            <a:avLst/>
          </a:prstGeom>
          <a:noFill/>
        </p:spPr>
        <p:txBody>
          <a:bodyPr wrap="square" rtlCol="0">
            <a:noAutofit/>
          </a:bodyPr>
          <a:lstStyle/>
          <a:p>
            <a:pPr marL="0" indent="0">
              <a:buNone/>
            </a:pPr>
            <a:r>
              <a:rPr lang="de-AT" sz="1800" dirty="0">
                <a:latin typeface="Segoe UI Semilight" panose="020B0402040204020203" pitchFamily="34" charset="0"/>
                <a:ea typeface="ＭＳ Ｐゴシック" charset="0"/>
                <a:cs typeface="Segoe UI Semilight" panose="020B0402040204020203" pitchFamily="34" charset="0"/>
              </a:rPr>
              <a:t>                      ist die führende Projektzeiterfassung für </a:t>
            </a:r>
            <a:r>
              <a:rPr lang="de-AT" sz="1800" dirty="0" err="1">
                <a:latin typeface="Segoe UI Semilight" panose="020B0402040204020203" pitchFamily="34" charset="0"/>
                <a:ea typeface="ＭＳ Ｐゴシック" charset="0"/>
                <a:cs typeface="Segoe UI Semilight" panose="020B0402040204020203" pitchFamily="34" charset="0"/>
              </a:rPr>
              <a:t>Knowledge</a:t>
            </a:r>
            <a:r>
              <a:rPr lang="de-AT" sz="1800" dirty="0">
                <a:latin typeface="Segoe UI Semilight" panose="020B0402040204020203" pitchFamily="34" charset="0"/>
                <a:ea typeface="ＭＳ Ｐゴシック" charset="0"/>
                <a:cs typeface="Segoe UI Semilight" panose="020B0402040204020203" pitchFamily="34" charset="0"/>
              </a:rPr>
              <a:t> Worker. Grafischer Zeitbuchungskalender, automatische Tätigkeitsaufzeichnung über Signal </a:t>
            </a:r>
            <a:r>
              <a:rPr lang="de-AT" sz="1800" dirty="0" err="1">
                <a:latin typeface="Segoe UI Semilight" panose="020B0402040204020203" pitchFamily="34" charset="0"/>
                <a:ea typeface="ＭＳ Ｐゴシック" charset="0"/>
                <a:cs typeface="Segoe UI Semilight" panose="020B0402040204020203" pitchFamily="34" charset="0"/>
              </a:rPr>
              <a:t>Tracker</a:t>
            </a:r>
            <a:r>
              <a:rPr lang="de-AT" sz="1800" dirty="0">
                <a:latin typeface="Segoe UI Semilight" panose="020B0402040204020203" pitchFamily="34" charset="0"/>
                <a:ea typeface="ＭＳ Ｐゴシック" charset="0"/>
                <a:cs typeface="Segoe UI Semilight" panose="020B0402040204020203" pitchFamily="34" charset="0"/>
              </a:rPr>
              <a:t>, umfassende Erweiterbarkeit und Anpassbarkeit, volle Offlinefähigkeit und einfachste Verwendung durch SaaS machen es zur Optimalen Lösung auch speziell im IT-Umfeld.</a:t>
            </a:r>
          </a:p>
          <a:p>
            <a:pPr marL="0" indent="0">
              <a:buNone/>
            </a:pPr>
            <a:endParaRPr lang="de-AT" sz="1800" dirty="0">
              <a:latin typeface="Segoe UI Semilight" panose="020B0402040204020203" pitchFamily="34" charset="0"/>
              <a:ea typeface="ＭＳ Ｐゴシック" charset="0"/>
              <a:cs typeface="Segoe UI Semilight" panose="020B0402040204020203" pitchFamily="34" charset="0"/>
            </a:endParaRPr>
          </a:p>
          <a:p>
            <a:pPr marL="0" indent="0">
              <a:buNone/>
            </a:pPr>
            <a:r>
              <a:rPr lang="de-AT" sz="1800" dirty="0">
                <a:latin typeface="Segoe UI Semilight" panose="020B0402040204020203" pitchFamily="34" charset="0"/>
                <a:ea typeface="ＭＳ Ｐゴシック" charset="0"/>
                <a:cs typeface="Segoe UI Semilight" panose="020B0402040204020203" pitchFamily="34" charset="0"/>
              </a:rPr>
              <a:t>Probieren Sie                       kostenlos und ohne Risiko einfach aus. Einen Testzugang erhalten Sie unter http://www.timecockpit.com. Danach nutzen Sie                       um nur 0,25€ pro Benutzer und Tag ohne Mindestdauer und ohne Mindestbenutzeranzahl.</a:t>
            </a:r>
            <a:endParaRPr lang="en-US" dirty="0">
              <a:latin typeface="Segoe UI Semilight" panose="020B0402040204020203" pitchFamily="34" charset="0"/>
              <a:cs typeface="Segoe UI Semilight" panose="020B0402040204020203" pitchFamily="34" charset="0"/>
            </a:endParaRPr>
          </a:p>
        </p:txBody>
      </p:sp>
      <p:pic>
        <p:nvPicPr>
          <p:cNvPr id="5" name="Grafik 11" descr="timecockpit_horizontal_rgb.png"/>
          <p:cNvPicPr>
            <a:picLocks noChangeAspect="1"/>
          </p:cNvPicPr>
          <p:nvPr userDrawn="1"/>
        </p:nvPicPr>
        <p:blipFill>
          <a:blip r:embed="rId2" cstate="print"/>
          <a:srcRect l="20996"/>
          <a:stretch>
            <a:fillRect/>
          </a:stretch>
        </p:blipFill>
        <p:spPr>
          <a:xfrm>
            <a:off x="1209152" y="1624947"/>
            <a:ext cx="1308588" cy="270960"/>
          </a:xfrm>
          <a:prstGeom prst="rect">
            <a:avLst/>
          </a:prstGeom>
        </p:spPr>
      </p:pic>
      <p:pic>
        <p:nvPicPr>
          <p:cNvPr id="6" name="Grafik 15" descr="timecockpit_horizontal_rgb.png"/>
          <p:cNvPicPr>
            <a:picLocks noChangeAspect="1"/>
          </p:cNvPicPr>
          <p:nvPr userDrawn="1"/>
        </p:nvPicPr>
        <p:blipFill>
          <a:blip r:embed="rId2" cstate="print"/>
          <a:srcRect l="20996"/>
          <a:stretch>
            <a:fillRect/>
          </a:stretch>
        </p:blipFill>
        <p:spPr>
          <a:xfrm>
            <a:off x="2574150" y="3269445"/>
            <a:ext cx="1308588" cy="270960"/>
          </a:xfrm>
          <a:prstGeom prst="rect">
            <a:avLst/>
          </a:prstGeom>
        </p:spPr>
      </p:pic>
      <p:pic>
        <p:nvPicPr>
          <p:cNvPr id="7" name="Grafik 16" descr="timecockpit_horizontal_rgb.png"/>
          <p:cNvPicPr>
            <a:picLocks noChangeAspect="1"/>
          </p:cNvPicPr>
          <p:nvPr userDrawn="1"/>
        </p:nvPicPr>
        <p:blipFill>
          <a:blip r:embed="rId2" cstate="print"/>
          <a:srcRect l="20996"/>
          <a:stretch>
            <a:fillRect/>
          </a:stretch>
        </p:blipFill>
        <p:spPr>
          <a:xfrm>
            <a:off x="1572378" y="3818456"/>
            <a:ext cx="1308588" cy="270960"/>
          </a:xfrm>
          <a:prstGeom prst="rect">
            <a:avLst/>
          </a:prstGeom>
        </p:spPr>
      </p:pic>
      <p:pic>
        <p:nvPicPr>
          <p:cNvPr id="9" name="Grafik 3" descr="timecockpit_horizontal_rgb.png"/>
          <p:cNvPicPr>
            <a:picLocks noChangeAspect="1"/>
          </p:cNvPicPr>
          <p:nvPr userDrawn="1"/>
        </p:nvPicPr>
        <p:blipFill rotWithShape="1">
          <a:blip r:embed="rId2" cstate="print"/>
          <a:srcRect l="-945" t="1" r="-2982" b="-11979"/>
          <a:stretch/>
        </p:blipFill>
        <p:spPr>
          <a:xfrm>
            <a:off x="1144189" y="520626"/>
            <a:ext cx="3874660" cy="682972"/>
          </a:xfrm>
          <a:prstGeom prst="rect">
            <a:avLst/>
          </a:prstGeom>
        </p:spPr>
      </p:pic>
    </p:spTree>
    <p:extLst>
      <p:ext uri="{BB962C8B-B14F-4D97-AF65-F5344CB8AC3E}">
        <p14:creationId xmlns:p14="http://schemas.microsoft.com/office/powerpoint/2010/main" val="224195199"/>
      </p:ext>
    </p:extLst>
  </p:cSld>
  <p:clrMapOvr>
    <a:masterClrMapping/>
  </p:clrMapOvr>
  <p:transition spd="slow">
    <p:push/>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890715"/>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2236506"/>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4234870"/>
            <a:ext cx="9143533" cy="9086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339894" y="4565917"/>
            <a:ext cx="1070841" cy="228621"/>
          </a:xfrm>
          <a:prstGeom prst="rect">
            <a:avLst/>
          </a:prstGeom>
        </p:spPr>
      </p:pic>
    </p:spTree>
    <p:extLst>
      <p:ext uri="{BB962C8B-B14F-4D97-AF65-F5344CB8AC3E}">
        <p14:creationId xmlns:p14="http://schemas.microsoft.com/office/powerpoint/2010/main" val="231746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3"/>
            <a:ext cx="8741309" cy="1746440"/>
          </a:xfrm>
        </p:spPr>
        <p:txBody>
          <a:bodyPr>
            <a:spAutoFit/>
          </a:bodyPr>
          <a:lstStyle>
            <a:lvl1pPr marL="0" indent="0">
              <a:spcBef>
                <a:spcPts val="1200"/>
              </a:spcBef>
              <a:buNone/>
              <a:defRPr/>
            </a:lvl1pPr>
            <a:lvl2pPr marL="168090" indent="0">
              <a:buNone/>
              <a:defRPr/>
            </a:lvl2pPr>
            <a:lvl3pPr marL="336179" indent="0">
              <a:buNone/>
              <a:defRPr/>
            </a:lvl3pPr>
            <a:lvl4pPr marL="504269" indent="0">
              <a:buNone/>
              <a:defRPr/>
            </a:lvl4pPr>
            <a:lvl5pPr marL="672358"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474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890733"/>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724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3" name="Rectangle 2"/>
          <p:cNvSpPr/>
          <p:nvPr userDrawn="1"/>
        </p:nvSpPr>
        <p:spPr>
          <a:xfrm>
            <a:off x="0" y="1496184"/>
            <a:ext cx="9144000" cy="248524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Titel 1"/>
          <p:cNvSpPr>
            <a:spLocks noGrp="1"/>
          </p:cNvSpPr>
          <p:nvPr>
            <p:ph type="title" hasCustomPrompt="1"/>
          </p:nvPr>
        </p:nvSpPr>
        <p:spPr>
          <a:xfrm>
            <a:off x="1144000" y="2445764"/>
            <a:ext cx="7028400" cy="681980"/>
          </a:xfrm>
          <a:prstGeom prst="rect">
            <a:avLst/>
          </a:prstGeom>
        </p:spPr>
        <p:txBody>
          <a:bodyPr wrap="square" lIns="0" tIns="0" rIns="0" bIns="0" anchor="b"/>
          <a:lstStyle>
            <a:lvl1pPr>
              <a:defRPr sz="5400">
                <a:solidFill>
                  <a:schemeClr val="tx1"/>
                </a:solidFill>
              </a:defRPr>
            </a:lvl1pPr>
          </a:lstStyle>
          <a:p>
            <a:r>
              <a:rPr lang="en-US" noProof="0" dirty="0"/>
              <a:t>Short Title</a:t>
            </a:r>
          </a:p>
        </p:txBody>
      </p:sp>
      <p:sp>
        <p:nvSpPr>
          <p:cNvPr id="20" name="Text Placeholder 19"/>
          <p:cNvSpPr>
            <a:spLocks noGrp="1"/>
          </p:cNvSpPr>
          <p:nvPr>
            <p:ph type="body" sz="quarter" idx="25" hasCustomPrompt="1"/>
          </p:nvPr>
        </p:nvSpPr>
        <p:spPr>
          <a:xfrm>
            <a:off x="1144000" y="3134807"/>
            <a:ext cx="7036180" cy="367201"/>
          </a:xfrm>
          <a:prstGeom prst="rect">
            <a:avLst/>
          </a:prstGeom>
        </p:spPr>
        <p:txBody>
          <a:bodyPr lIns="0" tIns="0" rIns="0" bIns="0" anchor="b"/>
          <a:lstStyle>
            <a:lvl1pPr marL="0" indent="0">
              <a:buFontTx/>
              <a:buNone/>
              <a:defRPr sz="2400">
                <a:solidFill>
                  <a:schemeClr val="tx1"/>
                </a:solidFill>
                <a:latin typeface="+mj-lt"/>
              </a:defRPr>
            </a:lvl1pPr>
            <a:lvl2pPr marL="457200" indent="0">
              <a:buFontTx/>
              <a:buNone/>
              <a:defRPr sz="2400">
                <a:solidFill>
                  <a:schemeClr val="tx1"/>
                </a:solidFill>
                <a:latin typeface="+mj-lt"/>
              </a:defRPr>
            </a:lvl2pPr>
            <a:lvl3pPr marL="914400" indent="0">
              <a:buFontTx/>
              <a:buNone/>
              <a:defRPr sz="2400">
                <a:solidFill>
                  <a:schemeClr val="tx1"/>
                </a:solidFill>
                <a:latin typeface="+mj-lt"/>
              </a:defRPr>
            </a:lvl3pPr>
            <a:lvl4pPr marL="1371600" indent="0">
              <a:buFontTx/>
              <a:buNone/>
              <a:defRPr sz="2400">
                <a:solidFill>
                  <a:schemeClr val="tx1"/>
                </a:solidFill>
                <a:latin typeface="+mj-lt"/>
              </a:defRPr>
            </a:lvl4pPr>
            <a:lvl5pPr marL="1828800" indent="0">
              <a:buFontTx/>
              <a:buNone/>
              <a:defRPr sz="2400">
                <a:solidFill>
                  <a:schemeClr val="tx1"/>
                </a:solidFill>
                <a:latin typeface="+mj-lt"/>
              </a:defRPr>
            </a:lvl5pPr>
          </a:lstStyle>
          <a:p>
            <a:pPr lvl="0"/>
            <a:r>
              <a:rPr lang="en-US" noProof="0" dirty="0"/>
              <a:t>Subtitle</a:t>
            </a:r>
          </a:p>
        </p:txBody>
      </p:sp>
    </p:spTree>
    <p:extLst>
      <p:ext uri="{BB962C8B-B14F-4D97-AF65-F5344CB8AC3E}">
        <p14:creationId xmlns:p14="http://schemas.microsoft.com/office/powerpoint/2010/main" val="5369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0733"/>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34" indent="0">
              <a:buFont typeface="Wingdings" panose="05000000000000000000" pitchFamily="2" charset="2"/>
              <a:buNone/>
              <a:defRPr sz="1765" b="0"/>
            </a:lvl2pPr>
            <a:lvl3pPr marL="331510" indent="0">
              <a:buFont typeface="Wingdings" panose="05000000000000000000" pitchFamily="2" charset="2"/>
              <a:buNone/>
              <a:tabLst/>
              <a:defRPr sz="1618" b="0"/>
            </a:lvl3pPr>
            <a:lvl4pPr marL="479755" indent="0">
              <a:buFont typeface="Wingdings" panose="05000000000000000000" pitchFamily="2" charset="2"/>
              <a:buNone/>
              <a:defRPr sz="1618" b="0"/>
            </a:lvl4pPr>
            <a:lvl5pPr marL="628001" indent="0">
              <a:buFont typeface="Wingdings" panose="05000000000000000000" pitchFamily="2" charset="2"/>
              <a:buNone/>
              <a:tabLst/>
              <a:defRPr sz="161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0733"/>
            <a:ext cx="4033911" cy="1610697"/>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34"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510"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55"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8001"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202" marR="0" lvl="0" indent="-378202" algn="l" defTabSz="685845" rtl="0" eaLnBrk="1" fontAlgn="auto" latinLnBrk="0" hangingPunct="1">
              <a:lnSpc>
                <a:spcPct val="90000"/>
              </a:lnSpc>
              <a:spcBef>
                <a:spcPts val="900"/>
              </a:spcBef>
              <a:spcAft>
                <a:spcPts val="0"/>
              </a:spcAft>
              <a:buClr>
                <a:schemeClr val="tx1"/>
              </a:buClr>
              <a:buSzPct val="90000"/>
              <a:tabLst/>
            </a:pPr>
            <a:r>
              <a:rPr lang="en-US"/>
              <a:t>Click to edit Master text styles</a:t>
            </a:r>
          </a:p>
          <a:p>
            <a:pPr marL="524113" marR="0" lvl="1" indent="-336179" algn="l" defTabSz="685845" rtl="0" eaLnBrk="1" fontAlgn="auto" latinLnBrk="0" hangingPunct="1">
              <a:lnSpc>
                <a:spcPct val="90000"/>
              </a:lnSpc>
              <a:spcBef>
                <a:spcPct val="20000"/>
              </a:spcBef>
              <a:spcAft>
                <a:spcPts val="0"/>
              </a:spcAft>
              <a:buClrTx/>
              <a:buSzPct val="90000"/>
              <a:tabLst/>
            </a:pPr>
            <a:r>
              <a:rPr lang="en-US"/>
              <a:t>Second level</a:t>
            </a:r>
          </a:p>
          <a:p>
            <a:pPr marL="667689" marR="0" lvl="2" indent="-336179" algn="l" defTabSz="685845" rtl="0" eaLnBrk="1" fontAlgn="auto" latinLnBrk="0" hangingPunct="1">
              <a:lnSpc>
                <a:spcPct val="90000"/>
              </a:lnSpc>
              <a:spcBef>
                <a:spcPct val="20000"/>
              </a:spcBef>
              <a:spcAft>
                <a:spcPts val="0"/>
              </a:spcAft>
              <a:buClrTx/>
              <a:buSzPct val="90000"/>
              <a:tabLst/>
            </a:pPr>
            <a:r>
              <a:rPr lang="en-US"/>
              <a:t>Third level</a:t>
            </a:r>
          </a:p>
          <a:p>
            <a:pPr marL="815934" marR="0" lvl="3" indent="-336179" algn="l" defTabSz="685845" rtl="0" eaLnBrk="1" fontAlgn="auto" latinLnBrk="0" hangingPunct="1">
              <a:lnSpc>
                <a:spcPct val="90000"/>
              </a:lnSpc>
              <a:spcBef>
                <a:spcPct val="20000"/>
              </a:spcBef>
              <a:spcAft>
                <a:spcPts val="0"/>
              </a:spcAft>
              <a:buClrTx/>
              <a:buSzPct val="90000"/>
              <a:tabLst/>
            </a:pPr>
            <a:r>
              <a:rPr lang="en-US"/>
              <a:t>Fourth level</a:t>
            </a:r>
          </a:p>
          <a:p>
            <a:pPr marL="964181" marR="0" lvl="4" indent="-336179" algn="l" defTabSz="685845"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370381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0733"/>
            <a:ext cx="4033911" cy="1610697"/>
          </a:xfrm>
        </p:spPr>
        <p:txBody>
          <a:bodyPr wrap="square">
            <a:spAutoFit/>
          </a:bodyPr>
          <a:lstStyle>
            <a:lvl1pPr marL="170424" indent="-170424">
              <a:spcBef>
                <a:spcPts val="900"/>
              </a:spcBef>
              <a:buClr>
                <a:schemeClr val="tx1"/>
              </a:buClr>
              <a:buFont typeface="Wingdings" panose="05000000000000000000" pitchFamily="2" charset="2"/>
              <a:buChar char=""/>
              <a:defRPr sz="2206" b="0">
                <a:latin typeface="+mn-lt"/>
              </a:defRPr>
            </a:lvl1pPr>
            <a:lvl2pPr marL="314001" indent="-126067">
              <a:buFont typeface="Wingdings" panose="05000000000000000000" pitchFamily="2" charset="2"/>
              <a:buChar char=""/>
              <a:defRPr sz="1765" b="0"/>
            </a:lvl2pPr>
            <a:lvl3pPr marL="470418" indent="-138908">
              <a:buFont typeface="Wingdings" panose="05000000000000000000" pitchFamily="2" charset="2"/>
              <a:buChar char=""/>
              <a:tabLst/>
              <a:defRPr sz="1618" b="0"/>
            </a:lvl3pPr>
            <a:lvl4pPr marL="609325" indent="-129569">
              <a:buFont typeface="Wingdings" panose="05000000000000000000" pitchFamily="2" charset="2"/>
              <a:buChar char=""/>
              <a:defRPr sz="1618" b="0"/>
            </a:lvl4pPr>
            <a:lvl5pPr marL="752902" indent="-124900">
              <a:buFont typeface="Wingdings" panose="05000000000000000000" pitchFamily="2" charset="2"/>
              <a:buChar char=""/>
              <a:tabLst/>
              <a:defRPr sz="161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0733"/>
            <a:ext cx="4033911" cy="1610697"/>
          </a:xfrm>
        </p:spPr>
        <p:txBody>
          <a:bodyPr wrap="square">
            <a:spAutoFit/>
          </a:bodyPr>
          <a:lstStyle>
            <a:lvl1pPr marL="211280" indent="-211280">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68" indent="-252134">
              <a:defRPr lang="en-US" sz="1765" b="0" kern="1200" spc="0" baseline="0" dirty="0">
                <a:gradFill>
                  <a:gsLst>
                    <a:gs pos="1250">
                      <a:schemeClr val="tx1"/>
                    </a:gs>
                    <a:gs pos="100000">
                      <a:schemeClr val="tx1"/>
                    </a:gs>
                  </a:gsLst>
                  <a:lin ang="5400000" scaled="0"/>
                </a:gradFill>
                <a:latin typeface="+mn-lt"/>
                <a:ea typeface="+mn-ea"/>
                <a:cs typeface="+mn-cs"/>
              </a:defRPr>
            </a:lvl2pPr>
            <a:lvl3pPr marL="583644" indent="-252134">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90" indent="-252134">
              <a:defRPr lang="en-US" sz="1618" b="0" kern="1200" spc="0" baseline="0" dirty="0">
                <a:gradFill>
                  <a:gsLst>
                    <a:gs pos="1250">
                      <a:schemeClr val="tx1"/>
                    </a:gs>
                    <a:gs pos="100000">
                      <a:schemeClr val="tx1"/>
                    </a:gs>
                  </a:gsLst>
                  <a:lin ang="5400000" scaled="0"/>
                </a:gradFill>
                <a:latin typeface="+mn-lt"/>
                <a:ea typeface="+mn-ea"/>
                <a:cs typeface="+mn-cs"/>
              </a:defRPr>
            </a:lvl4pPr>
            <a:lvl5pPr marL="880136" indent="-252134">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24" marR="0" lvl="0" indent="-170424" algn="l" defTabSz="68584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Click to edit Master text styles</a:t>
            </a:r>
          </a:p>
          <a:p>
            <a:pPr marL="314001" marR="0" lvl="1" indent="-126067"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470418" marR="0" lvl="2" indent="-138908"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609325" marR="0" lvl="3" indent="-129569"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752902" marR="0" lvl="4" indent="-12490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28639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342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2907957"/>
            <a:ext cx="739550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00085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40"/>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47255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885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15640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990630"/>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4000763" y="0"/>
            <a:ext cx="5143237" cy="5142075"/>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36910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9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540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3568" y="195486"/>
            <a:ext cx="8208913" cy="681980"/>
          </a:xfrm>
          <a:prstGeom prst="rect">
            <a:avLst/>
          </a:prstGeom>
        </p:spPr>
        <p:txBody>
          <a:bodyPr wrap="none" lIns="0" tIns="0" rIns="0" bIns="0" anchor="ctr"/>
          <a:lstStyle>
            <a:lvl1pPr>
              <a:defRPr sz="4400">
                <a:solidFill>
                  <a:schemeClr val="accent2"/>
                </a:solidFill>
              </a:defRPr>
            </a:lvl1pPr>
          </a:lstStyle>
          <a:p>
            <a:r>
              <a:rPr lang="de-DE" dirty="0"/>
              <a:t>Title</a:t>
            </a:r>
            <a:endParaRPr lang="en-US" dirty="0"/>
          </a:p>
        </p:txBody>
      </p:sp>
      <p:sp>
        <p:nvSpPr>
          <p:cNvPr id="8" name="Content Placeholder 7"/>
          <p:cNvSpPr>
            <a:spLocks noGrp="1"/>
          </p:cNvSpPr>
          <p:nvPr>
            <p:ph sz="quarter" idx="12"/>
          </p:nvPr>
        </p:nvSpPr>
        <p:spPr>
          <a:xfrm>
            <a:off x="683568" y="1203598"/>
            <a:ext cx="8208913" cy="3939902"/>
          </a:xfrm>
          <a:prstGeom prst="rect">
            <a:avLst/>
          </a:prstGeom>
        </p:spPr>
        <p:txBody>
          <a:bodyPr lIns="0" tIns="0" rIns="0" bIns="0"/>
          <a:lstStyle>
            <a:lvl1pPr marL="6900" indent="0">
              <a:spcBef>
                <a:spcPts val="1800"/>
              </a:spcBef>
              <a:buClr>
                <a:schemeClr val="bg1">
                  <a:lumMod val="75000"/>
                </a:schemeClr>
              </a:buClr>
              <a:buSzPct val="75000"/>
              <a:buFont typeface="Wingdings 3" pitchFamily="18" charset="2"/>
              <a:buNone/>
              <a:defRPr sz="2400">
                <a:solidFill>
                  <a:schemeClr val="accent1"/>
                </a:soli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273050" indent="0">
              <a:spcBef>
                <a:spcPts val="0"/>
              </a:spcBef>
              <a:buFont typeface="Arial" panose="020B0604020202020204" pitchFamily="34" charset="0"/>
              <a:buNone/>
              <a:defRPr sz="1600">
                <a:solidFill>
                  <a:schemeClr val="accent1"/>
                </a:solidFill>
                <a:latin typeface="+mj-lt"/>
                <a:ea typeface="Segoe UI" pitchFamily="34" charset="0"/>
                <a:cs typeface="Segoe UI" pitchFamily="34" charset="0"/>
              </a:defRPr>
            </a:lvl2pPr>
            <a:lvl3pPr marL="541338" indent="0">
              <a:spcBef>
                <a:spcPts val="0"/>
              </a:spcBef>
              <a:buFont typeface="Arial" panose="020B0604020202020204" pitchFamily="34" charset="0"/>
              <a:buNone/>
              <a:defRPr sz="1400">
                <a:solidFill>
                  <a:schemeClr val="accent1"/>
                </a:solidFill>
                <a:latin typeface="+mj-lt"/>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endParaRPr lang="de-AT" dirty="0"/>
          </a:p>
        </p:txBody>
      </p:sp>
      <p:sp>
        <p:nvSpPr>
          <p:cNvPr id="4" name="Text Placeholder 4"/>
          <p:cNvSpPr>
            <a:spLocks noGrp="1"/>
          </p:cNvSpPr>
          <p:nvPr>
            <p:ph type="body" sz="quarter" idx="23"/>
          </p:nvPr>
        </p:nvSpPr>
        <p:spPr>
          <a:xfrm>
            <a:off x="683568" y="4778821"/>
            <a:ext cx="8208913"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411453908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tmplLst>
          <p:tmpl lvl="1">
            <p:tnLst>
              <p:par>
                <p:cTn presetID="10" presetClass="entr" presetSubtype="0" fill="hold" nodeType="click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solidFill>
                  <a:schemeClr val="bg1"/>
                </a:solidFill>
              </a:defRPr>
            </a:lvl1pPr>
          </a:lstStyle>
          <a:p>
            <a:r>
              <a:rPr lang="en-US"/>
              <a:t>Section title</a:t>
            </a:r>
          </a:p>
        </p:txBody>
      </p:sp>
    </p:spTree>
    <p:extLst>
      <p:ext uri="{BB962C8B-B14F-4D97-AF65-F5344CB8AC3E}">
        <p14:creationId xmlns:p14="http://schemas.microsoft.com/office/powerpoint/2010/main" val="30845745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3765227" y="217133"/>
            <a:ext cx="5178583" cy="674749"/>
          </a:xfrm>
        </p:spPr>
        <p:txBody>
          <a:bodyPr/>
          <a:lstStyle>
            <a:lvl1pPr>
              <a:defRPr sz="2941"/>
            </a:lvl1pPr>
          </a:lstStyle>
          <a:p>
            <a:r>
              <a:rPr lang="en-US"/>
              <a:t>Click to edit Master title style</a:t>
            </a:r>
          </a:p>
        </p:txBody>
      </p:sp>
      <p:sp>
        <p:nvSpPr>
          <p:cNvPr id="4" name="Text Placeholder 3"/>
          <p:cNvSpPr>
            <a:spLocks noGrp="1"/>
          </p:cNvSpPr>
          <p:nvPr>
            <p:ph type="body" sz="quarter" idx="10"/>
          </p:nvPr>
        </p:nvSpPr>
        <p:spPr>
          <a:xfrm>
            <a:off x="3765227" y="3580371"/>
            <a:ext cx="5178012" cy="1344828"/>
          </a:xfrm>
        </p:spPr>
        <p:txBody>
          <a:bodyPr wrap="square">
            <a:noAutofit/>
          </a:bodyPr>
          <a:lstStyle>
            <a:lvl1pPr marL="0" indent="0">
              <a:spcBef>
                <a:spcPts val="1324"/>
              </a:spcBef>
              <a:buNone/>
              <a:defRPr sz="1471">
                <a:latin typeface="+mn-lt"/>
              </a:defRPr>
            </a:lvl1pPr>
            <a:lvl2pPr marL="168090" indent="0">
              <a:buNone/>
              <a:defRPr/>
            </a:lvl2pPr>
            <a:lvl3pPr marL="336179" indent="0">
              <a:buNone/>
              <a:defRPr/>
            </a:lvl3pPr>
            <a:lvl4pPr marL="504269" indent="0">
              <a:buNone/>
              <a:defRPr/>
            </a:lvl4pPr>
            <a:lvl5pPr marL="672358"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3621650" cy="5143967"/>
          </a:xfrm>
          <a:prstGeom prst="rect">
            <a:avLst/>
          </a:prstGeom>
        </p:spPr>
      </p:pic>
    </p:spTree>
    <p:extLst>
      <p:ext uri="{BB962C8B-B14F-4D97-AF65-F5344CB8AC3E}">
        <p14:creationId xmlns:p14="http://schemas.microsoft.com/office/powerpoint/2010/main" val="238305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8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9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794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51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4" y="352550"/>
            <a:ext cx="1067477" cy="228621"/>
          </a:xfrm>
          <a:prstGeom prst="rect">
            <a:avLst/>
          </a:prstGeom>
        </p:spPr>
      </p:pic>
    </p:spTree>
    <p:extLst>
      <p:ext uri="{BB962C8B-B14F-4D97-AF65-F5344CB8AC3E}">
        <p14:creationId xmlns:p14="http://schemas.microsoft.com/office/powerpoint/2010/main" val="93675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55790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3" name="Text Placeholder 4"/>
          <p:cNvSpPr>
            <a:spLocks noGrp="1"/>
          </p:cNvSpPr>
          <p:nvPr>
            <p:ph type="body" sz="quarter" idx="23"/>
          </p:nvPr>
        </p:nvSpPr>
        <p:spPr>
          <a:xfrm>
            <a:off x="611560" y="4778821"/>
            <a:ext cx="8280921"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3804696789"/>
      </p:ext>
    </p:extLst>
  </p:cSld>
  <p:clrMapOvr>
    <a:masterClrMapping/>
  </p:clrMapOvr>
  <p:transition spd="slow">
    <p:push/>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3568" y="195486"/>
            <a:ext cx="8208913" cy="681980"/>
          </a:xfrm>
          <a:prstGeom prst="rect">
            <a:avLst/>
          </a:prstGeom>
        </p:spPr>
        <p:txBody>
          <a:bodyPr wrap="none" lIns="0" tIns="0" rIns="0" bIns="0" anchor="ctr"/>
          <a:lstStyle>
            <a:lvl1pPr>
              <a:defRPr sz="4400">
                <a:solidFill>
                  <a:schemeClr val="accent2"/>
                </a:solidFill>
              </a:defRPr>
            </a:lvl1pPr>
          </a:lstStyle>
          <a:p>
            <a:r>
              <a:rPr lang="de-DE" dirty="0"/>
              <a:t>Title</a:t>
            </a:r>
            <a:endParaRPr lang="en-US" dirty="0"/>
          </a:p>
        </p:txBody>
      </p:sp>
      <p:sp>
        <p:nvSpPr>
          <p:cNvPr id="3" name="Text Placeholder 4"/>
          <p:cNvSpPr>
            <a:spLocks noGrp="1"/>
          </p:cNvSpPr>
          <p:nvPr>
            <p:ph type="body" sz="quarter" idx="23"/>
          </p:nvPr>
        </p:nvSpPr>
        <p:spPr>
          <a:xfrm>
            <a:off x="611560" y="4778821"/>
            <a:ext cx="8280921"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4114056953"/>
      </p:ext>
    </p:extLst>
  </p:cSld>
  <p:clrMapOvr>
    <a:masterClrMapping/>
  </p:clrMapOvr>
  <p:transition spd="slow">
    <p:push/>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ual Column Layou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3568" y="195486"/>
            <a:ext cx="8208913" cy="681980"/>
          </a:xfrm>
          <a:prstGeom prst="rect">
            <a:avLst/>
          </a:prstGeom>
        </p:spPr>
        <p:txBody>
          <a:bodyPr wrap="none" lIns="0" tIns="0" rIns="0" bIns="0" anchor="ctr"/>
          <a:lstStyle>
            <a:lvl1pPr>
              <a:defRPr sz="4400">
                <a:solidFill>
                  <a:schemeClr val="accent2"/>
                </a:solidFill>
              </a:defRPr>
            </a:lvl1pPr>
          </a:lstStyle>
          <a:p>
            <a:r>
              <a:rPr lang="de-DE" dirty="0"/>
              <a:t>Title</a:t>
            </a:r>
            <a:endParaRPr lang="en-US" dirty="0"/>
          </a:p>
        </p:txBody>
      </p:sp>
      <p:sp>
        <p:nvSpPr>
          <p:cNvPr id="8" name="Content Placeholder 7"/>
          <p:cNvSpPr>
            <a:spLocks noGrp="1"/>
          </p:cNvSpPr>
          <p:nvPr>
            <p:ph sz="quarter" idx="12"/>
          </p:nvPr>
        </p:nvSpPr>
        <p:spPr>
          <a:xfrm>
            <a:off x="683569" y="1203598"/>
            <a:ext cx="3960440" cy="3939902"/>
          </a:xfrm>
          <a:prstGeom prst="rect">
            <a:avLst/>
          </a:prstGeom>
        </p:spPr>
        <p:txBody>
          <a:bodyPr lIns="0" tIns="0" rIns="0" bIns="0"/>
          <a:lstStyle>
            <a:lvl1pPr marL="6900" indent="0">
              <a:spcBef>
                <a:spcPts val="1800"/>
              </a:spcBef>
              <a:buClr>
                <a:schemeClr val="bg1">
                  <a:lumMod val="75000"/>
                </a:schemeClr>
              </a:buClr>
              <a:buSzPct val="75000"/>
              <a:buFont typeface="Wingdings 3" pitchFamily="18" charset="2"/>
              <a:buNone/>
              <a:defRPr sz="2400">
                <a:solidFill>
                  <a:schemeClr val="accent1"/>
                </a:soli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273050" indent="0">
              <a:spcBef>
                <a:spcPts val="0"/>
              </a:spcBef>
              <a:buFont typeface="Arial" panose="020B0604020202020204" pitchFamily="34" charset="0"/>
              <a:buNone/>
              <a:defRPr sz="1600">
                <a:solidFill>
                  <a:schemeClr val="accent1"/>
                </a:solidFill>
                <a:latin typeface="+mj-lt"/>
                <a:ea typeface="Segoe UI" pitchFamily="34" charset="0"/>
                <a:cs typeface="Segoe UI" pitchFamily="34" charset="0"/>
              </a:defRPr>
            </a:lvl2pPr>
            <a:lvl3pPr marL="541338" indent="0">
              <a:spcBef>
                <a:spcPts val="0"/>
              </a:spcBef>
              <a:buFont typeface="Arial" panose="020B0604020202020204" pitchFamily="34" charset="0"/>
              <a:buNone/>
              <a:defRPr sz="1400">
                <a:solidFill>
                  <a:schemeClr val="accent1"/>
                </a:solidFill>
                <a:latin typeface="+mj-lt"/>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endParaRPr lang="de-AT" dirty="0"/>
          </a:p>
        </p:txBody>
      </p:sp>
      <p:sp>
        <p:nvSpPr>
          <p:cNvPr id="4" name="Content Placeholder 7"/>
          <p:cNvSpPr>
            <a:spLocks noGrp="1"/>
          </p:cNvSpPr>
          <p:nvPr>
            <p:ph sz="quarter" idx="13"/>
          </p:nvPr>
        </p:nvSpPr>
        <p:spPr>
          <a:xfrm>
            <a:off x="4788024" y="1203598"/>
            <a:ext cx="4104457" cy="3939902"/>
          </a:xfrm>
          <a:prstGeom prst="rect">
            <a:avLst/>
          </a:prstGeom>
        </p:spPr>
        <p:txBody>
          <a:bodyPr lIns="0" tIns="0" rIns="0" bIns="0"/>
          <a:lstStyle>
            <a:lvl1pPr marL="6900" indent="0">
              <a:spcBef>
                <a:spcPts val="1800"/>
              </a:spcBef>
              <a:buClr>
                <a:schemeClr val="bg1">
                  <a:lumMod val="75000"/>
                </a:schemeClr>
              </a:buClr>
              <a:buSzPct val="75000"/>
              <a:buFont typeface="Wingdings 3" pitchFamily="18" charset="2"/>
              <a:buNone/>
              <a:defRPr sz="2400">
                <a:solidFill>
                  <a:schemeClr val="accent1"/>
                </a:soli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273050" indent="0">
              <a:spcBef>
                <a:spcPts val="0"/>
              </a:spcBef>
              <a:buFont typeface="Arial" panose="020B0604020202020204" pitchFamily="34" charset="0"/>
              <a:buNone/>
              <a:defRPr sz="1600">
                <a:solidFill>
                  <a:schemeClr val="accent1"/>
                </a:solidFill>
                <a:latin typeface="+mj-lt"/>
                <a:ea typeface="Segoe UI" pitchFamily="34" charset="0"/>
                <a:cs typeface="Segoe UI" pitchFamily="34" charset="0"/>
              </a:defRPr>
            </a:lvl2pPr>
            <a:lvl3pPr marL="541338" indent="0">
              <a:spcBef>
                <a:spcPts val="0"/>
              </a:spcBef>
              <a:buFont typeface="Arial" panose="020B0604020202020204" pitchFamily="34" charset="0"/>
              <a:buNone/>
              <a:defRPr sz="1400">
                <a:solidFill>
                  <a:schemeClr val="accent1"/>
                </a:solidFill>
                <a:latin typeface="+mj-lt"/>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endParaRPr lang="de-AT" dirty="0"/>
          </a:p>
        </p:txBody>
      </p:sp>
      <p:sp>
        <p:nvSpPr>
          <p:cNvPr id="5" name="Text Placeholder 4"/>
          <p:cNvSpPr>
            <a:spLocks noGrp="1"/>
          </p:cNvSpPr>
          <p:nvPr>
            <p:ph type="body" sz="quarter" idx="23"/>
          </p:nvPr>
        </p:nvSpPr>
        <p:spPr>
          <a:xfrm>
            <a:off x="683568" y="4778821"/>
            <a:ext cx="3960441"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
        <p:nvSpPr>
          <p:cNvPr id="6" name="Text Placeholder 4"/>
          <p:cNvSpPr>
            <a:spLocks noGrp="1"/>
          </p:cNvSpPr>
          <p:nvPr>
            <p:ph type="body" sz="quarter" idx="24"/>
          </p:nvPr>
        </p:nvSpPr>
        <p:spPr>
          <a:xfrm>
            <a:off x="4788024" y="4778821"/>
            <a:ext cx="4104457"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280248403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xEl>
                                              <p:pRg st="0" end="0"/>
                                            </p:txEl>
                                          </p:spTgt>
                                        </p:tgtEl>
                                        <p:attrNameLst>
                                          <p:attrName>style.visibility</p:attrName>
                                        </p:attrNameLst>
                                      </p:cBhvr>
                                      <p:to>
                                        <p:strVal val="visible"/>
                                      </p:to>
                                    </p:set>
                                    <p:animEffect transition="in" filter="fade">
                                      <p:cBhvr>
                                        <p:cTn id="18" dur="500"/>
                                        <p:tgtEl>
                                          <p:spTgt spid="4">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1" end="1"/>
                                            </p:txEl>
                                          </p:spTgt>
                                        </p:tgtEl>
                                        <p:attrNameLst>
                                          <p:attrName>style.visibility</p:attrName>
                                        </p:attrNameLst>
                                      </p:cBhvr>
                                      <p:to>
                                        <p:strVal val="visible"/>
                                      </p:to>
                                    </p:set>
                                    <p:animEffect transition="in" filter="fade">
                                      <p:cBhvr>
                                        <p:cTn id="21" dur="500"/>
                                        <p:tgtEl>
                                          <p:spTgt spid="4">
                                            <p:txEl>
                                              <p:pRg st="1" end="1"/>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2" end="2"/>
                                            </p:txEl>
                                          </p:spTgt>
                                        </p:tgtEl>
                                        <p:attrNameLst>
                                          <p:attrName>style.visibility</p:attrName>
                                        </p:attrNameLst>
                                      </p:cBhvr>
                                      <p:to>
                                        <p:strVal val="visible"/>
                                      </p:to>
                                    </p:set>
                                    <p:animEffect transition="in" filter="fade">
                                      <p:cBhvr>
                                        <p:cTn id="24"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10" presetClass="entr" presetSubtype="0" fill="hold" nodeType="click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4" grpId="0" build="p">
        <p:tmplLst>
          <p:tmpl lvl="1">
            <p:tnLst>
              <p:par>
                <p:cTn presetID="10"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tent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44190" y="195486"/>
            <a:ext cx="7748291" cy="681980"/>
          </a:xfrm>
          <a:prstGeom prst="rect">
            <a:avLst/>
          </a:prstGeom>
        </p:spPr>
        <p:txBody>
          <a:bodyPr wrap="none" lIns="0" tIns="0" rIns="0" bIns="0" anchor="ctr"/>
          <a:lstStyle>
            <a:lvl1pPr>
              <a:defRPr sz="4400">
                <a:solidFill>
                  <a:schemeClr val="accent2"/>
                </a:solidFill>
              </a:defRPr>
            </a:lvl1pPr>
          </a:lstStyle>
          <a:p>
            <a:r>
              <a:rPr lang="de-DE" dirty="0"/>
              <a:t>Title</a:t>
            </a:r>
            <a:endParaRPr lang="en-US" dirty="0"/>
          </a:p>
        </p:txBody>
      </p:sp>
      <p:sp>
        <p:nvSpPr>
          <p:cNvPr id="8" name="Content Placeholder 7"/>
          <p:cNvSpPr>
            <a:spLocks noGrp="1"/>
          </p:cNvSpPr>
          <p:nvPr>
            <p:ph sz="quarter" idx="12"/>
          </p:nvPr>
        </p:nvSpPr>
        <p:spPr>
          <a:xfrm>
            <a:off x="876300" y="1203598"/>
            <a:ext cx="8016181" cy="3939902"/>
          </a:xfrm>
          <a:prstGeom prst="rect">
            <a:avLst/>
          </a:prstGeom>
        </p:spPr>
        <p:txBody>
          <a:bodyPr lIns="0" tIns="0" rIns="0" bIns="0"/>
          <a:lstStyle>
            <a:lvl1pPr marL="273600" indent="-266700">
              <a:spcBef>
                <a:spcPts val="1800"/>
              </a:spcBef>
              <a:buClr>
                <a:schemeClr val="bg1">
                  <a:lumMod val="75000"/>
                </a:schemeClr>
              </a:buClr>
              <a:buSzPct val="75000"/>
              <a:buFont typeface="Wingdings 3" pitchFamily="18" charset="2"/>
              <a:buChar char=""/>
              <a:defRPr sz="2400">
                <a:solidFill>
                  <a:schemeClr val="accent1"/>
                </a:soli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273050" indent="0">
              <a:spcBef>
                <a:spcPts val="0"/>
              </a:spcBef>
              <a:buNone/>
              <a:defRPr sz="1600">
                <a:solidFill>
                  <a:schemeClr val="accent1"/>
                </a:solidFill>
                <a:latin typeface="+mj-lt"/>
                <a:ea typeface="Segoe UI" pitchFamily="34" charset="0"/>
                <a:cs typeface="Segoe UI" pitchFamily="34" charset="0"/>
              </a:defRPr>
            </a:lvl2pPr>
            <a:lvl3pPr marL="541338" indent="0">
              <a:spcBef>
                <a:spcPts val="0"/>
              </a:spcBef>
              <a:buNone/>
              <a:defRPr sz="1400">
                <a:solidFill>
                  <a:schemeClr val="accent1"/>
                </a:solidFill>
                <a:latin typeface="+mj-lt"/>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endParaRPr lang="de-AT" dirty="0"/>
          </a:p>
        </p:txBody>
      </p:sp>
      <p:sp>
        <p:nvSpPr>
          <p:cNvPr id="4" name="Text Placeholder 4"/>
          <p:cNvSpPr>
            <a:spLocks noGrp="1"/>
          </p:cNvSpPr>
          <p:nvPr>
            <p:ph type="body" sz="quarter" idx="23"/>
          </p:nvPr>
        </p:nvSpPr>
        <p:spPr>
          <a:xfrm>
            <a:off x="1144190" y="4778821"/>
            <a:ext cx="7748291"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179871981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tmplLst>
          <p:tmpl lvl="1">
            <p:tnLst>
              <p:par>
                <p:cTn presetID="10" presetClass="entr" presetSubtype="0" fill="hold" nodeType="click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3" name="Rectangle 2"/>
          <p:cNvSpPr/>
          <p:nvPr userDrawn="1"/>
        </p:nvSpPr>
        <p:spPr>
          <a:xfrm>
            <a:off x="0" y="1496184"/>
            <a:ext cx="9144000" cy="248524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Titel 1"/>
          <p:cNvSpPr>
            <a:spLocks noGrp="1"/>
          </p:cNvSpPr>
          <p:nvPr>
            <p:ph type="title" hasCustomPrompt="1"/>
          </p:nvPr>
        </p:nvSpPr>
        <p:spPr>
          <a:xfrm>
            <a:off x="1144000" y="2445764"/>
            <a:ext cx="7028400" cy="681980"/>
          </a:xfrm>
          <a:prstGeom prst="rect">
            <a:avLst/>
          </a:prstGeom>
        </p:spPr>
        <p:txBody>
          <a:bodyPr wrap="square" lIns="0" tIns="0" rIns="0" bIns="0" anchor="b"/>
          <a:lstStyle>
            <a:lvl1pPr>
              <a:defRPr sz="5400">
                <a:solidFill>
                  <a:schemeClr val="tx1"/>
                </a:solidFill>
              </a:defRPr>
            </a:lvl1pPr>
          </a:lstStyle>
          <a:p>
            <a:r>
              <a:rPr lang="en-US" noProof="0" dirty="0"/>
              <a:t>Short Title</a:t>
            </a:r>
          </a:p>
        </p:txBody>
      </p:sp>
      <p:sp>
        <p:nvSpPr>
          <p:cNvPr id="20" name="Text Placeholder 19"/>
          <p:cNvSpPr>
            <a:spLocks noGrp="1"/>
          </p:cNvSpPr>
          <p:nvPr>
            <p:ph type="body" sz="quarter" idx="25" hasCustomPrompt="1"/>
          </p:nvPr>
        </p:nvSpPr>
        <p:spPr>
          <a:xfrm>
            <a:off x="1144000" y="3134807"/>
            <a:ext cx="7036180" cy="367201"/>
          </a:xfrm>
          <a:prstGeom prst="rect">
            <a:avLst/>
          </a:prstGeom>
        </p:spPr>
        <p:txBody>
          <a:bodyPr lIns="0" tIns="0" rIns="0" bIns="0" anchor="b"/>
          <a:lstStyle>
            <a:lvl1pPr marL="0" indent="0">
              <a:buFontTx/>
              <a:buNone/>
              <a:defRPr sz="2400">
                <a:solidFill>
                  <a:schemeClr val="tx1"/>
                </a:solidFill>
                <a:latin typeface="+mj-lt"/>
              </a:defRPr>
            </a:lvl1pPr>
            <a:lvl2pPr marL="457200" indent="0">
              <a:buFontTx/>
              <a:buNone/>
              <a:defRPr sz="2400">
                <a:solidFill>
                  <a:schemeClr val="tx1"/>
                </a:solidFill>
                <a:latin typeface="+mj-lt"/>
              </a:defRPr>
            </a:lvl2pPr>
            <a:lvl3pPr marL="914400" indent="0">
              <a:buFontTx/>
              <a:buNone/>
              <a:defRPr sz="2400">
                <a:solidFill>
                  <a:schemeClr val="tx1"/>
                </a:solidFill>
                <a:latin typeface="+mj-lt"/>
              </a:defRPr>
            </a:lvl3pPr>
            <a:lvl4pPr marL="1371600" indent="0">
              <a:buFontTx/>
              <a:buNone/>
              <a:defRPr sz="2400">
                <a:solidFill>
                  <a:schemeClr val="tx1"/>
                </a:solidFill>
                <a:latin typeface="+mj-lt"/>
              </a:defRPr>
            </a:lvl4pPr>
            <a:lvl5pPr marL="1828800" indent="0">
              <a:buFontTx/>
              <a:buNone/>
              <a:defRPr sz="2400">
                <a:solidFill>
                  <a:schemeClr val="tx1"/>
                </a:solidFill>
                <a:latin typeface="+mj-lt"/>
              </a:defRPr>
            </a:lvl5pPr>
          </a:lstStyle>
          <a:p>
            <a:pPr lvl="0"/>
            <a:r>
              <a:rPr lang="en-US" noProof="0" dirty="0"/>
              <a:t>Subtitle</a:t>
            </a:r>
          </a:p>
        </p:txBody>
      </p:sp>
    </p:spTree>
    <p:extLst>
      <p:ext uri="{BB962C8B-B14F-4D97-AF65-F5344CB8AC3E}">
        <p14:creationId xmlns:p14="http://schemas.microsoft.com/office/powerpoint/2010/main" val="3206852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ual Column Layou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3568" y="195486"/>
            <a:ext cx="8208913" cy="681980"/>
          </a:xfrm>
          <a:prstGeom prst="rect">
            <a:avLst/>
          </a:prstGeom>
        </p:spPr>
        <p:txBody>
          <a:bodyPr wrap="none" lIns="0" tIns="0" rIns="0" bIns="0" anchor="ctr"/>
          <a:lstStyle>
            <a:lvl1pPr>
              <a:defRPr sz="4400">
                <a:solidFill>
                  <a:schemeClr val="accent2"/>
                </a:solidFill>
              </a:defRPr>
            </a:lvl1pPr>
          </a:lstStyle>
          <a:p>
            <a:r>
              <a:rPr lang="de-DE" dirty="0"/>
              <a:t>Title</a:t>
            </a:r>
            <a:endParaRPr lang="en-US" dirty="0"/>
          </a:p>
        </p:txBody>
      </p:sp>
      <p:sp>
        <p:nvSpPr>
          <p:cNvPr id="8" name="Content Placeholder 7"/>
          <p:cNvSpPr>
            <a:spLocks noGrp="1"/>
          </p:cNvSpPr>
          <p:nvPr>
            <p:ph sz="quarter" idx="12"/>
          </p:nvPr>
        </p:nvSpPr>
        <p:spPr>
          <a:xfrm>
            <a:off x="683569" y="1203598"/>
            <a:ext cx="3960440" cy="3939902"/>
          </a:xfrm>
          <a:prstGeom prst="rect">
            <a:avLst/>
          </a:prstGeom>
        </p:spPr>
        <p:txBody>
          <a:bodyPr lIns="0" tIns="0" rIns="0" bIns="0"/>
          <a:lstStyle>
            <a:lvl1pPr marL="6900" indent="0">
              <a:spcBef>
                <a:spcPts val="1800"/>
              </a:spcBef>
              <a:buClr>
                <a:schemeClr val="bg1">
                  <a:lumMod val="75000"/>
                </a:schemeClr>
              </a:buClr>
              <a:buSzPct val="75000"/>
              <a:buFont typeface="Wingdings 3" pitchFamily="18" charset="2"/>
              <a:buNone/>
              <a:defRPr sz="2400">
                <a:solidFill>
                  <a:schemeClr val="accent1"/>
                </a:soli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273050" indent="0">
              <a:spcBef>
                <a:spcPts val="0"/>
              </a:spcBef>
              <a:buFont typeface="Arial" panose="020B0604020202020204" pitchFamily="34" charset="0"/>
              <a:buNone/>
              <a:defRPr sz="1600">
                <a:solidFill>
                  <a:schemeClr val="accent1"/>
                </a:solidFill>
                <a:latin typeface="+mj-lt"/>
                <a:ea typeface="Segoe UI" pitchFamily="34" charset="0"/>
                <a:cs typeface="Segoe UI" pitchFamily="34" charset="0"/>
              </a:defRPr>
            </a:lvl2pPr>
            <a:lvl3pPr marL="541338" indent="0">
              <a:spcBef>
                <a:spcPts val="0"/>
              </a:spcBef>
              <a:buFont typeface="Arial" panose="020B0604020202020204" pitchFamily="34" charset="0"/>
              <a:buNone/>
              <a:defRPr sz="1400">
                <a:solidFill>
                  <a:schemeClr val="accent1"/>
                </a:solidFill>
                <a:latin typeface="+mj-lt"/>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endParaRPr lang="de-AT" dirty="0"/>
          </a:p>
        </p:txBody>
      </p:sp>
      <p:sp>
        <p:nvSpPr>
          <p:cNvPr id="4" name="Content Placeholder 7"/>
          <p:cNvSpPr>
            <a:spLocks noGrp="1"/>
          </p:cNvSpPr>
          <p:nvPr>
            <p:ph sz="quarter" idx="13"/>
          </p:nvPr>
        </p:nvSpPr>
        <p:spPr>
          <a:xfrm>
            <a:off x="4788024" y="1203598"/>
            <a:ext cx="4104457" cy="3939902"/>
          </a:xfrm>
          <a:prstGeom prst="rect">
            <a:avLst/>
          </a:prstGeom>
        </p:spPr>
        <p:txBody>
          <a:bodyPr lIns="0" tIns="0" rIns="0" bIns="0"/>
          <a:lstStyle>
            <a:lvl1pPr marL="6900" indent="0">
              <a:spcBef>
                <a:spcPts val="1800"/>
              </a:spcBef>
              <a:buClr>
                <a:schemeClr val="bg1">
                  <a:lumMod val="75000"/>
                </a:schemeClr>
              </a:buClr>
              <a:buSzPct val="75000"/>
              <a:buFont typeface="Wingdings 3" pitchFamily="18" charset="2"/>
              <a:buNone/>
              <a:defRPr sz="2400">
                <a:solidFill>
                  <a:schemeClr val="accent1"/>
                </a:soli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273050" indent="0">
              <a:spcBef>
                <a:spcPts val="0"/>
              </a:spcBef>
              <a:buFont typeface="Arial" panose="020B0604020202020204" pitchFamily="34" charset="0"/>
              <a:buNone/>
              <a:defRPr sz="1600">
                <a:solidFill>
                  <a:schemeClr val="accent1"/>
                </a:solidFill>
                <a:latin typeface="+mj-lt"/>
                <a:ea typeface="Segoe UI" pitchFamily="34" charset="0"/>
                <a:cs typeface="Segoe UI" pitchFamily="34" charset="0"/>
              </a:defRPr>
            </a:lvl2pPr>
            <a:lvl3pPr marL="541338" indent="0">
              <a:spcBef>
                <a:spcPts val="0"/>
              </a:spcBef>
              <a:buFont typeface="Arial" panose="020B0604020202020204" pitchFamily="34" charset="0"/>
              <a:buNone/>
              <a:defRPr sz="1400">
                <a:solidFill>
                  <a:schemeClr val="accent1"/>
                </a:solidFill>
                <a:latin typeface="+mj-lt"/>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endParaRPr lang="de-AT" dirty="0"/>
          </a:p>
        </p:txBody>
      </p:sp>
      <p:sp>
        <p:nvSpPr>
          <p:cNvPr id="5" name="Text Placeholder 4"/>
          <p:cNvSpPr>
            <a:spLocks noGrp="1"/>
          </p:cNvSpPr>
          <p:nvPr>
            <p:ph type="body" sz="quarter" idx="23"/>
          </p:nvPr>
        </p:nvSpPr>
        <p:spPr>
          <a:xfrm>
            <a:off x="683568" y="4778821"/>
            <a:ext cx="3960441"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
        <p:nvSpPr>
          <p:cNvPr id="6" name="Text Placeholder 4"/>
          <p:cNvSpPr>
            <a:spLocks noGrp="1"/>
          </p:cNvSpPr>
          <p:nvPr>
            <p:ph type="body" sz="quarter" idx="24"/>
          </p:nvPr>
        </p:nvSpPr>
        <p:spPr>
          <a:xfrm>
            <a:off x="4788024" y="4778821"/>
            <a:ext cx="4104457"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9633514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xEl>
                                              <p:pRg st="0" end="0"/>
                                            </p:txEl>
                                          </p:spTgt>
                                        </p:tgtEl>
                                        <p:attrNameLst>
                                          <p:attrName>style.visibility</p:attrName>
                                        </p:attrNameLst>
                                      </p:cBhvr>
                                      <p:to>
                                        <p:strVal val="visible"/>
                                      </p:to>
                                    </p:set>
                                    <p:animEffect transition="in" filter="fade">
                                      <p:cBhvr>
                                        <p:cTn id="18" dur="500"/>
                                        <p:tgtEl>
                                          <p:spTgt spid="4">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1" end="1"/>
                                            </p:txEl>
                                          </p:spTgt>
                                        </p:tgtEl>
                                        <p:attrNameLst>
                                          <p:attrName>style.visibility</p:attrName>
                                        </p:attrNameLst>
                                      </p:cBhvr>
                                      <p:to>
                                        <p:strVal val="visible"/>
                                      </p:to>
                                    </p:set>
                                    <p:animEffect transition="in" filter="fade">
                                      <p:cBhvr>
                                        <p:cTn id="21" dur="500"/>
                                        <p:tgtEl>
                                          <p:spTgt spid="4">
                                            <p:txEl>
                                              <p:pRg st="1" end="1"/>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2" end="2"/>
                                            </p:txEl>
                                          </p:spTgt>
                                        </p:tgtEl>
                                        <p:attrNameLst>
                                          <p:attrName>style.visibility</p:attrName>
                                        </p:attrNameLst>
                                      </p:cBhvr>
                                      <p:to>
                                        <p:strVal val="visible"/>
                                      </p:to>
                                    </p:set>
                                    <p:animEffect transition="in" filter="fade">
                                      <p:cBhvr>
                                        <p:cTn id="24"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10" presetClass="entr" presetSubtype="0" fill="hold" nodeType="click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4" grpId="0" build="p">
        <p:tmplLst>
          <p:tmpl lvl="1">
            <p:tnLst>
              <p:par>
                <p:cTn presetID="10"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dirty="0"/>
              <a:t>Click to edit Master title style</a:t>
            </a:r>
          </a:p>
        </p:txBody>
      </p:sp>
      <p:sp>
        <p:nvSpPr>
          <p:cNvPr id="5" name="Text Placeholder 3"/>
          <p:cNvSpPr>
            <a:spLocks noGrp="1"/>
          </p:cNvSpPr>
          <p:nvPr>
            <p:ph type="body" sz="quarter" idx="13"/>
          </p:nvPr>
        </p:nvSpPr>
        <p:spPr>
          <a:xfrm>
            <a:off x="201931" y="1337590"/>
            <a:ext cx="8741880" cy="1538434"/>
          </a:xfrm>
        </p:spPr>
        <p:txBody>
          <a:bodyPr/>
          <a:lstStyle>
            <a:lvl1pPr marL="0" indent="0">
              <a:buNone/>
              <a:defRPr>
                <a:solidFill>
                  <a:schemeClr val="bg1"/>
                </a:solidFill>
              </a:defRPr>
            </a:lvl1pPr>
            <a:lvl2pPr marL="20988" indent="0">
              <a:buNone/>
              <a:defRPr sz="1469"/>
            </a:lvl2pPr>
            <a:lvl3pPr marL="164406" indent="0">
              <a:buNone/>
              <a:defRPr sz="1469"/>
            </a:lvl3pPr>
            <a:lvl4pPr marL="349799" indent="0">
              <a:buNone/>
              <a:defRPr sz="1322"/>
            </a:lvl4pPr>
            <a:lvl5pPr marL="543355" indent="0">
              <a:buNone/>
              <a:defRPr sz="132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16081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44190" y="195486"/>
            <a:ext cx="7748291" cy="681980"/>
          </a:xfrm>
          <a:prstGeom prst="rect">
            <a:avLst/>
          </a:prstGeom>
        </p:spPr>
        <p:txBody>
          <a:bodyPr wrap="none" lIns="0" tIns="0" rIns="0" bIns="0" anchor="ctr"/>
          <a:lstStyle>
            <a:lvl1pPr>
              <a:defRPr sz="4400">
                <a:solidFill>
                  <a:schemeClr val="accent2"/>
                </a:solidFill>
              </a:defRPr>
            </a:lvl1pPr>
          </a:lstStyle>
          <a:p>
            <a:r>
              <a:rPr lang="de-DE" dirty="0"/>
              <a:t>Title</a:t>
            </a:r>
            <a:endParaRPr lang="en-US" dirty="0"/>
          </a:p>
        </p:txBody>
      </p:sp>
      <p:sp>
        <p:nvSpPr>
          <p:cNvPr id="3" name="Text Placeholder 4"/>
          <p:cNvSpPr>
            <a:spLocks noGrp="1"/>
          </p:cNvSpPr>
          <p:nvPr>
            <p:ph type="body" sz="quarter" idx="23"/>
          </p:nvPr>
        </p:nvSpPr>
        <p:spPr>
          <a:xfrm>
            <a:off x="1144190" y="4778821"/>
            <a:ext cx="7748291"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978779613"/>
      </p:ext>
    </p:extLst>
  </p:cSld>
  <p:clrMapOvr>
    <a:masterClrMapping/>
  </p:clrMapOvr>
  <p:transition spd="slow">
    <p:push/>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03076" y="4434568"/>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914" y="487289"/>
            <a:ext cx="7691954" cy="3828206"/>
          </a:xfrm>
          <a:prstGeom prst="rect">
            <a:avLst/>
          </a:prstGeom>
        </p:spPr>
      </p:pic>
    </p:spTree>
    <p:extLst>
      <p:ext uri="{BB962C8B-B14F-4D97-AF65-F5344CB8AC3E}">
        <p14:creationId xmlns:p14="http://schemas.microsoft.com/office/powerpoint/2010/main" val="33753383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9"/>
            <a:ext cx="4370023" cy="1479300"/>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706231"/>
            <a:ext cx="3563251" cy="742523"/>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9" y="4584461"/>
            <a:ext cx="806774" cy="154404"/>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54273" y="1025217"/>
            <a:ext cx="5423775" cy="2699356"/>
          </a:xfrm>
          <a:prstGeom prst="rect">
            <a:avLst/>
          </a:prstGeom>
        </p:spPr>
      </p:pic>
    </p:spTree>
    <p:extLst>
      <p:ext uri="{BB962C8B-B14F-4D97-AF65-F5344CB8AC3E}">
        <p14:creationId xmlns:p14="http://schemas.microsoft.com/office/powerpoint/2010/main" val="34962832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294177"/>
            <a:ext cx="5916340"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9" y="4584461"/>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51085" y="689011"/>
            <a:ext cx="3011956" cy="3765477"/>
          </a:xfrm>
          <a:prstGeom prst="rect">
            <a:avLst/>
          </a:prstGeom>
        </p:spPr>
      </p:pic>
    </p:spTree>
    <p:extLst>
      <p:ext uri="{BB962C8B-B14F-4D97-AF65-F5344CB8AC3E}">
        <p14:creationId xmlns:p14="http://schemas.microsoft.com/office/powerpoint/2010/main" val="307993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294177"/>
            <a:ext cx="5916340"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9" y="4584461"/>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9849" y="793825"/>
            <a:ext cx="4201992" cy="4349678"/>
          </a:xfrm>
          <a:prstGeom prst="rect">
            <a:avLst/>
          </a:prstGeom>
        </p:spPr>
      </p:pic>
    </p:spTree>
    <p:extLst>
      <p:ext uri="{BB962C8B-B14F-4D97-AF65-F5344CB8AC3E}">
        <p14:creationId xmlns:p14="http://schemas.microsoft.com/office/powerpoint/2010/main" val="35133823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9" y="4584461"/>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54934" y="1193296"/>
            <a:ext cx="2348868" cy="3160362"/>
          </a:xfrm>
          <a:prstGeom prst="rect">
            <a:avLst/>
          </a:prstGeom>
        </p:spPr>
      </p:pic>
      <p:sp>
        <p:nvSpPr>
          <p:cNvPr id="8" name="Title 1"/>
          <p:cNvSpPr>
            <a:spLocks noGrp="1"/>
          </p:cNvSpPr>
          <p:nvPr>
            <p:ph type="title" hasCustomPrompt="1"/>
          </p:nvPr>
        </p:nvSpPr>
        <p:spPr>
          <a:xfrm>
            <a:off x="201976" y="1294177"/>
            <a:ext cx="5916340"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spTree>
    <p:extLst>
      <p:ext uri="{BB962C8B-B14F-4D97-AF65-F5344CB8AC3E}">
        <p14:creationId xmlns:p14="http://schemas.microsoft.com/office/powerpoint/2010/main" val="3429393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2"/>
            <a:ext cx="8740142" cy="1538434"/>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112" indent="0">
              <a:buNone/>
              <a:defRPr/>
            </a:lvl3pPr>
            <a:lvl4pPr marL="336225" indent="0">
              <a:buNone/>
              <a:defRPr/>
            </a:lvl4pPr>
            <a:lvl5pPr marL="5043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136521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2"/>
            <a:ext cx="8740142" cy="1547347"/>
          </a:xfrm>
        </p:spPr>
        <p:txBody>
          <a:bodyPr>
            <a:spAutoFit/>
          </a:bodyPr>
          <a:lstStyle>
            <a:lvl1pPr>
              <a:defRPr sz="264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809443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4"/>
            <a:ext cx="4033910" cy="1832425"/>
          </a:xfrm>
        </p:spPr>
        <p:txBody>
          <a:bodyPr wrap="square">
            <a:spAutoFit/>
          </a:bodyPr>
          <a:lstStyle>
            <a:lvl1pPr marL="211308" indent="-211308">
              <a:spcBef>
                <a:spcPts val="900"/>
              </a:spcBef>
              <a:buClr>
                <a:schemeClr val="tx1"/>
              </a:buClr>
              <a:buFont typeface="Arial" pitchFamily="34" charset="0"/>
              <a:buChar char="•"/>
              <a:defRPr sz="2353"/>
            </a:lvl1pPr>
            <a:lvl2pPr marL="390619" indent="-171492">
              <a:defRPr sz="1765"/>
            </a:lvl2pPr>
            <a:lvl3pPr marL="514475" indent="-123855">
              <a:tabLst/>
              <a:defRPr sz="1471"/>
            </a:lvl3pPr>
            <a:lvl4pPr marL="647857" indent="-133382">
              <a:defRPr/>
            </a:lvl4pPr>
            <a:lvl5pPr marL="771712" indent="-1238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3" y="891884"/>
            <a:ext cx="4033910" cy="1832425"/>
          </a:xfrm>
        </p:spPr>
        <p:txBody>
          <a:bodyPr wrap="square">
            <a:spAutoFit/>
          </a:bodyPr>
          <a:lstStyle>
            <a:lvl1pPr marL="211308" indent="-211308">
              <a:spcBef>
                <a:spcPts val="900"/>
              </a:spcBef>
              <a:buClr>
                <a:schemeClr val="tx1"/>
              </a:buClr>
              <a:buFont typeface="Arial" pitchFamily="34" charset="0"/>
              <a:buChar char="•"/>
              <a:defRPr sz="2353"/>
            </a:lvl1pPr>
            <a:lvl2pPr marL="390619" indent="-171492">
              <a:defRPr sz="1765"/>
            </a:lvl2pPr>
            <a:lvl3pPr marL="514475" indent="-123855">
              <a:tabLst/>
              <a:defRPr sz="1471"/>
            </a:lvl3pPr>
            <a:lvl4pPr marL="647857" indent="-133382">
              <a:defRPr/>
            </a:lvl4pPr>
            <a:lvl5pPr marL="771712" indent="-1238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149839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3568" y="195486"/>
            <a:ext cx="8208913" cy="681980"/>
          </a:xfrm>
          <a:prstGeom prst="rect">
            <a:avLst/>
          </a:prstGeom>
        </p:spPr>
        <p:txBody>
          <a:bodyPr wrap="none" lIns="0" tIns="0" rIns="0" bIns="0" anchor="ctr"/>
          <a:lstStyle>
            <a:lvl1pPr>
              <a:defRPr sz="4400">
                <a:solidFill>
                  <a:schemeClr val="accent2"/>
                </a:solidFill>
              </a:defRPr>
            </a:lvl1pPr>
          </a:lstStyle>
          <a:p>
            <a:r>
              <a:rPr lang="de-DE" dirty="0"/>
              <a:t>Title</a:t>
            </a:r>
            <a:endParaRPr lang="en-US" dirty="0"/>
          </a:p>
        </p:txBody>
      </p:sp>
      <p:sp>
        <p:nvSpPr>
          <p:cNvPr id="3" name="Text Placeholder 4"/>
          <p:cNvSpPr>
            <a:spLocks noGrp="1"/>
          </p:cNvSpPr>
          <p:nvPr>
            <p:ph type="body" sz="quarter" idx="23"/>
          </p:nvPr>
        </p:nvSpPr>
        <p:spPr>
          <a:xfrm>
            <a:off x="611560" y="4778821"/>
            <a:ext cx="8280921"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1944853849"/>
      </p:ext>
    </p:extLst>
  </p:cSld>
  <p:clrMapOvr>
    <a:masterClrMapping/>
  </p:clrMapOvr>
  <p:transition spd="slow">
    <p:push/>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0"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47" indent="0">
              <a:buNone/>
              <a:tabLst/>
              <a:defRPr sz="1471"/>
            </a:lvl3pPr>
            <a:lvl4pPr marL="338560" indent="0">
              <a:buNone/>
              <a:defRPr/>
            </a:lvl4pPr>
            <a:lvl5pPr marL="5043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3" y="891882"/>
            <a:ext cx="4033910"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47" indent="0">
              <a:buNone/>
              <a:tabLst/>
              <a:defRPr sz="1471"/>
            </a:lvl3pPr>
            <a:lvl4pPr marL="338560" indent="0">
              <a:buNone/>
              <a:defRPr/>
            </a:lvl4pPr>
            <a:lvl5pPr marL="5043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3476233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01976" y="1294177"/>
            <a:ext cx="5916340"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spTree>
    <p:extLst>
      <p:ext uri="{BB962C8B-B14F-4D97-AF65-F5344CB8AC3E}">
        <p14:creationId xmlns:p14="http://schemas.microsoft.com/office/powerpoint/2010/main" val="302203387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17140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2"/>
            <a:ext cx="8740142" cy="1538434"/>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112" indent="0">
              <a:buNone/>
              <a:defRPr/>
            </a:lvl3pPr>
            <a:lvl4pPr marL="336225" indent="0">
              <a:buNone/>
              <a:defRPr/>
            </a:lvl4pPr>
            <a:lvl5pPr marL="5043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2929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2"/>
            <a:ext cx="8740142" cy="1538434"/>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112" indent="0">
              <a:buNone/>
              <a:defRPr/>
            </a:lvl3pPr>
            <a:lvl4pPr marL="336225" indent="0">
              <a:buNone/>
              <a:defRPr/>
            </a:lvl4pPr>
            <a:lvl5pPr marL="5043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1544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2"/>
            <a:ext cx="8740142" cy="1547347"/>
          </a:xfrm>
        </p:spPr>
        <p:txBody>
          <a:bodyPr>
            <a:spAutoFit/>
          </a:bodyPr>
          <a:lstStyle>
            <a:lvl1pPr>
              <a:defRPr sz="264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3980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2"/>
            <a:ext cx="8740142" cy="1547347"/>
          </a:xfrm>
        </p:spPr>
        <p:txBody>
          <a:bodyPr>
            <a:spAutoFit/>
          </a:bodyPr>
          <a:lstStyle>
            <a:lvl1pPr>
              <a:defRPr sz="264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3587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0"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47" indent="0">
              <a:buNone/>
              <a:tabLst/>
              <a:defRPr sz="1471"/>
            </a:lvl3pPr>
            <a:lvl4pPr marL="338560" indent="0">
              <a:buNone/>
              <a:defRPr/>
            </a:lvl4pPr>
            <a:lvl5pPr marL="5043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3" y="891882"/>
            <a:ext cx="4033910"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47" indent="0">
              <a:buNone/>
              <a:tabLst/>
              <a:defRPr sz="1471"/>
            </a:lvl3pPr>
            <a:lvl4pPr marL="338560" indent="0">
              <a:buNone/>
              <a:defRPr/>
            </a:lvl4pPr>
            <a:lvl5pPr marL="5043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410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0"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47" indent="0">
              <a:buNone/>
              <a:tabLst/>
              <a:defRPr sz="1471"/>
            </a:lvl3pPr>
            <a:lvl4pPr marL="338560" indent="0">
              <a:buNone/>
              <a:defRPr/>
            </a:lvl4pPr>
            <a:lvl5pPr marL="5043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3" y="891882"/>
            <a:ext cx="4033910"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47" indent="0">
              <a:buNone/>
              <a:tabLst/>
              <a:defRPr sz="1471"/>
            </a:lvl3pPr>
            <a:lvl4pPr marL="338560" indent="0">
              <a:buNone/>
              <a:defRPr/>
            </a:lvl4pPr>
            <a:lvl5pPr marL="5043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124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4"/>
            <a:ext cx="4033910" cy="1832425"/>
          </a:xfrm>
        </p:spPr>
        <p:txBody>
          <a:bodyPr wrap="square">
            <a:spAutoFit/>
          </a:bodyPr>
          <a:lstStyle>
            <a:lvl1pPr marL="211308" indent="-211308">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619" indent="-171492">
              <a:defRPr sz="1765"/>
            </a:lvl2pPr>
            <a:lvl3pPr marL="514475" indent="-123855">
              <a:tabLst/>
              <a:defRPr sz="1471"/>
            </a:lvl3pPr>
            <a:lvl4pPr marL="647857" indent="-133382">
              <a:defRPr/>
            </a:lvl4pPr>
            <a:lvl5pPr marL="771712" indent="-1238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3" y="891884"/>
            <a:ext cx="4033910" cy="1832425"/>
          </a:xfrm>
        </p:spPr>
        <p:txBody>
          <a:bodyPr wrap="square">
            <a:spAutoFit/>
          </a:bodyPr>
          <a:lstStyle>
            <a:lvl1pPr marL="211308" indent="-211308">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619" indent="-171492">
              <a:defRPr sz="1765"/>
            </a:lvl2pPr>
            <a:lvl3pPr marL="514475" indent="-123855">
              <a:tabLst/>
              <a:defRPr sz="1471"/>
            </a:lvl3pPr>
            <a:lvl4pPr marL="647857" indent="-133382">
              <a:defRPr/>
            </a:lvl4pPr>
            <a:lvl5pPr marL="771712" indent="-1238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495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Text Placeholder 4"/>
          <p:cNvSpPr>
            <a:spLocks noGrp="1"/>
          </p:cNvSpPr>
          <p:nvPr>
            <p:ph type="body" sz="quarter" idx="23"/>
          </p:nvPr>
        </p:nvSpPr>
        <p:spPr>
          <a:xfrm>
            <a:off x="611560" y="4778821"/>
            <a:ext cx="8280921"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4020397959"/>
      </p:ext>
    </p:extLst>
  </p:cSld>
  <p:clrMapOvr>
    <a:masterClrMapping/>
  </p:clrMapOvr>
  <p:transition spd="slow">
    <p:push/>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4"/>
            <a:ext cx="4033910" cy="1832425"/>
          </a:xfrm>
        </p:spPr>
        <p:txBody>
          <a:bodyPr wrap="square">
            <a:spAutoFit/>
          </a:bodyPr>
          <a:lstStyle>
            <a:lvl1pPr marL="211308" indent="-211308">
              <a:spcBef>
                <a:spcPts val="900"/>
              </a:spcBef>
              <a:buClr>
                <a:schemeClr val="tx1"/>
              </a:buClr>
              <a:buFont typeface="Arial" pitchFamily="34" charset="0"/>
              <a:buChar char="•"/>
              <a:defRPr sz="2353"/>
            </a:lvl1pPr>
            <a:lvl2pPr marL="390619" indent="-171492">
              <a:defRPr sz="1765"/>
            </a:lvl2pPr>
            <a:lvl3pPr marL="514475" indent="-123855">
              <a:tabLst/>
              <a:defRPr sz="1471"/>
            </a:lvl3pPr>
            <a:lvl4pPr marL="647857" indent="-133382">
              <a:defRPr/>
            </a:lvl4pPr>
            <a:lvl5pPr marL="771712" indent="-1238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3" y="891884"/>
            <a:ext cx="4033910" cy="1832425"/>
          </a:xfrm>
        </p:spPr>
        <p:txBody>
          <a:bodyPr wrap="square">
            <a:spAutoFit/>
          </a:bodyPr>
          <a:lstStyle>
            <a:lvl1pPr marL="211308" indent="-211308">
              <a:spcBef>
                <a:spcPts val="900"/>
              </a:spcBef>
              <a:buClr>
                <a:schemeClr val="tx1"/>
              </a:buClr>
              <a:buFont typeface="Arial" pitchFamily="34" charset="0"/>
              <a:buChar char="•"/>
              <a:defRPr sz="2353"/>
            </a:lvl1pPr>
            <a:lvl2pPr marL="390619" indent="-171492">
              <a:defRPr sz="1765"/>
            </a:lvl2pPr>
            <a:lvl3pPr marL="514475" indent="-123855">
              <a:tabLst/>
              <a:defRPr sz="1471"/>
            </a:lvl3pPr>
            <a:lvl4pPr marL="647857" indent="-133382">
              <a:defRPr/>
            </a:lvl4pPr>
            <a:lvl5pPr marL="771712" indent="-1238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4875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8985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0733"/>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6" tIns="34296" rIns="34296" bIns="34296" numCol="1" spcCol="0" rtlCol="0" fromWordArt="0" anchor="ctr" anchorCtr="0" forceAA="0" compatLnSpc="1">
            <a:prstTxWarp prst="textNoShape">
              <a:avLst/>
            </a:prstTxWarp>
            <a:noAutofit/>
          </a:bodyPr>
          <a:lstStyle/>
          <a:p>
            <a:pPr algn="ctr" defTabSz="685740"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3"/>
            <a:ext cx="8740141" cy="1516890"/>
          </a:xfrm>
        </p:spPr>
        <p:txBody>
          <a:bodyPr/>
          <a:lstStyle>
            <a:lvl1pPr marL="0" indent="0">
              <a:buNone/>
              <a:defRPr sz="242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5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9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90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9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9132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4"/>
            <a:ext cx="8740141" cy="296524"/>
          </a:xfrm>
          <a:prstGeom prst="rect">
            <a:avLst/>
          </a:prstGeom>
          <a:noFill/>
          <a:ln w="12700">
            <a:noFill/>
            <a:miter lim="800000"/>
            <a:headEnd type="none" w="sm" len="sm"/>
            <a:tailEnd type="none" w="sm" len="sm"/>
          </a:ln>
          <a:effectLst/>
        </p:spPr>
        <p:txBody>
          <a:bodyPr vert="horz" wrap="square" lIns="134481" tIns="107585" rIns="134481" bIns="107585" numCol="1" anchor="t" anchorCtr="0" compatLnSpc="1">
            <a:prstTxWarp prst="textNoShape">
              <a:avLst/>
            </a:prstTxWarp>
            <a:spAutoFit/>
          </a:bodyPr>
          <a:lstStyle/>
          <a:p>
            <a:pPr defTabSz="685606" eaLnBrk="0" hangingPunct="0"/>
            <a:r>
              <a:rPr lang="en-US" sz="515"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3" y="2312742"/>
            <a:ext cx="2417895" cy="518021"/>
          </a:xfrm>
          <a:prstGeom prst="rect">
            <a:avLst/>
          </a:prstGeom>
        </p:spPr>
      </p:pic>
    </p:spTree>
    <p:extLst>
      <p:ext uri="{BB962C8B-B14F-4D97-AF65-F5344CB8AC3E}">
        <p14:creationId xmlns:p14="http://schemas.microsoft.com/office/powerpoint/2010/main" val="274775495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18330"/>
            <a:ext cx="8621013" cy="672388"/>
          </a:xfrm>
        </p:spPr>
        <p:txBody>
          <a:bodyPr/>
          <a:lstStyle>
            <a:lvl1pPr>
              <a:defRPr sz="352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1" y="1247957"/>
            <a:ext cx="8620778"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35921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8907" y="2866189"/>
            <a:ext cx="5354186" cy="673454"/>
          </a:xfrm>
        </p:spPr>
        <p:txBody>
          <a:bodyPr/>
          <a:lstStyle>
            <a:lvl1pPr marL="0" indent="0">
              <a:buNone/>
              <a:defRPr sz="3529"/>
            </a:lvl1pPr>
            <a:lvl2pPr marL="252120" indent="0">
              <a:buNone/>
              <a:defRPr/>
            </a:lvl2pPr>
            <a:lvl3pPr marL="420200" indent="0">
              <a:buNone/>
              <a:defRPr/>
            </a:lvl3pPr>
            <a:lvl4pPr marL="588280" indent="0">
              <a:buNone/>
              <a:defRPr/>
            </a:lvl4pPr>
            <a:lvl5pPr marL="756361" indent="0">
              <a:buNone/>
              <a:defRPr/>
            </a:lvl5pPr>
          </a:lstStyle>
          <a:p>
            <a:pPr lvl="0"/>
            <a:r>
              <a:rPr lang="en-US" dirty="0"/>
              <a:t>Click to edit Section</a:t>
            </a:r>
          </a:p>
        </p:txBody>
      </p:sp>
    </p:spTree>
    <p:extLst>
      <p:ext uri="{BB962C8B-B14F-4D97-AF65-F5344CB8AC3E}">
        <p14:creationId xmlns:p14="http://schemas.microsoft.com/office/powerpoint/2010/main" val="363501433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94844"/>
            <a:ext cx="8323444" cy="806913"/>
          </a:xfrm>
        </p:spPr>
        <p:txBody>
          <a:bodyPr lIns="146304" tIns="91440" rIns="146304" bIns="91440"/>
          <a:lstStyle>
            <a:lvl1pPr>
              <a:lnSpc>
                <a:spcPts val="4632"/>
              </a:lnSpc>
              <a:defRPr sz="426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336159" y="4827932"/>
            <a:ext cx="2894705" cy="100862"/>
          </a:xfrm>
          <a:prstGeom prst="rect">
            <a:avLst/>
          </a:prstGeom>
        </p:spPr>
        <p:txBody>
          <a:bodyPr/>
          <a:lstStyle/>
          <a:p>
            <a:pPr defTabSz="685807"/>
            <a:endParaRPr lang="en-US">
              <a:solidFill>
                <a:srgbClr val="505050"/>
              </a:solidFill>
            </a:endParaRPr>
          </a:p>
        </p:txBody>
      </p:sp>
      <p:sp>
        <p:nvSpPr>
          <p:cNvPr id="4" name="Slide Number Placeholder 3"/>
          <p:cNvSpPr>
            <a:spLocks noGrp="1"/>
          </p:cNvSpPr>
          <p:nvPr>
            <p:ph type="sldNum" sz="quarter" idx="11"/>
          </p:nvPr>
        </p:nvSpPr>
        <p:spPr>
          <a:xfrm>
            <a:off x="8525376" y="4827932"/>
            <a:ext cx="416697" cy="100862"/>
          </a:xfrm>
          <a:prstGeom prst="rect">
            <a:avLst/>
          </a:prstGeom>
        </p:spPr>
        <p:txBody>
          <a:bodyPr/>
          <a:lstStyle/>
          <a:p>
            <a:pPr defTabSz="685807"/>
            <a:fld id="{27258FFF-F925-446B-8502-81C933981705}" type="slidenum">
              <a:rPr lang="en-US" smtClean="0">
                <a:solidFill>
                  <a:srgbClr val="505050"/>
                </a:solidFill>
              </a:rPr>
              <a:pPr defTabSz="685807"/>
              <a:t>‹#›</a:t>
            </a:fld>
            <a:endParaRPr lang="en-US">
              <a:solidFill>
                <a:srgbClr val="505050"/>
              </a:solidFill>
            </a:endParaRPr>
          </a:p>
        </p:txBody>
      </p:sp>
    </p:spTree>
    <p:extLst>
      <p:ext uri="{BB962C8B-B14F-4D97-AF65-F5344CB8AC3E}">
        <p14:creationId xmlns:p14="http://schemas.microsoft.com/office/powerpoint/2010/main" val="78375542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3"/>
            <a:ext cx="9144000" cy="51435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57115" tIns="28561" rIns="57115" bIns="28561" numCol="1" rtlCol="0" anchor="ctr" anchorCtr="0" compatLnSpc="1">
            <a:prstTxWarp prst="textNoShape">
              <a:avLst/>
            </a:prstTxWarp>
          </a:bodyPr>
          <a:lstStyle/>
          <a:p>
            <a:pPr marL="0" marR="0" lvl="0" indent="0" algn="ctr" defTabSz="571009" rtl="0" eaLnBrk="1" fontAlgn="auto" latinLnBrk="0" hangingPunct="1">
              <a:lnSpc>
                <a:spcPct val="100000"/>
              </a:lnSpc>
              <a:spcBef>
                <a:spcPts val="0"/>
              </a:spcBef>
              <a:spcAft>
                <a:spcPts val="0"/>
              </a:spcAft>
              <a:buClrTx/>
              <a:buSzTx/>
              <a:buFontTx/>
              <a:buNone/>
              <a:tabLst/>
              <a:defRPr/>
            </a:pPr>
            <a:endParaRPr kumimoji="0" lang="en-US" sz="1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8701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04850" y="218305"/>
            <a:ext cx="8740142" cy="4594309"/>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01930" y="1560715"/>
            <a:ext cx="8740142" cy="1977080"/>
          </a:xfrm>
        </p:spPr>
        <p:txBody>
          <a:bodyPr lIns="146304" tIns="91440" rIns="146304" bIns="91440"/>
          <a:lstStyle>
            <a:lvl1pPr marL="0" indent="0">
              <a:lnSpc>
                <a:spcPct val="90000"/>
              </a:lnSpc>
              <a:buFontTx/>
              <a:buNone/>
              <a:defRPr sz="6471" b="0">
                <a:solidFill>
                  <a:schemeClr val="bg1"/>
                </a:solidFill>
                <a:latin typeface="+mj-lt"/>
              </a:defRPr>
            </a:lvl1pPr>
            <a:lvl2pPr marL="252097" indent="0">
              <a:buFontTx/>
              <a:buNone/>
              <a:defRPr sz="2647">
                <a:latin typeface="Segoe Pro Light"/>
              </a:defRPr>
            </a:lvl2pPr>
            <a:lvl3pPr marL="420160" indent="0">
              <a:buFontTx/>
              <a:buNone/>
              <a:defRPr sz="2647">
                <a:latin typeface="Segoe Pro Light"/>
              </a:defRPr>
            </a:lvl3pPr>
            <a:lvl4pPr marL="588223" indent="0">
              <a:buFontTx/>
              <a:buNone/>
              <a:defRPr sz="2647">
                <a:latin typeface="Segoe Pro Light"/>
              </a:defRPr>
            </a:lvl4pPr>
            <a:lvl5pPr marL="756286" indent="0">
              <a:buFontTx/>
              <a:buNone/>
              <a:defRPr sz="2647">
                <a:latin typeface="Segoe Pro Light"/>
              </a:defRPr>
            </a:lvl5pPr>
          </a:lstStyle>
          <a:p>
            <a:pPr lvl="0"/>
            <a:r>
              <a:rPr lang="en-US"/>
              <a:t>Click to edit Master text styles</a:t>
            </a:r>
          </a:p>
        </p:txBody>
      </p:sp>
    </p:spTree>
    <p:extLst>
      <p:ext uri="{BB962C8B-B14F-4D97-AF65-F5344CB8AC3E}">
        <p14:creationId xmlns:p14="http://schemas.microsoft.com/office/powerpoint/2010/main" val="259250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Interior1">
    <p:bg>
      <p:bgPr>
        <a:solidFill>
          <a:schemeClr val="bg1"/>
        </a:solidFill>
        <a:effectLst/>
      </p:bgPr>
    </p:bg>
    <p:spTree>
      <p:nvGrpSpPr>
        <p:cNvPr id="1" name=""/>
        <p:cNvGrpSpPr/>
        <p:nvPr/>
      </p:nvGrpSpPr>
      <p:grpSpPr>
        <a:xfrm>
          <a:off x="0" y="0"/>
          <a:ext cx="0" cy="0"/>
          <a:chOff x="0" y="0"/>
          <a:chExt cx="0" cy="0"/>
        </a:xfrm>
      </p:grpSpPr>
      <p:sp>
        <p:nvSpPr>
          <p:cNvPr id="15" name="Rectangle 14"/>
          <p:cNvSpPr>
            <a:spLocks/>
          </p:cNvSpPr>
          <p:nvPr userDrawn="1"/>
        </p:nvSpPr>
        <p:spPr>
          <a:xfrm>
            <a:off x="0" y="0"/>
            <a:ext cx="9144000"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dirty="0"/>
          </a:p>
        </p:txBody>
      </p:sp>
      <p:sp>
        <p:nvSpPr>
          <p:cNvPr id="13" name="Content Placeholder 2"/>
          <p:cNvSpPr>
            <a:spLocks noGrp="1"/>
          </p:cNvSpPr>
          <p:nvPr>
            <p:ph idx="1" hasCustomPrompt="1"/>
          </p:nvPr>
        </p:nvSpPr>
        <p:spPr>
          <a:xfrm>
            <a:off x="0" y="927930"/>
            <a:ext cx="9144000" cy="1917448"/>
          </a:xfrm>
          <a:prstGeom prst="rect">
            <a:avLst/>
          </a:prstGeom>
        </p:spPr>
        <p:txBody>
          <a:bodyPr lIns="182880" tIns="182880" rIns="182880" bIns="182880"/>
          <a:lstStyle>
            <a:lvl1pPr marL="0" indent="0">
              <a:spcBef>
                <a:spcPts val="1000"/>
              </a:spcBef>
              <a:buFont typeface="Arial"/>
              <a:buNone/>
              <a:defRPr sz="2400" baseline="0">
                <a:solidFill>
                  <a:schemeClr val="tx1"/>
                </a:solidFill>
                <a:latin typeface="Segoe UI Light"/>
                <a:cs typeface="Segoe UI Light"/>
              </a:defRPr>
            </a:lvl1pPr>
            <a:lvl2pPr marL="662987" indent="-342924">
              <a:spcBef>
                <a:spcPts val="1000"/>
              </a:spcBef>
              <a:buFont typeface="Arial" panose="020B0604020202020204" pitchFamily="34" charset="0"/>
              <a:buChar char="•"/>
              <a:defRPr sz="2400">
                <a:solidFill>
                  <a:schemeClr val="bg2"/>
                </a:solidFill>
                <a:latin typeface="Segoe UI Light"/>
                <a:cs typeface="Segoe UI Light"/>
              </a:defRPr>
            </a:lvl2pPr>
            <a:lvl3pPr marL="914465">
              <a:spcBef>
                <a:spcPts val="1000"/>
              </a:spcBef>
              <a:buFont typeface="Arial"/>
              <a:buChar char="•"/>
              <a:defRPr sz="2200">
                <a:solidFill>
                  <a:schemeClr val="bg2"/>
                </a:solidFill>
                <a:latin typeface="Segoe UI Light"/>
                <a:cs typeface="Segoe UI Light"/>
              </a:defRPr>
            </a:lvl3pPr>
            <a:lvl4pPr marL="1280251">
              <a:spcBef>
                <a:spcPts val="1000"/>
              </a:spcBef>
              <a:buFont typeface="Arial"/>
              <a:buChar char="•"/>
              <a:defRPr sz="2000" baseline="0">
                <a:solidFill>
                  <a:schemeClr val="bg2"/>
                </a:solidFill>
                <a:latin typeface="Segoe UI Light"/>
                <a:cs typeface="Segoe UI Light"/>
              </a:defRPr>
            </a:lvl4pPr>
            <a:lvl5pPr marL="1463143" indent="182893">
              <a:spcBef>
                <a:spcPts val="1000"/>
              </a:spcBef>
              <a:buFont typeface="Arial"/>
              <a:buChar char="•"/>
              <a:tabLst>
                <a:tab pos="1601901" algn="l"/>
              </a:tabLst>
              <a:defRPr sz="1800" baseline="0">
                <a:solidFill>
                  <a:schemeClr val="bg2"/>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2027" y="135070"/>
            <a:ext cx="403440" cy="638781"/>
          </a:xfrm>
          <a:prstGeom prst="rect">
            <a:avLst/>
          </a:prstGeom>
        </p:spPr>
      </p:pic>
      <p:sp>
        <p:nvSpPr>
          <p:cNvPr id="20" name="Title 1"/>
          <p:cNvSpPr>
            <a:spLocks noGrp="1" noChangeAspect="1"/>
          </p:cNvSpPr>
          <p:nvPr>
            <p:ph type="title"/>
          </p:nvPr>
        </p:nvSpPr>
        <p:spPr>
          <a:xfrm>
            <a:off x="104266" y="-2"/>
            <a:ext cx="8219228" cy="908920"/>
          </a:xfrm>
          <a:prstGeom prst="rect">
            <a:avLst/>
          </a:prstGeom>
        </p:spPr>
        <p:txBody>
          <a:bodyPr lIns="91440" tIns="91440" bIns="91440" anchor="ctr"/>
          <a:lstStyle>
            <a:lvl1pPr algn="l">
              <a:defRPr sz="3000">
                <a:solidFill>
                  <a:srgbClr val="FFFFFF"/>
                </a:solidFill>
                <a:latin typeface="Segoe UI Light"/>
                <a:cs typeface="Segoe UI Light"/>
              </a:defRPr>
            </a:lvl1pPr>
          </a:lstStyle>
          <a:p>
            <a:r>
              <a:rPr lang="en-US" dirty="0"/>
              <a:t>Click to edit Master title style</a:t>
            </a:r>
          </a:p>
        </p:txBody>
      </p:sp>
      <p:grpSp>
        <p:nvGrpSpPr>
          <p:cNvPr id="23" name="Group 22"/>
          <p:cNvGrpSpPr/>
          <p:nvPr userDrawn="1"/>
        </p:nvGrpSpPr>
        <p:grpSpPr>
          <a:xfrm>
            <a:off x="-4572" y="4671671"/>
            <a:ext cx="9153144" cy="471826"/>
            <a:chOff x="-4572" y="4671674"/>
            <a:chExt cx="9153144" cy="471826"/>
          </a:xfrm>
          <a:solidFill>
            <a:schemeClr val="tx2"/>
          </a:solidFill>
        </p:grpSpPr>
        <p:sp>
          <p:nvSpPr>
            <p:cNvPr id="25" name="Rectangle 24"/>
            <p:cNvSpPr>
              <a:spLocks/>
            </p:cNvSpPr>
            <p:nvPr userDrawn="1"/>
          </p:nvSpPr>
          <p:spPr>
            <a:xfrm>
              <a:off x="-4572" y="4671674"/>
              <a:ext cx="9153144" cy="471826"/>
            </a:xfrm>
            <a:prstGeom prst="rect">
              <a:avLst/>
            </a:prstGeom>
            <a:gr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dirty="0"/>
            </a:p>
          </p:txBody>
        </p:sp>
        <p:sp>
          <p:nvSpPr>
            <p:cNvPr id="26" name="TextBox 25"/>
            <p:cNvSpPr txBox="1"/>
            <p:nvPr userDrawn="1"/>
          </p:nvSpPr>
          <p:spPr>
            <a:xfrm>
              <a:off x="229062" y="4846032"/>
              <a:ext cx="1263650" cy="123111"/>
            </a:xfrm>
            <a:prstGeom prst="rect">
              <a:avLst/>
            </a:prstGeom>
            <a:grpFill/>
          </p:spPr>
          <p:txBody>
            <a:bodyPr wrap="square" lIns="0" tIns="0" rIns="0" bIns="0" rtlCol="0" anchor="t">
              <a:spAutoFit/>
            </a:bodyPr>
            <a:lstStyle/>
            <a:p>
              <a:pPr algn="l"/>
              <a:r>
                <a:rPr lang="en-US" sz="800" dirty="0">
                  <a:solidFill>
                    <a:schemeClr val="bg1"/>
                  </a:solidFill>
                  <a:latin typeface="Segoe UI"/>
                  <a:cs typeface="Segoe UI"/>
                </a:rPr>
                <a:t>Microsoft Confidential</a:t>
              </a:r>
            </a:p>
          </p:txBody>
        </p:sp>
        <p:pic>
          <p:nvPicPr>
            <p:cNvPr id="27" name="Picture 26" descr="MSFT_logo_rgb_C-Wht.png"/>
            <p:cNvPicPr>
              <a:picLocks noChangeAspect="1"/>
            </p:cNvPicPr>
            <p:nvPr userDrawn="1"/>
          </p:nvPicPr>
          <p:blipFill>
            <a:blip r:embed="rId3"/>
            <a:stretch>
              <a:fillRect/>
            </a:stretch>
          </p:blipFill>
          <p:spPr>
            <a:xfrm>
              <a:off x="8020979" y="4719627"/>
              <a:ext cx="1022096" cy="375920"/>
            </a:xfrm>
            <a:prstGeom prst="rect">
              <a:avLst/>
            </a:prstGeom>
            <a:grpFill/>
          </p:spPr>
        </p:pic>
      </p:grpSp>
    </p:spTree>
    <p:extLst>
      <p:ext uri="{BB962C8B-B14F-4D97-AF65-F5344CB8AC3E}">
        <p14:creationId xmlns:p14="http://schemas.microsoft.com/office/powerpoint/2010/main" val="1750853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ual Column with Subtitle">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3568" y="195486"/>
            <a:ext cx="8205267" cy="681980"/>
          </a:xfrm>
          <a:prstGeom prst="rect">
            <a:avLst/>
          </a:prstGeom>
        </p:spPr>
        <p:txBody>
          <a:bodyPr wrap="none" lIns="0" tIns="0" rIns="0" bIns="0" anchor="ctr"/>
          <a:lstStyle>
            <a:lvl1pPr>
              <a:defRPr sz="4400">
                <a:solidFill>
                  <a:schemeClr val="accent2"/>
                </a:solidFill>
              </a:defRPr>
            </a:lvl1pPr>
          </a:lstStyle>
          <a:p>
            <a:r>
              <a:rPr lang="de-DE" dirty="0"/>
              <a:t>Title</a:t>
            </a:r>
            <a:endParaRPr lang="en-US" dirty="0"/>
          </a:p>
        </p:txBody>
      </p:sp>
      <p:sp>
        <p:nvSpPr>
          <p:cNvPr id="8" name="Content Placeholder 7"/>
          <p:cNvSpPr>
            <a:spLocks noGrp="1"/>
          </p:cNvSpPr>
          <p:nvPr>
            <p:ph sz="quarter" idx="12"/>
          </p:nvPr>
        </p:nvSpPr>
        <p:spPr>
          <a:xfrm>
            <a:off x="683569" y="1419622"/>
            <a:ext cx="3960440" cy="3723878"/>
          </a:xfrm>
          <a:prstGeom prst="rect">
            <a:avLst/>
          </a:prstGeom>
        </p:spPr>
        <p:txBody>
          <a:bodyPr lIns="0" tIns="0" rIns="0" bIns="0"/>
          <a:lstStyle>
            <a:lvl1pPr marL="0" indent="0">
              <a:spcBef>
                <a:spcPts val="1800"/>
              </a:spcBef>
              <a:buClr>
                <a:schemeClr val="bg1">
                  <a:lumMod val="75000"/>
                </a:schemeClr>
              </a:buClr>
              <a:buSzPct val="75000"/>
              <a:buFont typeface="Wingdings 3" pitchFamily="18" charset="2"/>
              <a:buNone/>
              <a:defRPr sz="2400">
                <a:solidFill>
                  <a:schemeClr val="accent1"/>
                </a:soli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266400" indent="0">
              <a:spcBef>
                <a:spcPts val="0"/>
              </a:spcBef>
              <a:buFont typeface="Arial" panose="020B0604020202020204" pitchFamily="34" charset="0"/>
              <a:buNone/>
              <a:defRPr sz="1600">
                <a:solidFill>
                  <a:schemeClr val="accent1"/>
                </a:solidFill>
                <a:latin typeface="+mj-lt"/>
                <a:ea typeface="Segoe UI" pitchFamily="34" charset="0"/>
                <a:cs typeface="Segoe UI" pitchFamily="34" charset="0"/>
              </a:defRPr>
            </a:lvl2pPr>
            <a:lvl3pPr marL="541338" indent="0">
              <a:spcBef>
                <a:spcPts val="0"/>
              </a:spcBef>
              <a:buFont typeface="Arial" panose="020B0604020202020204" pitchFamily="34" charset="0"/>
              <a:buNone/>
              <a:defRPr sz="1400">
                <a:solidFill>
                  <a:schemeClr val="accent1"/>
                </a:solidFill>
                <a:latin typeface="+mj-lt"/>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endParaRPr lang="de-AT" dirty="0"/>
          </a:p>
        </p:txBody>
      </p:sp>
      <p:sp>
        <p:nvSpPr>
          <p:cNvPr id="4" name="Text Placeholder 3"/>
          <p:cNvSpPr>
            <a:spLocks noGrp="1"/>
          </p:cNvSpPr>
          <p:nvPr>
            <p:ph type="body" sz="quarter" idx="13" hasCustomPrompt="1"/>
          </p:nvPr>
        </p:nvSpPr>
        <p:spPr>
          <a:xfrm>
            <a:off x="683568" y="915566"/>
            <a:ext cx="8208913" cy="331465"/>
          </a:xfrm>
          <a:prstGeom prst="rect">
            <a:avLst/>
          </a:prstGeom>
        </p:spPr>
        <p:txBody>
          <a:bodyPr lIns="0" tIns="0" rIns="0" bIns="0"/>
          <a:lstStyle>
            <a:lvl1pPr marL="0" indent="0">
              <a:buFontTx/>
              <a:buNone/>
              <a:defRPr sz="1800">
                <a:solidFill>
                  <a:schemeClr val="accent2"/>
                </a:solidFill>
                <a:latin typeface="Segoe UI Semilight" panose="020B0402040204020203" pitchFamily="34" charset="0"/>
                <a:cs typeface="Segoe UI Semilight" panose="020B0402040204020203"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Subtitle</a:t>
            </a:r>
          </a:p>
        </p:txBody>
      </p:sp>
      <p:sp>
        <p:nvSpPr>
          <p:cNvPr id="5" name="Content Placeholder 7"/>
          <p:cNvSpPr>
            <a:spLocks noGrp="1"/>
          </p:cNvSpPr>
          <p:nvPr>
            <p:ph sz="quarter" idx="14"/>
          </p:nvPr>
        </p:nvSpPr>
        <p:spPr>
          <a:xfrm>
            <a:off x="4788024" y="1419622"/>
            <a:ext cx="4100811" cy="3723878"/>
          </a:xfrm>
          <a:prstGeom prst="rect">
            <a:avLst/>
          </a:prstGeom>
        </p:spPr>
        <p:txBody>
          <a:bodyPr lIns="0" tIns="0" rIns="0" bIns="0"/>
          <a:lstStyle>
            <a:lvl1pPr marL="0" indent="0">
              <a:spcBef>
                <a:spcPts val="1800"/>
              </a:spcBef>
              <a:buClr>
                <a:schemeClr val="bg1">
                  <a:lumMod val="75000"/>
                </a:schemeClr>
              </a:buClr>
              <a:buSzPct val="75000"/>
              <a:buFont typeface="Wingdings 3" pitchFamily="18" charset="2"/>
              <a:buNone/>
              <a:defRPr sz="2400">
                <a:solidFill>
                  <a:schemeClr val="accent1"/>
                </a:soli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266400" indent="0">
              <a:spcBef>
                <a:spcPts val="0"/>
              </a:spcBef>
              <a:buFont typeface="Arial" panose="020B0604020202020204" pitchFamily="34" charset="0"/>
              <a:buNone/>
              <a:defRPr sz="1600">
                <a:solidFill>
                  <a:schemeClr val="accent1"/>
                </a:solidFill>
                <a:latin typeface="+mj-lt"/>
                <a:ea typeface="Segoe UI" pitchFamily="34" charset="0"/>
                <a:cs typeface="Segoe UI" pitchFamily="34" charset="0"/>
              </a:defRPr>
            </a:lvl2pPr>
            <a:lvl3pPr marL="541338" indent="0">
              <a:spcBef>
                <a:spcPts val="0"/>
              </a:spcBef>
              <a:buFont typeface="Arial" panose="020B0604020202020204" pitchFamily="34" charset="0"/>
              <a:buNone/>
              <a:defRPr sz="1400">
                <a:solidFill>
                  <a:schemeClr val="accent1"/>
                </a:solidFill>
                <a:latin typeface="+mj-lt"/>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endParaRPr lang="de-AT" dirty="0"/>
          </a:p>
        </p:txBody>
      </p:sp>
      <p:sp>
        <p:nvSpPr>
          <p:cNvPr id="6" name="Text Placeholder 4"/>
          <p:cNvSpPr>
            <a:spLocks noGrp="1"/>
          </p:cNvSpPr>
          <p:nvPr>
            <p:ph type="body" sz="quarter" idx="23"/>
          </p:nvPr>
        </p:nvSpPr>
        <p:spPr>
          <a:xfrm>
            <a:off x="683568" y="4778821"/>
            <a:ext cx="3960441"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
        <p:nvSpPr>
          <p:cNvPr id="7" name="Text Placeholder 4"/>
          <p:cNvSpPr>
            <a:spLocks noGrp="1"/>
          </p:cNvSpPr>
          <p:nvPr>
            <p:ph type="body" sz="quarter" idx="24"/>
          </p:nvPr>
        </p:nvSpPr>
        <p:spPr>
          <a:xfrm>
            <a:off x="4788024" y="4778821"/>
            <a:ext cx="4104457"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394396993"/>
      </p:ext>
    </p:extLst>
  </p:cSld>
  <p:clrMapOvr>
    <a:overrideClrMapping bg1="lt1" tx1="dk1" bg2="lt2" tx2="dk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xEl>
                                              <p:pRg st="0" end="0"/>
                                            </p:txEl>
                                          </p:spTgt>
                                        </p:tgtEl>
                                        <p:attrNameLst>
                                          <p:attrName>style.visibility</p:attrName>
                                        </p:attrNameLst>
                                      </p:cBhvr>
                                      <p:to>
                                        <p:strVal val="visible"/>
                                      </p:to>
                                    </p:set>
                                    <p:animEffect transition="in" filter="fade">
                                      <p:cBhvr>
                                        <p:cTn id="18" dur="500"/>
                                        <p:tgtEl>
                                          <p:spTgt spid="5">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
                                            <p:txEl>
                                              <p:pRg st="1" end="1"/>
                                            </p:txEl>
                                          </p:spTgt>
                                        </p:tgtEl>
                                        <p:attrNameLst>
                                          <p:attrName>style.visibility</p:attrName>
                                        </p:attrNameLst>
                                      </p:cBhvr>
                                      <p:to>
                                        <p:strVal val="visible"/>
                                      </p:to>
                                    </p:set>
                                    <p:animEffect transition="in" filter="fade">
                                      <p:cBhvr>
                                        <p:cTn id="21" dur="500"/>
                                        <p:tgtEl>
                                          <p:spTgt spid="5">
                                            <p:txEl>
                                              <p:pRg st="1" end="1"/>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xEl>
                                              <p:pRg st="2" end="2"/>
                                            </p:txEl>
                                          </p:spTgt>
                                        </p:tgtEl>
                                        <p:attrNameLst>
                                          <p:attrName>style.visibility</p:attrName>
                                        </p:attrNameLst>
                                      </p:cBhvr>
                                      <p:to>
                                        <p:strVal val="visible"/>
                                      </p:to>
                                    </p:set>
                                    <p:animEffect transition="in" filter="fade">
                                      <p:cBhvr>
                                        <p:cTn id="24"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10" presetClass="entr" presetSubtype="0" fill="hold" nodeType="click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5" grpId="0" build="p">
        <p:tmplLst>
          <p:tmpl lvl="1">
            <p:tnLst>
              <p:par>
                <p:cTn presetID="10"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9" y="1170"/>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a:xfrm>
            <a:off x="201932" y="4827933"/>
            <a:ext cx="2894705" cy="100862"/>
          </a:xfrm>
          <a:prstGeom prst="rect">
            <a:avLst/>
          </a:prstGeom>
        </p:spPr>
        <p:txBody>
          <a:bodyPr/>
          <a:lstStyle/>
          <a:p>
            <a:pPr defTabSz="685644"/>
            <a:endParaRPr lang="en-US" dirty="0">
              <a:solidFill>
                <a:srgbClr val="212F61"/>
              </a:solidFill>
            </a:endParaRPr>
          </a:p>
        </p:txBody>
      </p:sp>
      <p:sp>
        <p:nvSpPr>
          <p:cNvPr id="4" name="Slide Number Placeholder 3"/>
          <p:cNvSpPr>
            <a:spLocks noGrp="1"/>
          </p:cNvSpPr>
          <p:nvPr>
            <p:ph type="sldNum" sz="quarter" idx="11"/>
          </p:nvPr>
        </p:nvSpPr>
        <p:spPr>
          <a:xfrm>
            <a:off x="8525376" y="4827933"/>
            <a:ext cx="416697" cy="100862"/>
          </a:xfrm>
          <a:prstGeom prst="rect">
            <a:avLst/>
          </a:prstGeom>
        </p:spPr>
        <p:txBody>
          <a:bodyPr/>
          <a:lstStyle/>
          <a:p>
            <a:pPr defTabSz="685644"/>
            <a:fld id="{27258FFF-F925-446B-8502-81C933981705}" type="slidenum">
              <a:rPr lang="en-US" smtClean="0">
                <a:solidFill>
                  <a:srgbClr val="212F61"/>
                </a:solidFill>
              </a:rPr>
              <a:pPr defTabSz="685644"/>
              <a:t>‹#›</a:t>
            </a:fld>
            <a:endParaRPr lang="en-US" dirty="0">
              <a:solidFill>
                <a:srgbClr val="212F61"/>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3"/>
              </a:lnSpc>
              <a:defRPr sz="3234"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072199200"/>
      </p:ext>
    </p:extLst>
  </p:cSld>
  <p:clrMapOvr>
    <a:masterClrMapping/>
  </p:clrMapOvr>
  <p:transition spd="slow">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01930" y="1558350"/>
            <a:ext cx="4706230"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7652" y="4589360"/>
            <a:ext cx="940033" cy="20159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41169" y="360868"/>
            <a:ext cx="1056059" cy="225465"/>
          </a:xfrm>
          <a:prstGeom prst="rect">
            <a:avLst/>
          </a:prstGeom>
        </p:spPr>
      </p:pic>
      <p:sp>
        <p:nvSpPr>
          <p:cNvPr id="12" name="Freeform 11"/>
          <p:cNvSpPr>
            <a:spLocks noEditPoints="1"/>
          </p:cNvSpPr>
          <p:nvPr userDrawn="1"/>
        </p:nvSpPr>
        <p:spPr bwMode="black">
          <a:xfrm>
            <a:off x="1571661" y="1818787"/>
            <a:ext cx="6000677" cy="1505927"/>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67232" tIns="33616" rIns="67232" bIns="33616" numCol="1" anchor="t" anchorCtr="0" compatLnSpc="1">
            <a:prstTxWarp prst="textNoShape">
              <a:avLst/>
            </a:prstTxWarp>
          </a:bodyPr>
          <a:lstStyle/>
          <a:p>
            <a:endParaRPr lang="en-US" sz="1324"/>
          </a:p>
        </p:txBody>
      </p:sp>
    </p:spTree>
    <p:extLst>
      <p:ext uri="{BB962C8B-B14F-4D97-AF65-F5344CB8AC3E}">
        <p14:creationId xmlns:p14="http://schemas.microsoft.com/office/powerpoint/2010/main" val="132957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18" name="Title 1"/>
          <p:cNvSpPr>
            <a:spLocks noGrp="1"/>
          </p:cNvSpPr>
          <p:nvPr>
            <p:ph type="title" hasCustomPrompt="1"/>
          </p:nvPr>
        </p:nvSpPr>
        <p:spPr>
          <a:xfrm>
            <a:off x="201976" y="1563140"/>
            <a:ext cx="7395458" cy="1344818"/>
          </a:xfrm>
          <a:noFill/>
        </p:spPr>
        <p:txBody>
          <a:bodyPr lIns="146304" tIns="91440" rIns="146304" bIns="91440"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01976" y="2908931"/>
            <a:ext cx="7395458" cy="1344245"/>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336160" y="360868"/>
            <a:ext cx="1066077" cy="225465"/>
          </a:xfrm>
          <a:prstGeom prst="rect">
            <a:avLst/>
          </a:prstGeom>
        </p:spPr>
      </p:pic>
      <p:sp>
        <p:nvSpPr>
          <p:cNvPr id="7" name="Text Placeholder 2"/>
          <p:cNvSpPr>
            <a:spLocks noGrp="1"/>
          </p:cNvSpPr>
          <p:nvPr>
            <p:ph type="body" sz="quarter" idx="13" hasCustomPrompt="1"/>
          </p:nvPr>
        </p:nvSpPr>
        <p:spPr>
          <a:xfrm>
            <a:off x="6252797" y="226212"/>
            <a:ext cx="2688108"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 Here</a:t>
            </a:r>
          </a:p>
        </p:txBody>
      </p:sp>
      <p:sp>
        <p:nvSpPr>
          <p:cNvPr id="8" name="TextBox 7"/>
          <p:cNvSpPr txBox="1"/>
          <p:nvPr userDrawn="1"/>
        </p:nvSpPr>
        <p:spPr>
          <a:xfrm>
            <a:off x="212481" y="4465536"/>
            <a:ext cx="1392054" cy="461669"/>
          </a:xfrm>
          <a:prstGeom prst="rect">
            <a:avLst/>
          </a:prstGeom>
          <a:noFill/>
        </p:spPr>
        <p:txBody>
          <a:bodyPr wrap="non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560394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18" name="Title 1"/>
          <p:cNvSpPr>
            <a:spLocks noGrp="1"/>
          </p:cNvSpPr>
          <p:nvPr>
            <p:ph type="title" hasCustomPrompt="1"/>
          </p:nvPr>
        </p:nvSpPr>
        <p:spPr>
          <a:xfrm>
            <a:off x="201976" y="1563140"/>
            <a:ext cx="7395458" cy="1344818"/>
          </a:xfrm>
          <a:noFill/>
        </p:spPr>
        <p:txBody>
          <a:bodyPr lIns="146304" tIns="91440" rIns="146304" bIns="91440"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01976" y="2908931"/>
            <a:ext cx="7395458" cy="1344245"/>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6252797" y="226212"/>
            <a:ext cx="2688108"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 Here</a:t>
            </a:r>
          </a:p>
        </p:txBody>
      </p:sp>
      <p:sp>
        <p:nvSpPr>
          <p:cNvPr id="8" name="Freeform 7"/>
          <p:cNvSpPr>
            <a:spLocks noChangeAspect="1" noEditPoints="1"/>
          </p:cNvSpPr>
          <p:nvPr userDrawn="1"/>
        </p:nvSpPr>
        <p:spPr bwMode="black">
          <a:xfrm>
            <a:off x="336159" y="360868"/>
            <a:ext cx="910987" cy="22862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solidFill>
                <a:srgbClr val="404040"/>
              </a:solidFill>
            </a:endParaRPr>
          </a:p>
        </p:txBody>
      </p:sp>
      <p:sp>
        <p:nvSpPr>
          <p:cNvPr id="9" name="TextBox 8"/>
          <p:cNvSpPr txBox="1"/>
          <p:nvPr userDrawn="1"/>
        </p:nvSpPr>
        <p:spPr>
          <a:xfrm>
            <a:off x="212481" y="4465536"/>
            <a:ext cx="1392054" cy="461669"/>
          </a:xfrm>
          <a:prstGeom prst="rect">
            <a:avLst/>
          </a:prstGeom>
          <a:noFill/>
        </p:spPr>
        <p:txBody>
          <a:bodyPr wrap="non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304277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01929" y="891883"/>
            <a:ext cx="8740142" cy="1587999"/>
          </a:xfrm>
        </p:spPr>
        <p:txBody>
          <a:bodyPr/>
          <a:lstStyle>
            <a:lvl1pPr marL="0" indent="0">
              <a:buNone/>
              <a:defRPr>
                <a:gradFill>
                  <a:gsLst>
                    <a:gs pos="1250">
                      <a:schemeClr val="tx1"/>
                    </a:gs>
                    <a:gs pos="99000">
                      <a:schemeClr val="tx1"/>
                    </a:gs>
                  </a:gsLst>
                  <a:lin ang="5400000" scaled="0"/>
                </a:gradFill>
              </a:defRPr>
            </a:lvl1pPr>
            <a:lvl2pPr marL="0" indent="0">
              <a:buFontTx/>
              <a:buNone/>
              <a:defRPr sz="1765"/>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124018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851332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0" indent="0">
              <a:spcBef>
                <a:spcPts val="900"/>
              </a:spcBef>
              <a:buClr>
                <a:schemeClr val="tx1"/>
              </a:buClr>
              <a:buFont typeface="Wingdings" pitchFamily="2" charset="2"/>
              <a:buNone/>
              <a:defRPr sz="2353"/>
            </a:lvl1pPr>
            <a:lvl2pPr marL="0" indent="0">
              <a:buNone/>
              <a:defRPr sz="1765"/>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0" indent="0">
              <a:spcBef>
                <a:spcPts val="900"/>
              </a:spcBef>
              <a:buClr>
                <a:schemeClr val="tx1"/>
              </a:buClr>
              <a:buFont typeface="Wingdings" pitchFamily="2" charset="2"/>
              <a:buNone/>
              <a:defRPr sz="2353"/>
            </a:lvl1pPr>
            <a:lvl2pPr marL="0" indent="0">
              <a:buNone/>
              <a:defRPr sz="1765"/>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349912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55978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34429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809838" y="2179508"/>
            <a:ext cx="7526061" cy="674749"/>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6212795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odern UI">
    <p:spTree>
      <p:nvGrpSpPr>
        <p:cNvPr id="1" name=""/>
        <p:cNvGrpSpPr/>
        <p:nvPr/>
      </p:nvGrpSpPr>
      <p:grpSpPr>
        <a:xfrm>
          <a:off x="0" y="0"/>
          <a:ext cx="0" cy="0"/>
          <a:chOff x="0" y="0"/>
          <a:chExt cx="0" cy="0"/>
        </a:xfrm>
      </p:grpSpPr>
      <p:sp>
        <p:nvSpPr>
          <p:cNvPr id="32" name="Text Placeholder 31"/>
          <p:cNvSpPr>
            <a:spLocks noGrp="1"/>
          </p:cNvSpPr>
          <p:nvPr userDrawn="1">
            <p:ph type="body" sz="quarter" idx="10" hasCustomPrompt="1"/>
          </p:nvPr>
        </p:nvSpPr>
        <p:spPr>
          <a:xfrm>
            <a:off x="1137294" y="3438528"/>
            <a:ext cx="1777578" cy="1437478"/>
          </a:xfrm>
          <a:prstGeom prst="rect">
            <a:avLst/>
          </a:prstGeom>
          <a:solidFill>
            <a:schemeClr val="accent1"/>
          </a:solidFill>
        </p:spPr>
        <p:txBody>
          <a:bodyPr lIns="46800" rIns="46800"/>
          <a:lstStyle>
            <a:lvl1pPr marL="182563" indent="-182563">
              <a:spcBef>
                <a:spcPts val="1200"/>
              </a:spcBef>
              <a:buNone/>
              <a:defRPr sz="2400">
                <a:solidFill>
                  <a:schemeClr val="bg2"/>
                </a:solidFill>
                <a:latin typeface="Segoe UI Light" panose="020B0502040204020203" pitchFamily="34" charset="0"/>
                <a:cs typeface="Segoe UI Light" panose="020B0502040204020203" pitchFamily="34" charset="0"/>
              </a:defRPr>
            </a:lvl1pPr>
            <a:lvl2pPr marL="182563" indent="0">
              <a:spcBef>
                <a:spcPts val="0"/>
              </a:spcBef>
              <a:buNone/>
              <a:defRPr sz="1200">
                <a:solidFill>
                  <a:schemeClr val="bg2"/>
                </a:solidFill>
              </a:defRPr>
            </a:lvl2pPr>
          </a:lstStyle>
          <a:p>
            <a:pPr lvl="0"/>
            <a:r>
              <a:rPr lang="de-AT" dirty="0"/>
              <a:t>Text</a:t>
            </a:r>
          </a:p>
          <a:p>
            <a:pPr lvl="1"/>
            <a:r>
              <a:rPr lang="de-AT" dirty="0" err="1"/>
              <a:t>Subline</a:t>
            </a:r>
            <a:endParaRPr lang="de-AT" dirty="0"/>
          </a:p>
        </p:txBody>
      </p:sp>
      <p:sp>
        <p:nvSpPr>
          <p:cNvPr id="46" name="Picture Placeholder 45"/>
          <p:cNvSpPr>
            <a:spLocks noGrp="1"/>
          </p:cNvSpPr>
          <p:nvPr>
            <p:ph type="pic" sz="quarter" idx="14"/>
          </p:nvPr>
        </p:nvSpPr>
        <p:spPr>
          <a:xfrm>
            <a:off x="1137294" y="1265341"/>
            <a:ext cx="1779969" cy="2159856"/>
          </a:xfrm>
          <a:prstGeom prst="rect">
            <a:avLst/>
          </a:prstGeom>
        </p:spPr>
        <p:txBody>
          <a:bodyPr/>
          <a:lstStyle>
            <a:lvl1pPr marL="0" indent="0">
              <a:buNone/>
              <a:defRPr sz="1600"/>
            </a:lvl1pPr>
          </a:lstStyle>
          <a:p>
            <a:endParaRPr lang="en-US" dirty="0"/>
          </a:p>
        </p:txBody>
      </p:sp>
      <p:sp>
        <p:nvSpPr>
          <p:cNvPr id="2" name="Titel 1"/>
          <p:cNvSpPr>
            <a:spLocks noGrp="1"/>
          </p:cNvSpPr>
          <p:nvPr>
            <p:ph type="title" hasCustomPrompt="1"/>
          </p:nvPr>
        </p:nvSpPr>
        <p:spPr>
          <a:xfrm>
            <a:off x="1144190" y="358552"/>
            <a:ext cx="7748289" cy="681980"/>
          </a:xfrm>
          <a:prstGeom prst="rect">
            <a:avLst/>
          </a:prstGeom>
        </p:spPr>
        <p:txBody>
          <a:bodyPr wrap="none" lIns="0" tIns="0" rIns="0" bIns="0" anchor="ctr"/>
          <a:lstStyle>
            <a:lvl1pPr>
              <a:defRPr sz="5400">
                <a:solidFill>
                  <a:schemeClr val="accent2"/>
                </a:solidFill>
              </a:defRPr>
            </a:lvl1pPr>
          </a:lstStyle>
          <a:p>
            <a:r>
              <a:rPr lang="de-DE" dirty="0"/>
              <a:t>Title</a:t>
            </a:r>
            <a:endParaRPr lang="en-US" dirty="0"/>
          </a:p>
        </p:txBody>
      </p:sp>
      <p:sp>
        <p:nvSpPr>
          <p:cNvPr id="57" name="Picture Placeholder 45"/>
          <p:cNvSpPr>
            <a:spLocks noGrp="1"/>
          </p:cNvSpPr>
          <p:nvPr>
            <p:ph type="pic" sz="quarter" idx="15"/>
          </p:nvPr>
        </p:nvSpPr>
        <p:spPr>
          <a:xfrm>
            <a:off x="2989975" y="1265341"/>
            <a:ext cx="1779969" cy="2159856"/>
          </a:xfrm>
          <a:prstGeom prst="rect">
            <a:avLst/>
          </a:prstGeom>
        </p:spPr>
        <p:txBody>
          <a:bodyPr/>
          <a:lstStyle>
            <a:lvl1pPr marL="0" indent="0">
              <a:buNone/>
              <a:defRPr sz="1600"/>
            </a:lvl1pPr>
          </a:lstStyle>
          <a:p>
            <a:endParaRPr lang="en-US"/>
          </a:p>
        </p:txBody>
      </p:sp>
      <p:sp>
        <p:nvSpPr>
          <p:cNvPr id="60" name="Picture Placeholder 45"/>
          <p:cNvSpPr>
            <a:spLocks noGrp="1"/>
          </p:cNvSpPr>
          <p:nvPr>
            <p:ph type="pic" sz="quarter" idx="17"/>
          </p:nvPr>
        </p:nvSpPr>
        <p:spPr>
          <a:xfrm>
            <a:off x="4842656" y="1265341"/>
            <a:ext cx="1779969" cy="2159856"/>
          </a:xfrm>
          <a:prstGeom prst="rect">
            <a:avLst/>
          </a:prstGeom>
        </p:spPr>
        <p:txBody>
          <a:bodyPr/>
          <a:lstStyle>
            <a:lvl1pPr marL="0" indent="0">
              <a:buNone/>
              <a:defRPr sz="1600"/>
            </a:lvl1pPr>
          </a:lstStyle>
          <a:p>
            <a:endParaRPr lang="en-US"/>
          </a:p>
        </p:txBody>
      </p:sp>
      <p:sp>
        <p:nvSpPr>
          <p:cNvPr id="63" name="Picture Placeholder 45"/>
          <p:cNvSpPr>
            <a:spLocks noGrp="1"/>
          </p:cNvSpPr>
          <p:nvPr>
            <p:ph type="pic" sz="quarter" idx="19"/>
          </p:nvPr>
        </p:nvSpPr>
        <p:spPr>
          <a:xfrm>
            <a:off x="6692946" y="1265341"/>
            <a:ext cx="1779969" cy="2159856"/>
          </a:xfrm>
          <a:prstGeom prst="rect">
            <a:avLst/>
          </a:prstGeom>
        </p:spPr>
        <p:txBody>
          <a:bodyPr/>
          <a:lstStyle>
            <a:lvl1pPr marL="0" indent="0">
              <a:buNone/>
              <a:defRPr sz="1600"/>
            </a:lvl1pPr>
          </a:lstStyle>
          <a:p>
            <a:endParaRPr lang="en-US"/>
          </a:p>
        </p:txBody>
      </p:sp>
      <p:sp>
        <p:nvSpPr>
          <p:cNvPr id="11" name="Text Placeholder 31"/>
          <p:cNvSpPr>
            <a:spLocks noGrp="1"/>
          </p:cNvSpPr>
          <p:nvPr>
            <p:ph type="body" sz="quarter" idx="20" hasCustomPrompt="1"/>
          </p:nvPr>
        </p:nvSpPr>
        <p:spPr>
          <a:xfrm>
            <a:off x="2989975" y="3438528"/>
            <a:ext cx="1777578" cy="1437478"/>
          </a:xfrm>
          <a:prstGeom prst="rect">
            <a:avLst/>
          </a:prstGeom>
          <a:solidFill>
            <a:schemeClr val="accent2"/>
          </a:solidFill>
        </p:spPr>
        <p:txBody>
          <a:bodyPr lIns="46800" rIns="46800"/>
          <a:lstStyle>
            <a:lvl1pPr marL="182563" indent="-182563">
              <a:spcBef>
                <a:spcPts val="1200"/>
              </a:spcBef>
              <a:buNone/>
              <a:defRPr sz="2400">
                <a:solidFill>
                  <a:schemeClr val="bg2"/>
                </a:solidFill>
                <a:latin typeface="Segoe UI Light" panose="020B0502040204020203" pitchFamily="34" charset="0"/>
                <a:cs typeface="Segoe UI Light" panose="020B0502040204020203" pitchFamily="34" charset="0"/>
              </a:defRPr>
            </a:lvl1pPr>
            <a:lvl2pPr marL="182563" indent="0">
              <a:spcBef>
                <a:spcPts val="0"/>
              </a:spcBef>
              <a:buNone/>
              <a:defRPr sz="1200">
                <a:solidFill>
                  <a:schemeClr val="bg2"/>
                </a:solidFill>
              </a:defRPr>
            </a:lvl2pPr>
          </a:lstStyle>
          <a:p>
            <a:pPr lvl="0"/>
            <a:r>
              <a:rPr lang="de-AT" dirty="0"/>
              <a:t>Text</a:t>
            </a:r>
          </a:p>
          <a:p>
            <a:pPr lvl="1"/>
            <a:r>
              <a:rPr lang="de-AT" dirty="0" err="1"/>
              <a:t>Subline</a:t>
            </a:r>
            <a:endParaRPr lang="de-AT" dirty="0"/>
          </a:p>
        </p:txBody>
      </p:sp>
      <p:sp>
        <p:nvSpPr>
          <p:cNvPr id="12" name="Text Placeholder 31"/>
          <p:cNvSpPr>
            <a:spLocks noGrp="1"/>
          </p:cNvSpPr>
          <p:nvPr>
            <p:ph type="body" sz="quarter" idx="21" hasCustomPrompt="1"/>
          </p:nvPr>
        </p:nvSpPr>
        <p:spPr>
          <a:xfrm>
            <a:off x="4842656" y="3438528"/>
            <a:ext cx="1777578" cy="1437478"/>
          </a:xfrm>
          <a:prstGeom prst="rect">
            <a:avLst/>
          </a:prstGeom>
          <a:solidFill>
            <a:schemeClr val="accent3"/>
          </a:solidFill>
        </p:spPr>
        <p:txBody>
          <a:bodyPr lIns="46800" rIns="46800"/>
          <a:lstStyle>
            <a:lvl1pPr marL="182563" indent="-182563">
              <a:spcBef>
                <a:spcPts val="1200"/>
              </a:spcBef>
              <a:buNone/>
              <a:defRPr sz="2400">
                <a:solidFill>
                  <a:schemeClr val="bg2"/>
                </a:solidFill>
                <a:latin typeface="Segoe UI Light" panose="020B0502040204020203" pitchFamily="34" charset="0"/>
                <a:cs typeface="Segoe UI Light" panose="020B0502040204020203" pitchFamily="34" charset="0"/>
              </a:defRPr>
            </a:lvl1pPr>
            <a:lvl2pPr marL="182563" indent="0">
              <a:spcBef>
                <a:spcPts val="0"/>
              </a:spcBef>
              <a:buNone/>
              <a:defRPr sz="1200">
                <a:solidFill>
                  <a:schemeClr val="bg2"/>
                </a:solidFill>
              </a:defRPr>
            </a:lvl2pPr>
          </a:lstStyle>
          <a:p>
            <a:pPr lvl="0"/>
            <a:r>
              <a:rPr lang="de-AT" dirty="0"/>
              <a:t>Text</a:t>
            </a:r>
          </a:p>
          <a:p>
            <a:pPr lvl="1"/>
            <a:r>
              <a:rPr lang="de-AT" dirty="0" err="1"/>
              <a:t>Subline</a:t>
            </a:r>
            <a:endParaRPr lang="de-AT" dirty="0"/>
          </a:p>
        </p:txBody>
      </p:sp>
      <p:sp>
        <p:nvSpPr>
          <p:cNvPr id="13" name="Text Placeholder 31"/>
          <p:cNvSpPr>
            <a:spLocks noGrp="1"/>
          </p:cNvSpPr>
          <p:nvPr>
            <p:ph type="body" sz="quarter" idx="22" hasCustomPrompt="1"/>
          </p:nvPr>
        </p:nvSpPr>
        <p:spPr>
          <a:xfrm>
            <a:off x="6692946" y="3438528"/>
            <a:ext cx="1777578" cy="1437478"/>
          </a:xfrm>
          <a:prstGeom prst="rect">
            <a:avLst/>
          </a:prstGeom>
          <a:solidFill>
            <a:schemeClr val="bg1">
              <a:lumMod val="65000"/>
            </a:schemeClr>
          </a:solidFill>
        </p:spPr>
        <p:txBody>
          <a:bodyPr lIns="46800" rIns="46800"/>
          <a:lstStyle>
            <a:lvl1pPr marL="182563" indent="-182563">
              <a:spcBef>
                <a:spcPts val="1200"/>
              </a:spcBef>
              <a:buNone/>
              <a:defRPr sz="2400">
                <a:solidFill>
                  <a:schemeClr val="bg2"/>
                </a:solidFill>
                <a:latin typeface="Segoe UI Light" panose="020B0502040204020203" pitchFamily="34" charset="0"/>
                <a:cs typeface="Segoe UI Light" panose="020B0502040204020203" pitchFamily="34" charset="0"/>
              </a:defRPr>
            </a:lvl1pPr>
            <a:lvl2pPr marL="182563" indent="0">
              <a:spcBef>
                <a:spcPts val="0"/>
              </a:spcBef>
              <a:buNone/>
              <a:defRPr sz="1200">
                <a:solidFill>
                  <a:schemeClr val="bg2"/>
                </a:solidFill>
              </a:defRPr>
            </a:lvl2pPr>
          </a:lstStyle>
          <a:p>
            <a:pPr lvl="0"/>
            <a:r>
              <a:rPr lang="de-AT" dirty="0"/>
              <a:t>Text</a:t>
            </a:r>
          </a:p>
          <a:p>
            <a:pPr lvl="1"/>
            <a:r>
              <a:rPr lang="de-AT" dirty="0" err="1"/>
              <a:t>Subline</a:t>
            </a:r>
            <a:endParaRPr lang="de-AT" dirty="0"/>
          </a:p>
        </p:txBody>
      </p:sp>
      <p:sp>
        <p:nvSpPr>
          <p:cNvPr id="5" name="Text Placeholder 4"/>
          <p:cNvSpPr>
            <a:spLocks noGrp="1"/>
          </p:cNvSpPr>
          <p:nvPr>
            <p:ph type="body" sz="quarter" idx="23"/>
          </p:nvPr>
        </p:nvSpPr>
        <p:spPr>
          <a:xfrm>
            <a:off x="1137294" y="4511327"/>
            <a:ext cx="177068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
        <p:nvSpPr>
          <p:cNvPr id="14" name="Text Placeholder 4"/>
          <p:cNvSpPr>
            <a:spLocks noGrp="1"/>
          </p:cNvSpPr>
          <p:nvPr>
            <p:ph type="body" sz="quarter" idx="24"/>
          </p:nvPr>
        </p:nvSpPr>
        <p:spPr>
          <a:xfrm>
            <a:off x="2989974" y="4511327"/>
            <a:ext cx="177068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
        <p:nvSpPr>
          <p:cNvPr id="15" name="Text Placeholder 4"/>
          <p:cNvSpPr>
            <a:spLocks noGrp="1"/>
          </p:cNvSpPr>
          <p:nvPr>
            <p:ph type="body" sz="quarter" idx="25"/>
          </p:nvPr>
        </p:nvSpPr>
        <p:spPr>
          <a:xfrm>
            <a:off x="4842655" y="4511327"/>
            <a:ext cx="177068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
        <p:nvSpPr>
          <p:cNvPr id="16" name="Text Placeholder 4"/>
          <p:cNvSpPr>
            <a:spLocks noGrp="1"/>
          </p:cNvSpPr>
          <p:nvPr>
            <p:ph type="body" sz="quarter" idx="26"/>
          </p:nvPr>
        </p:nvSpPr>
        <p:spPr>
          <a:xfrm>
            <a:off x="6683658" y="4511327"/>
            <a:ext cx="177068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12664935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bg/>
                                          </p:spTgt>
                                        </p:tgtEl>
                                        <p:attrNameLst>
                                          <p:attrName>style.visibility</p:attrName>
                                        </p:attrNameLst>
                                      </p:cBhvr>
                                      <p:to>
                                        <p:strVal val="visible"/>
                                      </p:to>
                                    </p:set>
                                    <p:animEffect transition="in" filter="fade">
                                      <p:cBhvr>
                                        <p:cTn id="10" dur="500"/>
                                        <p:tgtEl>
                                          <p:spTgt spid="32">
                                            <p:bg/>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xEl>
                                              <p:pRg st="0" end="0"/>
                                            </p:txEl>
                                          </p:spTgt>
                                        </p:tgtEl>
                                        <p:attrNameLst>
                                          <p:attrName>style.visibility</p:attrName>
                                        </p:attrNameLst>
                                      </p:cBhvr>
                                      <p:to>
                                        <p:strVal val="visible"/>
                                      </p:to>
                                    </p:set>
                                    <p:animEffect transition="in" filter="fade">
                                      <p:cBhvr>
                                        <p:cTn id="13" dur="500"/>
                                        <p:tgtEl>
                                          <p:spTgt spid="32">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2">
                                            <p:txEl>
                                              <p:pRg st="1" end="1"/>
                                            </p:txEl>
                                          </p:spTgt>
                                        </p:tgtEl>
                                        <p:attrNameLst>
                                          <p:attrName>style.visibility</p:attrName>
                                        </p:attrNameLst>
                                      </p:cBhvr>
                                      <p:to>
                                        <p:strVal val="visible"/>
                                      </p:to>
                                    </p:set>
                                    <p:animEffect transition="in" filter="fade">
                                      <p:cBhvr>
                                        <p:cTn id="16" dur="500"/>
                                        <p:tgtEl>
                                          <p:spTgt spid="32">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nodePh="1">
                                  <p:stCondLst>
                                    <p:cond delay="0"/>
                                  </p:stCondLst>
                                  <p:endCondLst>
                                    <p:cond evt="begin" delay="0">
                                      <p:tn val="19"/>
                                    </p:cond>
                                  </p:endCondLst>
                                  <p:childTnLst>
                                    <p:set>
                                      <p:cBhvr>
                                        <p:cTn id="20" dur="1" fill="hold">
                                          <p:stCondLst>
                                            <p:cond delay="0"/>
                                          </p:stCondLst>
                                        </p:cTn>
                                        <p:tgtEl>
                                          <p:spTgt spid="57"/>
                                        </p:tgtEl>
                                        <p:attrNameLst>
                                          <p:attrName>style.visibility</p:attrName>
                                        </p:attrNameLst>
                                      </p:cBhvr>
                                      <p:to>
                                        <p:strVal val="visible"/>
                                      </p:to>
                                    </p:set>
                                    <p:animEffect transition="in" filter="fade">
                                      <p:cBhvr>
                                        <p:cTn id="21" dur="500"/>
                                        <p:tgtEl>
                                          <p:spTgt spid="5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bg/>
                                          </p:spTgt>
                                        </p:tgtEl>
                                        <p:attrNameLst>
                                          <p:attrName>style.visibility</p:attrName>
                                        </p:attrNameLst>
                                      </p:cBhvr>
                                      <p:to>
                                        <p:strVal val="visible"/>
                                      </p:to>
                                    </p:set>
                                    <p:animEffect transition="in" filter="fade">
                                      <p:cBhvr>
                                        <p:cTn id="24" dur="500"/>
                                        <p:tgtEl>
                                          <p:spTgt spid="11">
                                            <p:bg/>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
                                            <p:txEl>
                                              <p:pRg st="0" end="0"/>
                                            </p:txEl>
                                          </p:spTgt>
                                        </p:tgtEl>
                                        <p:attrNameLst>
                                          <p:attrName>style.visibility</p:attrName>
                                        </p:attrNameLst>
                                      </p:cBhvr>
                                      <p:to>
                                        <p:strVal val="visible"/>
                                      </p:to>
                                    </p:set>
                                    <p:animEffect transition="in" filter="fade">
                                      <p:cBhvr>
                                        <p:cTn id="27" dur="500"/>
                                        <p:tgtEl>
                                          <p:spTgt spid="11">
                                            <p:txEl>
                                              <p:pRg st="0" end="0"/>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xEl>
                                              <p:pRg st="1" end="1"/>
                                            </p:txEl>
                                          </p:spTgt>
                                        </p:tgtEl>
                                        <p:attrNameLst>
                                          <p:attrName>style.visibility</p:attrName>
                                        </p:attrNameLst>
                                      </p:cBhvr>
                                      <p:to>
                                        <p:strVal val="visible"/>
                                      </p:to>
                                    </p:set>
                                    <p:animEffect transition="in" filter="fade">
                                      <p:cBhvr>
                                        <p:cTn id="30" dur="500"/>
                                        <p:tgtEl>
                                          <p:spTgt spid="11">
                                            <p:txEl>
                                              <p:pRg st="1" end="1"/>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nodePh="1">
                                  <p:stCondLst>
                                    <p:cond delay="0"/>
                                  </p:stCondLst>
                                  <p:endCondLst>
                                    <p:cond evt="begin" delay="0">
                                      <p:tn val="33"/>
                                    </p:cond>
                                  </p:endCondLst>
                                  <p:childTnLst>
                                    <p:set>
                                      <p:cBhvr>
                                        <p:cTn id="34" dur="1" fill="hold">
                                          <p:stCondLst>
                                            <p:cond delay="0"/>
                                          </p:stCondLst>
                                        </p:cTn>
                                        <p:tgtEl>
                                          <p:spTgt spid="60"/>
                                        </p:tgtEl>
                                        <p:attrNameLst>
                                          <p:attrName>style.visibility</p:attrName>
                                        </p:attrNameLst>
                                      </p:cBhvr>
                                      <p:to>
                                        <p:strVal val="visible"/>
                                      </p:to>
                                    </p:set>
                                    <p:animEffect transition="in" filter="fade">
                                      <p:cBhvr>
                                        <p:cTn id="35" dur="500"/>
                                        <p:tgtEl>
                                          <p:spTgt spid="6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
                                            <p:bg/>
                                          </p:spTgt>
                                        </p:tgtEl>
                                        <p:attrNameLst>
                                          <p:attrName>style.visibility</p:attrName>
                                        </p:attrNameLst>
                                      </p:cBhvr>
                                      <p:to>
                                        <p:strVal val="visible"/>
                                      </p:to>
                                    </p:set>
                                    <p:animEffect transition="in" filter="fade">
                                      <p:cBhvr>
                                        <p:cTn id="38" dur="500"/>
                                        <p:tgtEl>
                                          <p:spTgt spid="12">
                                            <p:bg/>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2">
                                            <p:txEl>
                                              <p:pRg st="0" end="0"/>
                                            </p:txEl>
                                          </p:spTgt>
                                        </p:tgtEl>
                                        <p:attrNameLst>
                                          <p:attrName>style.visibility</p:attrName>
                                        </p:attrNameLst>
                                      </p:cBhvr>
                                      <p:to>
                                        <p:strVal val="visible"/>
                                      </p:to>
                                    </p:set>
                                    <p:animEffect transition="in" filter="fade">
                                      <p:cBhvr>
                                        <p:cTn id="41" dur="500"/>
                                        <p:tgtEl>
                                          <p:spTgt spid="12">
                                            <p:txEl>
                                              <p:pRg st="0" end="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
                                            <p:txEl>
                                              <p:pRg st="1" end="1"/>
                                            </p:txEl>
                                          </p:spTgt>
                                        </p:tgtEl>
                                        <p:attrNameLst>
                                          <p:attrName>style.visibility</p:attrName>
                                        </p:attrNameLst>
                                      </p:cBhvr>
                                      <p:to>
                                        <p:strVal val="visible"/>
                                      </p:to>
                                    </p:set>
                                    <p:animEffect transition="in" filter="fade">
                                      <p:cBhvr>
                                        <p:cTn id="44" dur="500"/>
                                        <p:tgtEl>
                                          <p:spTgt spid="12">
                                            <p:txEl>
                                              <p:pRg st="1" end="1"/>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nodePh="1">
                                  <p:stCondLst>
                                    <p:cond delay="0"/>
                                  </p:stCondLst>
                                  <p:endCondLst>
                                    <p:cond evt="begin" delay="0">
                                      <p:tn val="47"/>
                                    </p:cond>
                                  </p:endCondLst>
                                  <p:childTnLst>
                                    <p:set>
                                      <p:cBhvr>
                                        <p:cTn id="48" dur="1" fill="hold">
                                          <p:stCondLst>
                                            <p:cond delay="0"/>
                                          </p:stCondLst>
                                        </p:cTn>
                                        <p:tgtEl>
                                          <p:spTgt spid="63"/>
                                        </p:tgtEl>
                                        <p:attrNameLst>
                                          <p:attrName>style.visibility</p:attrName>
                                        </p:attrNameLst>
                                      </p:cBhvr>
                                      <p:to>
                                        <p:strVal val="visible"/>
                                      </p:to>
                                    </p:set>
                                    <p:animEffect transition="in" filter="fade">
                                      <p:cBhvr>
                                        <p:cTn id="49" dur="500"/>
                                        <p:tgtEl>
                                          <p:spTgt spid="6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
                                            <p:bg/>
                                          </p:spTgt>
                                        </p:tgtEl>
                                        <p:attrNameLst>
                                          <p:attrName>style.visibility</p:attrName>
                                        </p:attrNameLst>
                                      </p:cBhvr>
                                      <p:to>
                                        <p:strVal val="visible"/>
                                      </p:to>
                                    </p:set>
                                    <p:animEffect transition="in" filter="fade">
                                      <p:cBhvr>
                                        <p:cTn id="52" dur="500"/>
                                        <p:tgtEl>
                                          <p:spTgt spid="13">
                                            <p:bg/>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
                                            <p:txEl>
                                              <p:pRg st="0" end="0"/>
                                            </p:txEl>
                                          </p:spTgt>
                                        </p:tgtEl>
                                        <p:attrNameLst>
                                          <p:attrName>style.visibility</p:attrName>
                                        </p:attrNameLst>
                                      </p:cBhvr>
                                      <p:to>
                                        <p:strVal val="visible"/>
                                      </p:to>
                                    </p:set>
                                    <p:animEffect transition="in" filter="fade">
                                      <p:cBhvr>
                                        <p:cTn id="55" dur="500"/>
                                        <p:tgtEl>
                                          <p:spTgt spid="13">
                                            <p:txEl>
                                              <p:pRg st="0" end="0"/>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
                                            <p:txEl>
                                              <p:pRg st="1" end="1"/>
                                            </p:txEl>
                                          </p:spTgt>
                                        </p:tgtEl>
                                        <p:attrNameLst>
                                          <p:attrName>style.visibility</p:attrName>
                                        </p:attrNameLst>
                                      </p:cBhvr>
                                      <p:to>
                                        <p:strVal val="visible"/>
                                      </p:to>
                                    </p:set>
                                    <p:animEffect transition="in" filter="fade">
                                      <p:cBhvr>
                                        <p:cTn id="58" dur="500"/>
                                        <p:tgtEl>
                                          <p:spTgt spid="1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uiExpand="1" build="p" animBg="1">
        <p:tmplLst>
          <p:tmpl>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P spid="46" grpId="0"/>
      <p:bldP spid="57" grpId="0"/>
      <p:bldP spid="60" grpId="0"/>
      <p:bldP spid="63" grpId="0"/>
      <p:bldP spid="11" grpId="0" uiExpand="1" build="p" animBg="1">
        <p:tmplLst>
          <p:tmpl>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uiExpand="1" build="p" animBg="1">
        <p:tmplLst>
          <p:tmpl>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3" grpId="0" uiExpand="1" build="p" animBg="1">
        <p:tmplLst>
          <p:tmpl>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889767"/>
            <a:ext cx="6723186" cy="917880"/>
          </a:xfrm>
          <a:noFill/>
        </p:spPr>
        <p:txBody>
          <a:bodyPr wrap="square" tIns="91440" bIns="91440" anchor="t" anchorCtr="0">
            <a:spAutoFit/>
          </a:bodyPr>
          <a:lstStyle>
            <a:lvl1pPr>
              <a:defRPr sz="5294" spc="-74"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6723185" cy="621324"/>
          </a:xfrm>
          <a:noFill/>
        </p:spPr>
        <p:txBody>
          <a:bodyPr wrap="square" lIns="182880" tIns="146304" rIns="182880" bIns="146304">
            <a:spAutoFit/>
          </a:bodyPr>
          <a:lstStyle>
            <a:lvl1pPr marL="0" indent="0">
              <a:spcBef>
                <a:spcPts val="0"/>
              </a:spcBef>
              <a:buNone/>
              <a:defRPr sz="2353"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74306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6723185" cy="917880"/>
          </a:xfrm>
          <a:noFill/>
        </p:spPr>
        <p:txBody>
          <a:bodyPr wrap="square"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1679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8502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2058284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912896"/>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dpi="0" rotWithShape="1">
            <a:blip r:embed="rId2"/>
            <a:srcRect/>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692367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9522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7585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0590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48164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36160" y="352550"/>
            <a:ext cx="1066077" cy="225465"/>
          </a:xfrm>
          <a:prstGeom prst="rect">
            <a:avLst/>
          </a:prstGeom>
        </p:spPr>
      </p:pic>
    </p:spTree>
    <p:extLst>
      <p:ext uri="{BB962C8B-B14F-4D97-AF65-F5344CB8AC3E}">
        <p14:creationId xmlns:p14="http://schemas.microsoft.com/office/powerpoint/2010/main" val="964020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odern UI (without animation)">
    <p:spTree>
      <p:nvGrpSpPr>
        <p:cNvPr id="1" name=""/>
        <p:cNvGrpSpPr/>
        <p:nvPr/>
      </p:nvGrpSpPr>
      <p:grpSpPr>
        <a:xfrm>
          <a:off x="0" y="0"/>
          <a:ext cx="0" cy="0"/>
          <a:chOff x="0" y="0"/>
          <a:chExt cx="0" cy="0"/>
        </a:xfrm>
      </p:grpSpPr>
      <p:sp>
        <p:nvSpPr>
          <p:cNvPr id="32" name="Text Placeholder 31"/>
          <p:cNvSpPr>
            <a:spLocks noGrp="1"/>
          </p:cNvSpPr>
          <p:nvPr userDrawn="1">
            <p:ph type="body" sz="quarter" idx="10" hasCustomPrompt="1"/>
          </p:nvPr>
        </p:nvSpPr>
        <p:spPr>
          <a:xfrm>
            <a:off x="1137294" y="3438528"/>
            <a:ext cx="1777578" cy="1437478"/>
          </a:xfrm>
          <a:prstGeom prst="rect">
            <a:avLst/>
          </a:prstGeom>
          <a:solidFill>
            <a:schemeClr val="accent1"/>
          </a:solidFill>
        </p:spPr>
        <p:txBody>
          <a:bodyPr lIns="46800" rIns="46800"/>
          <a:lstStyle>
            <a:lvl1pPr marL="182563" indent="-182563">
              <a:spcBef>
                <a:spcPts val="1200"/>
              </a:spcBef>
              <a:buNone/>
              <a:defRPr sz="2400">
                <a:solidFill>
                  <a:schemeClr val="bg2"/>
                </a:solidFill>
                <a:latin typeface="Segoe UI Light" panose="020B0502040204020203" pitchFamily="34" charset="0"/>
                <a:cs typeface="Segoe UI Light" panose="020B0502040204020203" pitchFamily="34" charset="0"/>
              </a:defRPr>
            </a:lvl1pPr>
            <a:lvl2pPr marL="182563" indent="0">
              <a:spcBef>
                <a:spcPts val="0"/>
              </a:spcBef>
              <a:buNone/>
              <a:defRPr sz="1200">
                <a:solidFill>
                  <a:schemeClr val="bg2"/>
                </a:solidFill>
              </a:defRPr>
            </a:lvl2pPr>
          </a:lstStyle>
          <a:p>
            <a:pPr lvl="0"/>
            <a:r>
              <a:rPr lang="de-AT" dirty="0"/>
              <a:t>Text</a:t>
            </a:r>
          </a:p>
          <a:p>
            <a:pPr lvl="1"/>
            <a:r>
              <a:rPr lang="de-AT" dirty="0" err="1"/>
              <a:t>Subline</a:t>
            </a:r>
            <a:endParaRPr lang="de-AT" dirty="0"/>
          </a:p>
        </p:txBody>
      </p:sp>
      <p:sp>
        <p:nvSpPr>
          <p:cNvPr id="46" name="Picture Placeholder 45"/>
          <p:cNvSpPr>
            <a:spLocks noGrp="1"/>
          </p:cNvSpPr>
          <p:nvPr>
            <p:ph type="pic" sz="quarter" idx="14"/>
          </p:nvPr>
        </p:nvSpPr>
        <p:spPr>
          <a:xfrm>
            <a:off x="1137294" y="1265341"/>
            <a:ext cx="1779969" cy="2159856"/>
          </a:xfrm>
          <a:prstGeom prst="rect">
            <a:avLst/>
          </a:prstGeom>
        </p:spPr>
        <p:txBody>
          <a:bodyPr/>
          <a:lstStyle>
            <a:lvl1pPr marL="0" indent="0">
              <a:buNone/>
              <a:defRPr sz="1600"/>
            </a:lvl1pPr>
          </a:lstStyle>
          <a:p>
            <a:endParaRPr lang="en-US" dirty="0"/>
          </a:p>
        </p:txBody>
      </p:sp>
      <p:sp>
        <p:nvSpPr>
          <p:cNvPr id="2" name="Titel 1"/>
          <p:cNvSpPr>
            <a:spLocks noGrp="1"/>
          </p:cNvSpPr>
          <p:nvPr>
            <p:ph type="title" hasCustomPrompt="1"/>
          </p:nvPr>
        </p:nvSpPr>
        <p:spPr>
          <a:xfrm>
            <a:off x="1144190" y="358552"/>
            <a:ext cx="7748289" cy="681980"/>
          </a:xfrm>
          <a:prstGeom prst="rect">
            <a:avLst/>
          </a:prstGeom>
        </p:spPr>
        <p:txBody>
          <a:bodyPr wrap="none" lIns="0" tIns="0" rIns="0" bIns="0" anchor="ctr"/>
          <a:lstStyle>
            <a:lvl1pPr>
              <a:defRPr sz="5400">
                <a:solidFill>
                  <a:schemeClr val="accent2"/>
                </a:solidFill>
              </a:defRPr>
            </a:lvl1pPr>
          </a:lstStyle>
          <a:p>
            <a:r>
              <a:rPr lang="de-DE" dirty="0"/>
              <a:t>Title</a:t>
            </a:r>
            <a:endParaRPr lang="en-US" dirty="0"/>
          </a:p>
        </p:txBody>
      </p:sp>
      <p:sp>
        <p:nvSpPr>
          <p:cNvPr id="57" name="Picture Placeholder 45"/>
          <p:cNvSpPr>
            <a:spLocks noGrp="1"/>
          </p:cNvSpPr>
          <p:nvPr>
            <p:ph type="pic" sz="quarter" idx="15"/>
          </p:nvPr>
        </p:nvSpPr>
        <p:spPr>
          <a:xfrm>
            <a:off x="2989975" y="1265341"/>
            <a:ext cx="1779969" cy="2159856"/>
          </a:xfrm>
          <a:prstGeom prst="rect">
            <a:avLst/>
          </a:prstGeom>
        </p:spPr>
        <p:txBody>
          <a:bodyPr/>
          <a:lstStyle>
            <a:lvl1pPr marL="0" indent="0">
              <a:buNone/>
              <a:defRPr sz="1600"/>
            </a:lvl1pPr>
          </a:lstStyle>
          <a:p>
            <a:endParaRPr lang="en-US"/>
          </a:p>
        </p:txBody>
      </p:sp>
      <p:sp>
        <p:nvSpPr>
          <p:cNvPr id="60" name="Picture Placeholder 45"/>
          <p:cNvSpPr>
            <a:spLocks noGrp="1"/>
          </p:cNvSpPr>
          <p:nvPr>
            <p:ph type="pic" sz="quarter" idx="17"/>
          </p:nvPr>
        </p:nvSpPr>
        <p:spPr>
          <a:xfrm>
            <a:off x="4842656" y="1265341"/>
            <a:ext cx="1779969" cy="2159856"/>
          </a:xfrm>
          <a:prstGeom prst="rect">
            <a:avLst/>
          </a:prstGeom>
        </p:spPr>
        <p:txBody>
          <a:bodyPr/>
          <a:lstStyle>
            <a:lvl1pPr marL="0" indent="0">
              <a:buNone/>
              <a:defRPr sz="1600"/>
            </a:lvl1pPr>
          </a:lstStyle>
          <a:p>
            <a:endParaRPr lang="en-US"/>
          </a:p>
        </p:txBody>
      </p:sp>
      <p:sp>
        <p:nvSpPr>
          <p:cNvPr id="63" name="Picture Placeholder 45"/>
          <p:cNvSpPr>
            <a:spLocks noGrp="1"/>
          </p:cNvSpPr>
          <p:nvPr>
            <p:ph type="pic" sz="quarter" idx="19"/>
          </p:nvPr>
        </p:nvSpPr>
        <p:spPr>
          <a:xfrm>
            <a:off x="6692946" y="1265341"/>
            <a:ext cx="1779969" cy="2159856"/>
          </a:xfrm>
          <a:prstGeom prst="rect">
            <a:avLst/>
          </a:prstGeom>
        </p:spPr>
        <p:txBody>
          <a:bodyPr/>
          <a:lstStyle>
            <a:lvl1pPr marL="0" indent="0">
              <a:buNone/>
              <a:defRPr sz="1600"/>
            </a:lvl1pPr>
          </a:lstStyle>
          <a:p>
            <a:endParaRPr lang="en-US"/>
          </a:p>
        </p:txBody>
      </p:sp>
      <p:sp>
        <p:nvSpPr>
          <p:cNvPr id="11" name="Text Placeholder 31"/>
          <p:cNvSpPr>
            <a:spLocks noGrp="1"/>
          </p:cNvSpPr>
          <p:nvPr>
            <p:ph type="body" sz="quarter" idx="20" hasCustomPrompt="1"/>
          </p:nvPr>
        </p:nvSpPr>
        <p:spPr>
          <a:xfrm>
            <a:off x="2989975" y="3438528"/>
            <a:ext cx="1777578" cy="1437478"/>
          </a:xfrm>
          <a:prstGeom prst="rect">
            <a:avLst/>
          </a:prstGeom>
          <a:solidFill>
            <a:schemeClr val="accent2"/>
          </a:solidFill>
        </p:spPr>
        <p:txBody>
          <a:bodyPr lIns="46800" rIns="46800"/>
          <a:lstStyle>
            <a:lvl1pPr marL="182563" indent="-182563">
              <a:spcBef>
                <a:spcPts val="1200"/>
              </a:spcBef>
              <a:buNone/>
              <a:defRPr sz="2400">
                <a:solidFill>
                  <a:schemeClr val="bg2"/>
                </a:solidFill>
                <a:latin typeface="Segoe UI Light" panose="020B0502040204020203" pitchFamily="34" charset="0"/>
                <a:cs typeface="Segoe UI Light" panose="020B0502040204020203" pitchFamily="34" charset="0"/>
              </a:defRPr>
            </a:lvl1pPr>
            <a:lvl2pPr marL="182563" indent="0">
              <a:spcBef>
                <a:spcPts val="0"/>
              </a:spcBef>
              <a:buNone/>
              <a:defRPr sz="1200">
                <a:solidFill>
                  <a:schemeClr val="bg2"/>
                </a:solidFill>
              </a:defRPr>
            </a:lvl2pPr>
          </a:lstStyle>
          <a:p>
            <a:pPr lvl="0"/>
            <a:r>
              <a:rPr lang="de-AT" dirty="0"/>
              <a:t>Text</a:t>
            </a:r>
          </a:p>
          <a:p>
            <a:pPr lvl="1"/>
            <a:r>
              <a:rPr lang="de-AT" dirty="0" err="1"/>
              <a:t>Subline</a:t>
            </a:r>
            <a:endParaRPr lang="de-AT" dirty="0"/>
          </a:p>
        </p:txBody>
      </p:sp>
      <p:sp>
        <p:nvSpPr>
          <p:cNvPr id="12" name="Text Placeholder 31"/>
          <p:cNvSpPr>
            <a:spLocks noGrp="1"/>
          </p:cNvSpPr>
          <p:nvPr>
            <p:ph type="body" sz="quarter" idx="21" hasCustomPrompt="1"/>
          </p:nvPr>
        </p:nvSpPr>
        <p:spPr>
          <a:xfrm>
            <a:off x="4842656" y="3438528"/>
            <a:ext cx="1777578" cy="1437478"/>
          </a:xfrm>
          <a:prstGeom prst="rect">
            <a:avLst/>
          </a:prstGeom>
          <a:solidFill>
            <a:schemeClr val="accent3"/>
          </a:solidFill>
        </p:spPr>
        <p:txBody>
          <a:bodyPr lIns="46800" rIns="46800"/>
          <a:lstStyle>
            <a:lvl1pPr marL="182563" indent="-182563">
              <a:spcBef>
                <a:spcPts val="1200"/>
              </a:spcBef>
              <a:buNone/>
              <a:defRPr sz="2400">
                <a:solidFill>
                  <a:schemeClr val="bg2"/>
                </a:solidFill>
                <a:latin typeface="Segoe UI Light" panose="020B0502040204020203" pitchFamily="34" charset="0"/>
                <a:cs typeface="Segoe UI Light" panose="020B0502040204020203" pitchFamily="34" charset="0"/>
              </a:defRPr>
            </a:lvl1pPr>
            <a:lvl2pPr marL="182563" indent="0">
              <a:spcBef>
                <a:spcPts val="0"/>
              </a:spcBef>
              <a:buNone/>
              <a:defRPr sz="1200">
                <a:solidFill>
                  <a:schemeClr val="bg2"/>
                </a:solidFill>
              </a:defRPr>
            </a:lvl2pPr>
          </a:lstStyle>
          <a:p>
            <a:pPr lvl="0"/>
            <a:r>
              <a:rPr lang="de-AT" dirty="0"/>
              <a:t>Text</a:t>
            </a:r>
          </a:p>
          <a:p>
            <a:pPr lvl="1"/>
            <a:r>
              <a:rPr lang="de-AT" dirty="0" err="1"/>
              <a:t>Subline</a:t>
            </a:r>
            <a:endParaRPr lang="de-AT" dirty="0"/>
          </a:p>
        </p:txBody>
      </p:sp>
      <p:sp>
        <p:nvSpPr>
          <p:cNvPr id="13" name="Text Placeholder 31"/>
          <p:cNvSpPr>
            <a:spLocks noGrp="1"/>
          </p:cNvSpPr>
          <p:nvPr>
            <p:ph type="body" sz="quarter" idx="22" hasCustomPrompt="1"/>
          </p:nvPr>
        </p:nvSpPr>
        <p:spPr>
          <a:xfrm>
            <a:off x="6692946" y="3438528"/>
            <a:ext cx="1777578" cy="1437478"/>
          </a:xfrm>
          <a:prstGeom prst="rect">
            <a:avLst/>
          </a:prstGeom>
          <a:solidFill>
            <a:schemeClr val="bg1">
              <a:lumMod val="65000"/>
            </a:schemeClr>
          </a:solidFill>
        </p:spPr>
        <p:txBody>
          <a:bodyPr lIns="46800" rIns="46800"/>
          <a:lstStyle>
            <a:lvl1pPr marL="182563" indent="-182563">
              <a:spcBef>
                <a:spcPts val="1200"/>
              </a:spcBef>
              <a:buNone/>
              <a:defRPr sz="2400">
                <a:solidFill>
                  <a:schemeClr val="bg2"/>
                </a:solidFill>
                <a:latin typeface="Segoe UI Light" panose="020B0502040204020203" pitchFamily="34" charset="0"/>
                <a:cs typeface="Segoe UI Light" panose="020B0502040204020203" pitchFamily="34" charset="0"/>
              </a:defRPr>
            </a:lvl1pPr>
            <a:lvl2pPr marL="182563" indent="0">
              <a:spcBef>
                <a:spcPts val="0"/>
              </a:spcBef>
              <a:buNone/>
              <a:defRPr sz="1200">
                <a:solidFill>
                  <a:schemeClr val="bg2"/>
                </a:solidFill>
              </a:defRPr>
            </a:lvl2pPr>
          </a:lstStyle>
          <a:p>
            <a:pPr lvl="0"/>
            <a:r>
              <a:rPr lang="de-AT" dirty="0"/>
              <a:t>Text</a:t>
            </a:r>
          </a:p>
          <a:p>
            <a:pPr lvl="1"/>
            <a:r>
              <a:rPr lang="de-AT" dirty="0" err="1"/>
              <a:t>Subline</a:t>
            </a:r>
            <a:endParaRPr lang="de-AT" dirty="0"/>
          </a:p>
        </p:txBody>
      </p:sp>
      <p:sp>
        <p:nvSpPr>
          <p:cNvPr id="14" name="Text Placeholder 4"/>
          <p:cNvSpPr>
            <a:spLocks noGrp="1"/>
          </p:cNvSpPr>
          <p:nvPr>
            <p:ph type="body" sz="quarter" idx="23"/>
          </p:nvPr>
        </p:nvSpPr>
        <p:spPr>
          <a:xfrm>
            <a:off x="1135292" y="4511327"/>
            <a:ext cx="177068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
        <p:nvSpPr>
          <p:cNvPr id="15" name="Text Placeholder 4"/>
          <p:cNvSpPr>
            <a:spLocks noGrp="1"/>
          </p:cNvSpPr>
          <p:nvPr>
            <p:ph type="body" sz="quarter" idx="24"/>
          </p:nvPr>
        </p:nvSpPr>
        <p:spPr>
          <a:xfrm>
            <a:off x="2987972" y="4511327"/>
            <a:ext cx="177068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
        <p:nvSpPr>
          <p:cNvPr id="16" name="Text Placeholder 4"/>
          <p:cNvSpPr>
            <a:spLocks noGrp="1"/>
          </p:cNvSpPr>
          <p:nvPr>
            <p:ph type="body" sz="quarter" idx="25"/>
          </p:nvPr>
        </p:nvSpPr>
        <p:spPr>
          <a:xfrm>
            <a:off x="4840653" y="4511327"/>
            <a:ext cx="177068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
        <p:nvSpPr>
          <p:cNvPr id="17" name="Text Placeholder 4"/>
          <p:cNvSpPr>
            <a:spLocks noGrp="1"/>
          </p:cNvSpPr>
          <p:nvPr>
            <p:ph type="body" sz="quarter" idx="26"/>
          </p:nvPr>
        </p:nvSpPr>
        <p:spPr>
          <a:xfrm>
            <a:off x="6681656" y="4511327"/>
            <a:ext cx="1770682" cy="364679"/>
          </a:xfrm>
          <a:prstGeom prst="rect">
            <a:avLst/>
          </a:prstGeom>
        </p:spPr>
        <p:txBody>
          <a:bodyPr lIns="0" tIns="0" rIns="0" bIns="0" anchor="b"/>
          <a:lstStyle>
            <a:lvl1pPr marL="0" indent="0">
              <a:buNone/>
              <a:defRPr sz="800">
                <a:solidFill>
                  <a:schemeClr val="tx1">
                    <a:lumMod val="50000"/>
                  </a:schemeClr>
                </a:solidFill>
              </a:defRPr>
            </a:lvl1pPr>
          </a:lstStyle>
          <a:p>
            <a:pPr lvl="0"/>
            <a:endParaRPr lang="de-AT" dirty="0"/>
          </a:p>
        </p:txBody>
      </p:sp>
    </p:spTree>
    <p:extLst>
      <p:ext uri="{BB962C8B-B14F-4D97-AF65-F5344CB8AC3E}">
        <p14:creationId xmlns:p14="http://schemas.microsoft.com/office/powerpoint/2010/main" val="1148727058"/>
      </p:ext>
    </p:extLst>
  </p:cSld>
  <p:clrMapOvr>
    <a:masterClrMapping/>
  </p:clrMapOvr>
  <p:transition spd="slow">
    <p:push/>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48645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067255F4-7C58-4BBA-A3F5-26B4C4AB0335}" type="datetimeFigureOut">
              <a:rPr lang="en-US" smtClean="0"/>
              <a:t>2/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20035347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7255F4-7C58-4BBA-A3F5-26B4C4AB0335}" type="datetimeFigureOut">
              <a:rPr lang="en-US" smtClean="0"/>
              <a:t>2/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715674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67255F4-7C58-4BBA-A3F5-26B4C4AB0335}" type="datetimeFigureOut">
              <a:rPr lang="en-US" smtClean="0"/>
              <a:t>2/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31468000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05980" y="1113608"/>
            <a:ext cx="4308871" cy="35191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13608"/>
            <a:ext cx="4308870" cy="35191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7255F4-7C58-4BBA-A3F5-26B4C4AB0335}" type="datetimeFigureOut">
              <a:rPr lang="en-US" smtClean="0"/>
              <a:t>2/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33641004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3030" y="567843"/>
            <a:ext cx="6475364" cy="994172"/>
          </a:xfrm>
        </p:spPr>
        <p:txBody>
          <a:bodyPr>
            <a:normAutofit/>
          </a:bodyPr>
          <a:lstStyle>
            <a:lvl1pPr>
              <a:defRPr sz="33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303427" y="1909534"/>
            <a:ext cx="3847343" cy="2246709"/>
          </a:xfrm>
        </p:spPr>
        <p:txBody>
          <a:bodyPr/>
          <a:lstStyle>
            <a:lvl1pPr marL="0" indent="0">
              <a:spcAft>
                <a:spcPts val="1350"/>
              </a:spcAft>
              <a:buNone/>
              <a:defRPr sz="1800">
                <a:solidFill>
                  <a:schemeClr val="bg1"/>
                </a:solidFill>
              </a:defRPr>
            </a:lvl1pPr>
            <a:lvl2pPr marL="120015" indent="-120015" algn="l" defTabSz="571500" rtl="0" eaLnBrk="1" latinLnBrk="0" hangingPunct="1">
              <a:lnSpc>
                <a:spcPct val="107000"/>
              </a:lnSpc>
              <a:spcBef>
                <a:spcPts val="0"/>
              </a:spcBef>
              <a:spcAft>
                <a:spcPts val="450"/>
              </a:spcAft>
              <a:buClr>
                <a:schemeClr val="accent2"/>
              </a:buClr>
              <a:buFont typeface="Arial" panose="020B0604020202020204" pitchFamily="34" charset="0"/>
              <a:buChar char="•"/>
              <a:defRPr lang="en-US" sz="1500" kern="1200" dirty="0" smtClean="0">
                <a:solidFill>
                  <a:schemeClr val="bg1"/>
                </a:solidFill>
                <a:latin typeface="+mn-lt"/>
                <a:ea typeface="+mn-ea"/>
                <a:cs typeface="Times New Roman" panose="02020603050405020304" pitchFamily="18" charset="0"/>
              </a:defRPr>
            </a:lvl2pPr>
            <a:lvl3pPr marL="427435" indent="-171450" defTabSz="571500">
              <a:buClr>
                <a:schemeClr val="accent2"/>
              </a:buClr>
              <a:defRPr>
                <a:solidFill>
                  <a:schemeClr val="bg1"/>
                </a:solidFill>
              </a:defRPr>
            </a:lvl3pPr>
            <a:lvl4pPr marL="685800" indent="-171450" defTabSz="571500">
              <a:buClr>
                <a:schemeClr val="accent2"/>
              </a:buClr>
              <a:defRPr>
                <a:solidFill>
                  <a:schemeClr val="bg1"/>
                </a:solidFill>
              </a:defRPr>
            </a:lvl4pPr>
            <a:lvl5pPr marL="944166" indent="-171450" defTabSz="571500">
              <a:buClr>
                <a:schemeClr val="accent2"/>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47881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4572000" cy="51435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445492" y="1496786"/>
            <a:ext cx="3681018" cy="2149928"/>
          </a:xfrm>
        </p:spPr>
        <p:txBody>
          <a:bodyPr anchor="ctr">
            <a:normAutofit/>
          </a:bodyPr>
          <a:lstStyle>
            <a:lvl1pPr>
              <a:defRPr sz="27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042512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entagon 684"/>
          <p:cNvSpPr/>
          <p:nvPr userDrawn="1"/>
        </p:nvSpPr>
        <p:spPr>
          <a:xfrm>
            <a:off x="1" y="0"/>
            <a:ext cx="4572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itle 1"/>
          <p:cNvSpPr>
            <a:spLocks noGrp="1"/>
          </p:cNvSpPr>
          <p:nvPr>
            <p:ph type="title"/>
          </p:nvPr>
        </p:nvSpPr>
        <p:spPr>
          <a:xfrm>
            <a:off x="445492" y="1496786"/>
            <a:ext cx="3681018" cy="2149928"/>
          </a:xfrm>
        </p:spPr>
        <p:txBody>
          <a:bodyPr anchor="ctr">
            <a:normAutofit/>
          </a:bodyPr>
          <a:lstStyle>
            <a:lvl1pPr>
              <a:defRPr sz="27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6310184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88511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a:xfrm>
            <a:off x="0" y="1488622"/>
            <a:ext cx="9144000" cy="3654878"/>
          </a:xfrm>
          <a:prstGeom prst="rect">
            <a:avLst/>
          </a:prstGeom>
          <a:solidFill>
            <a:srgbClr val="59B4D9">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2054318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theme" Target="../theme/theme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theme" Target="../theme/theme4.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theme" Target="../theme/theme5.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0" y="952500"/>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V="1">
            <a:off x="1143000" y="0"/>
            <a:ext cx="0" cy="514350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143000" y="1333500"/>
            <a:ext cx="8001000" cy="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143000" y="1485900"/>
            <a:ext cx="8001000" cy="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V="1">
            <a:off x="5141208" y="0"/>
            <a:ext cx="0" cy="514350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143000" y="3812400"/>
            <a:ext cx="8001000" cy="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5065200" y="0"/>
            <a:ext cx="0" cy="514350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V="1">
            <a:off x="5227200" y="0"/>
            <a:ext cx="0" cy="5143500"/>
          </a:xfrm>
          <a:prstGeom prst="line">
            <a:avLst/>
          </a:prstGeom>
          <a:ln>
            <a:no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70" r:id="rId1"/>
    <p:sldLayoutId id="2147483684" r:id="rId2"/>
    <p:sldLayoutId id="2147483672" r:id="rId3"/>
    <p:sldLayoutId id="2147483688" r:id="rId4"/>
    <p:sldLayoutId id="2147483686" r:id="rId5"/>
    <p:sldLayoutId id="2147483685" r:id="rId6"/>
    <p:sldLayoutId id="2147483689" r:id="rId7"/>
    <p:sldLayoutId id="2147483675" r:id="rId8"/>
    <p:sldLayoutId id="2147483678" r:id="rId9"/>
    <p:sldLayoutId id="2147483671" r:id="rId10"/>
    <p:sldLayoutId id="2147483687" r:id="rId11"/>
    <p:sldLayoutId id="2147483674" r:id="rId12"/>
    <p:sldLayoutId id="2147483679" r:id="rId13"/>
    <p:sldLayoutId id="2147483680" r:id="rId14"/>
    <p:sldLayoutId id="2147483681" r:id="rId15"/>
    <p:sldLayoutId id="2147483682" r:id="rId16"/>
  </p:sldLayoutIdLst>
  <p:hf hdr="0" ftr="0"/>
  <p:txStyles>
    <p:titleStyle>
      <a:lvl1pPr algn="l" defTabSz="914400" rtl="0" eaLnBrk="1" latinLnBrk="0" hangingPunct="1">
        <a:spcBef>
          <a:spcPct val="0"/>
        </a:spcBef>
        <a:buNone/>
        <a:defRPr lang="de-AT" sz="4200" kern="1200" dirty="0" smtClean="0">
          <a:solidFill>
            <a:schemeClr val="accent3"/>
          </a:solidFill>
          <a:latin typeface="Segoe UI Light"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accent1"/>
          </a:solidFill>
          <a:latin typeface="+mj-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accent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accent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accent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accent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891883"/>
            <a:ext cx="8740140" cy="174644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070808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83" r:id="rId24"/>
    <p:sldLayoutId id="2147483784" r:id="rId25"/>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90"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79"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69"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358"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448"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6"/>
            <a:ext cx="8740140" cy="158819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440222"/>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Lst>
  <p:transition>
    <p:fade/>
  </p:transition>
  <p:txStyles>
    <p:titleStyle>
      <a:lvl1pPr algn="l" defTabSz="685938" rtl="0" eaLnBrk="1" latinLnBrk="0" hangingPunct="1">
        <a:lnSpc>
          <a:spcPct val="90000"/>
        </a:lnSpc>
        <a:spcBef>
          <a:spcPct val="0"/>
        </a:spcBef>
        <a:buNone/>
        <a:defRPr lang="en-US" sz="353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69" marR="0" indent="-252169" algn="l" defTabSz="685938"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621" marR="0" indent="-177452" algn="l" defTabSz="68593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94" marR="0" indent="-168112" algn="l" defTabSz="685938"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506" marR="0" indent="-168112" algn="l" defTabSz="685938"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618" marR="0" indent="-168112" algn="l" defTabSz="685938"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330" indent="-171485" algn="l" defTabSz="685938"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9300" indent="-171485" algn="l" defTabSz="685938"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2270" indent="-171485" algn="l" defTabSz="685938"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5240" indent="-171485" algn="l" defTabSz="685938"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938" rtl="0" eaLnBrk="1" latinLnBrk="0" hangingPunct="1">
        <a:defRPr sz="1324" kern="1200">
          <a:solidFill>
            <a:schemeClr val="tx1"/>
          </a:solidFill>
          <a:latin typeface="+mn-lt"/>
          <a:ea typeface="+mn-ea"/>
          <a:cs typeface="+mn-cs"/>
        </a:defRPr>
      </a:lvl1pPr>
      <a:lvl2pPr marL="342969" algn="l" defTabSz="685938" rtl="0" eaLnBrk="1" latinLnBrk="0" hangingPunct="1">
        <a:defRPr sz="1324" kern="1200">
          <a:solidFill>
            <a:schemeClr val="tx1"/>
          </a:solidFill>
          <a:latin typeface="+mn-lt"/>
          <a:ea typeface="+mn-ea"/>
          <a:cs typeface="+mn-cs"/>
        </a:defRPr>
      </a:lvl2pPr>
      <a:lvl3pPr marL="685938" algn="l" defTabSz="685938" rtl="0" eaLnBrk="1" latinLnBrk="0" hangingPunct="1">
        <a:defRPr sz="1324" kern="1200">
          <a:solidFill>
            <a:schemeClr val="tx1"/>
          </a:solidFill>
          <a:latin typeface="+mn-lt"/>
          <a:ea typeface="+mn-ea"/>
          <a:cs typeface="+mn-cs"/>
        </a:defRPr>
      </a:lvl3pPr>
      <a:lvl4pPr marL="1028908" algn="l" defTabSz="685938" rtl="0" eaLnBrk="1" latinLnBrk="0" hangingPunct="1">
        <a:defRPr sz="1324" kern="1200">
          <a:solidFill>
            <a:schemeClr val="tx1"/>
          </a:solidFill>
          <a:latin typeface="+mn-lt"/>
          <a:ea typeface="+mn-ea"/>
          <a:cs typeface="+mn-cs"/>
        </a:defRPr>
      </a:lvl4pPr>
      <a:lvl5pPr marL="1371877" algn="l" defTabSz="685938" rtl="0" eaLnBrk="1" latinLnBrk="0" hangingPunct="1">
        <a:defRPr sz="1324" kern="1200">
          <a:solidFill>
            <a:schemeClr val="tx1"/>
          </a:solidFill>
          <a:latin typeface="+mn-lt"/>
          <a:ea typeface="+mn-ea"/>
          <a:cs typeface="+mn-cs"/>
        </a:defRPr>
      </a:lvl5pPr>
      <a:lvl6pPr marL="1714847" algn="l" defTabSz="685938" rtl="0" eaLnBrk="1" latinLnBrk="0" hangingPunct="1">
        <a:defRPr sz="1324" kern="1200">
          <a:solidFill>
            <a:schemeClr val="tx1"/>
          </a:solidFill>
          <a:latin typeface="+mn-lt"/>
          <a:ea typeface="+mn-ea"/>
          <a:cs typeface="+mn-cs"/>
        </a:defRPr>
      </a:lvl6pPr>
      <a:lvl7pPr marL="2057815" algn="l" defTabSz="685938" rtl="0" eaLnBrk="1" latinLnBrk="0" hangingPunct="1">
        <a:defRPr sz="1324" kern="1200">
          <a:solidFill>
            <a:schemeClr val="tx1"/>
          </a:solidFill>
          <a:latin typeface="+mn-lt"/>
          <a:ea typeface="+mn-ea"/>
          <a:cs typeface="+mn-cs"/>
        </a:defRPr>
      </a:lvl7pPr>
      <a:lvl8pPr marL="2400785" algn="l" defTabSz="685938" rtl="0" eaLnBrk="1" latinLnBrk="0" hangingPunct="1">
        <a:defRPr sz="1324" kern="1200">
          <a:solidFill>
            <a:schemeClr val="tx1"/>
          </a:solidFill>
          <a:latin typeface="+mn-lt"/>
          <a:ea typeface="+mn-ea"/>
          <a:cs typeface="+mn-cs"/>
        </a:defRPr>
      </a:lvl8pPr>
      <a:lvl9pPr marL="2743755" algn="l" defTabSz="685938"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4"/>
            <a:ext cx="8740140" cy="1587999"/>
          </a:xfrm>
          <a:prstGeom prst="rect">
            <a:avLst/>
          </a:prstGeom>
        </p:spPr>
        <p:txBody>
          <a:bodyPr vert="horz" wrap="square" lIns="146304" tIns="91440" rIns="146304" bIns="91440" rtlCol="0">
            <a:spAutoFit/>
          </a:bodyPr>
          <a:lstStyle/>
          <a:p>
            <a:pPr marL="252134" marR="0" lvl="0" indent="-252134" algn="l" defTabSz="685845"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429562" marR="0" lvl="1" indent="-177428" algn="l" defTabSz="685845"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9278182" y="-22645"/>
            <a:ext cx="724700" cy="4263445"/>
            <a:chOff x="12618967" y="-30794"/>
            <a:chExt cx="985642" cy="5797759"/>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685647" eaLnBrk="1" fontAlgn="base" latinLnBrk="0" hangingPunct="1">
                  <a:lnSpc>
                    <a:spcPct val="100000"/>
                  </a:lnSpc>
                  <a:spcBef>
                    <a:spcPct val="0"/>
                  </a:spcBef>
                  <a:spcAft>
                    <a:spcPct val="0"/>
                  </a:spcAft>
                  <a:buClrTx/>
                  <a:buSzTx/>
                  <a:buFontTx/>
                  <a:buNone/>
                  <a:tabLst/>
                  <a:defRPr/>
                </a:pPr>
                <a:r>
                  <a:rPr kumimoji="0" lang="en-US" sz="3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685647" eaLnBrk="1" fontAlgn="base" latinLnBrk="0" hangingPunct="1">
                  <a:lnSpc>
                    <a:spcPct val="100000"/>
                  </a:lnSpc>
                  <a:spcBef>
                    <a:spcPct val="0"/>
                  </a:spcBef>
                  <a:spcAft>
                    <a:spcPct val="0"/>
                  </a:spcAft>
                  <a:buClrTx/>
                  <a:buSzTx/>
                  <a:buFontTx/>
                  <a:buNone/>
                  <a:tabLst/>
                  <a:defRPr/>
                </a:pPr>
                <a:r>
                  <a:rPr kumimoji="0" lang="en-US" sz="368"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685647" eaLnBrk="1" fontAlgn="base" latinLnBrk="0" hangingPunct="1">
                  <a:lnSpc>
                    <a:spcPct val="100000"/>
                  </a:lnSpc>
                  <a:spcBef>
                    <a:spcPct val="0"/>
                  </a:spcBef>
                  <a:spcAft>
                    <a:spcPct val="0"/>
                  </a:spcAft>
                  <a:buClrTx/>
                  <a:buSzTx/>
                  <a:buFontTx/>
                  <a:buNone/>
                  <a:tabLst/>
                  <a:defRPr/>
                </a:pPr>
                <a:r>
                  <a:rPr kumimoji="0" lang="en-US" sz="368"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685647" eaLnBrk="1" fontAlgn="base" latinLnBrk="0" hangingPunct="1">
                  <a:lnSpc>
                    <a:spcPct val="100000"/>
                  </a:lnSpc>
                  <a:spcBef>
                    <a:spcPct val="0"/>
                  </a:spcBef>
                  <a:spcAft>
                    <a:spcPct val="0"/>
                  </a:spcAft>
                  <a:buClrTx/>
                  <a:buSzTx/>
                  <a:buFontTx/>
                  <a:buNone/>
                  <a:tabLst/>
                  <a:defRPr/>
                </a:pPr>
                <a:r>
                  <a:rPr kumimoji="0" lang="en-US" sz="3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685647" eaLnBrk="1" fontAlgn="base" latinLnBrk="0" hangingPunct="1">
                  <a:lnSpc>
                    <a:spcPct val="100000"/>
                  </a:lnSpc>
                  <a:spcBef>
                    <a:spcPct val="0"/>
                  </a:spcBef>
                  <a:spcAft>
                    <a:spcPct val="0"/>
                  </a:spcAft>
                  <a:buClrTx/>
                  <a:buSzTx/>
                  <a:buFontTx/>
                  <a:buNone/>
                  <a:tabLst/>
                  <a:defRPr/>
                </a:pPr>
                <a:r>
                  <a:rPr kumimoji="0" lang="en-US" sz="3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685647" eaLnBrk="1" fontAlgn="base" latinLnBrk="0" hangingPunct="1">
                  <a:lnSpc>
                    <a:spcPct val="100000"/>
                  </a:lnSpc>
                  <a:spcBef>
                    <a:spcPct val="0"/>
                  </a:spcBef>
                  <a:spcAft>
                    <a:spcPct val="0"/>
                  </a:spcAft>
                  <a:buClrTx/>
                  <a:buSzTx/>
                  <a:buFontTx/>
                  <a:buNone/>
                  <a:tabLst/>
                  <a:defRPr/>
                </a:pPr>
                <a:r>
                  <a:rPr kumimoji="0" lang="en-US" sz="3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685647" fontAlgn="base">
                  <a:lnSpc>
                    <a:spcPct val="100000"/>
                  </a:lnSpc>
                  <a:spcBef>
                    <a:spcPct val="0"/>
                  </a:spcBef>
                  <a:spcAft>
                    <a:spcPct val="0"/>
                  </a:spcAft>
                </a:pPr>
                <a:r>
                  <a:rPr lang="en-US" sz="368"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685647" fontAlgn="base">
                  <a:lnSpc>
                    <a:spcPct val="100000"/>
                  </a:lnSpc>
                  <a:spcBef>
                    <a:spcPct val="0"/>
                  </a:spcBef>
                  <a:spcAft>
                    <a:spcPct val="0"/>
                  </a:spcAft>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685647" eaLnBrk="1" fontAlgn="base" latinLnBrk="0" hangingPunct="1">
                  <a:lnSpc>
                    <a:spcPct val="100000"/>
                  </a:lnSpc>
                  <a:spcBef>
                    <a:spcPct val="0"/>
                  </a:spcBef>
                  <a:spcAft>
                    <a:spcPct val="0"/>
                  </a:spcAft>
                  <a:buClrTx/>
                  <a:buSzTx/>
                  <a:buFontTx/>
                  <a:buNone/>
                  <a:tabLst/>
                  <a:defRPr/>
                </a:pPr>
                <a:r>
                  <a:rPr kumimoji="0" lang="en-US" sz="3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685647" eaLnBrk="1" fontAlgn="base" latinLnBrk="0" hangingPunct="1">
                  <a:lnSpc>
                    <a:spcPct val="100000"/>
                  </a:lnSpc>
                  <a:spcBef>
                    <a:spcPct val="0"/>
                  </a:spcBef>
                  <a:spcAft>
                    <a:spcPct val="0"/>
                  </a:spcAft>
                  <a:buClrTx/>
                  <a:buSzTx/>
                  <a:buFontTx/>
                  <a:buNone/>
                  <a:tabLst/>
                  <a:defRPr/>
                </a:pPr>
                <a:r>
                  <a:rPr kumimoji="0" lang="en-US" sz="3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57242" y="226928"/>
              <a:ext cx="905089" cy="389645"/>
            </a:xfrm>
            <a:prstGeom prst="rect">
              <a:avLst/>
            </a:prstGeom>
            <a:noFill/>
          </p:spPr>
          <p:txBody>
            <a:bodyPr wrap="none" lIns="0" tIns="91440" rIns="182880" bIns="91440" rtlCol="0">
              <a:spAutoFit/>
            </a:bodyPr>
            <a:lstStyle/>
            <a:p>
              <a:pPr marL="0" marR="0" lvl="0" indent="0" defTabSz="672358" eaLnBrk="1" fontAlgn="auto" latinLnBrk="0" hangingPunct="1">
                <a:lnSpc>
                  <a:spcPct val="90000"/>
                </a:lnSpc>
                <a:spcBef>
                  <a:spcPts val="0"/>
                </a:spcBef>
                <a:spcAft>
                  <a:spcPts val="441"/>
                </a:spcAft>
                <a:buClrTx/>
                <a:buSzTx/>
                <a:buFontTx/>
                <a:buNone/>
                <a:tabLst/>
                <a:defRPr/>
              </a:pPr>
              <a:r>
                <a:rPr kumimoji="0" lang="en-US" sz="735"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17480" y="4197341"/>
              <a:ext cx="2705674" cy="389645"/>
            </a:xfrm>
            <a:prstGeom prst="rect">
              <a:avLst/>
            </a:prstGeom>
            <a:noFill/>
          </p:spPr>
          <p:txBody>
            <a:bodyPr wrap="none" lIns="0" tIns="91440" rIns="182880" bIns="91440" rtlCol="0">
              <a:spAutoFit/>
            </a:bodyPr>
            <a:lstStyle/>
            <a:p>
              <a:pPr marL="0" marR="0" lvl="0" indent="0" defTabSz="672358" eaLnBrk="1" fontAlgn="auto" latinLnBrk="0" hangingPunct="1">
                <a:lnSpc>
                  <a:spcPct val="90000"/>
                </a:lnSpc>
                <a:spcBef>
                  <a:spcPts val="0"/>
                </a:spcBef>
                <a:spcAft>
                  <a:spcPts val="441"/>
                </a:spcAft>
                <a:buClrTx/>
                <a:buSzTx/>
                <a:buFontTx/>
                <a:buNone/>
                <a:tabLst/>
                <a:defRPr/>
              </a:pPr>
              <a:r>
                <a:rPr kumimoji="0" lang="en-US" sz="735"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555979730"/>
      </p:ext>
    </p:extLst>
  </p:cSld>
  <p:clrMap bg1="dk1" tx1="lt1" bg2="dk2" tx2="lt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lang="en-US" sz="2941" kern="1200" spc="0" baseline="0" dirty="0" smtClean="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lang="en-US" sz="1765"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80" y="266870"/>
            <a:ext cx="8732041" cy="688181"/>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05979" y="1089592"/>
            <a:ext cx="8732042" cy="354313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67255F4-7C58-4BBA-A3F5-26B4C4AB0335}" type="datetimeFigureOut">
              <a:rPr lang="en-US" smtClean="0"/>
              <a:t>2/10/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197702169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Lst>
  <p:txStyles>
    <p:titleStyle>
      <a:lvl1pPr algn="l" defTabSz="685800" rtl="0" eaLnBrk="1" latinLnBrk="0" hangingPunct="1">
        <a:lnSpc>
          <a:spcPct val="90000"/>
        </a:lnSpc>
        <a:spcBef>
          <a:spcPct val="0"/>
        </a:spcBef>
        <a:buNone/>
        <a:defRPr sz="4050"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timecockpit.com/" TargetMode="External"/><Relationship Id="rId2" Type="http://schemas.openxmlformats.org/officeDocument/2006/relationships/image" Target="../media/image24.jpeg"/><Relationship Id="rId1" Type="http://schemas.openxmlformats.org/officeDocument/2006/relationships/slideLayout" Target="../slideLayouts/slideLayout1.xml"/><Relationship Id="rId4" Type="http://schemas.openxmlformats.org/officeDocument/2006/relationships/hyperlink" Target="mailto:rainer@timecockpit.com"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active-directory/managed-service-identity/tutorial-windows-vm-ua-arm#create-a-user-assigned-identity" TargetMode="External"/><Relationship Id="rId2" Type="http://schemas.openxmlformats.org/officeDocument/2006/relationships/hyperlink" Target="https://docs.microsoft.com/en-us/azure/key-vault/service-to-service-authentication#running-the-application-using-a-service-principal"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hyperlink" Target="https://github.com/projectkudu/kudu/wiki/App-Service-Editor" TargetMode="External"/><Relationship Id="rId3" Type="http://schemas.openxmlformats.org/officeDocument/2006/relationships/hyperlink" Target="https://docs.microsoft.com/en-us/azure/app-service/deploy-ftp" TargetMode="External"/><Relationship Id="rId7" Type="http://schemas.openxmlformats.org/officeDocument/2006/relationships/hyperlink" Target="https://docs.microsoft.com/en-us/azure/app-service/deploy-local-git" TargetMode="External"/><Relationship Id="rId2" Type="http://schemas.openxmlformats.org/officeDocument/2006/relationships/hyperlink" Target="https://docs.microsoft.com/en-us/azure/app-service/deploy-zip" TargetMode="External"/><Relationship Id="rId1" Type="http://schemas.openxmlformats.org/officeDocument/2006/relationships/slideLayout" Target="../slideLayouts/slideLayout3.xml"/><Relationship Id="rId6" Type="http://schemas.openxmlformats.org/officeDocument/2006/relationships/hyperlink" Target="https://github.com/projectkudu/kudu/wiki/Continuous-deployment" TargetMode="External"/><Relationship Id="rId5" Type="http://schemas.openxmlformats.org/officeDocument/2006/relationships/hyperlink" Target="https://docs.microsoft.com/en-us/azure/app-service/deploy-continuous-deployment" TargetMode="External"/><Relationship Id="rId4" Type="http://schemas.openxmlformats.org/officeDocument/2006/relationships/hyperlink" Target="https://github.com/projectkudu/kudu/wiki/Accessing-files-via-ftp" TargetMode="External"/><Relationship Id="rId9" Type="http://schemas.openxmlformats.org/officeDocument/2006/relationships/hyperlink" Target="https://docs.microsoft.com/en-us/azure/azure-functions/run-functions-from-deployment-package"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docs.microsoft.com/en-us/azure/app-service/deploy-staging-slots" TargetMode="External"/><Relationship Id="rId2" Type="http://schemas.openxmlformats.org/officeDocument/2006/relationships/hyperlink" Target="https://docs.microsoft.com/en-us/azure/app-service/deploy-configure-credentials" TargetMode="External"/><Relationship Id="rId1" Type="http://schemas.openxmlformats.org/officeDocument/2006/relationships/slideLayout" Target="../slideLayouts/slideLayout3.xml"/><Relationship Id="rId4" Type="http://schemas.openxmlformats.org/officeDocument/2006/relationships/hyperlink" Target="https://github.com/projectkudu/kudu/wiki/Understanding-site-swap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ocs.microsoft.com/en-us/azure/app-service/app-service-authentication-how-to" TargetMode="External"/><Relationship Id="rId2" Type="http://schemas.openxmlformats.org/officeDocument/2006/relationships/hyperlink" Target="https://docs.microsoft.com/en-us/azure/app-service/configure-authentication-provider-aad" TargetMode="External"/><Relationship Id="rId1" Type="http://schemas.openxmlformats.org/officeDocument/2006/relationships/slideLayout" Target="../slideLayouts/slideLayout3.xml"/><Relationship Id="rId5" Type="http://schemas.openxmlformats.org/officeDocument/2006/relationships/hyperlink" Target="https://auth0.com/" TargetMode="External"/><Relationship Id="rId4" Type="http://schemas.openxmlformats.org/officeDocument/2006/relationships/hyperlink" Target="https://identityserver.io/"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app-service/troubleshoot-diagnostic-logs" TargetMode="External"/><Relationship Id="rId2" Type="http://schemas.openxmlformats.org/officeDocument/2006/relationships/hyperlink" Target="https://docs.microsoft.com/en-us/azure/azure-monitor/platform/autoscale-get-started" TargetMode="Externa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docs.microsoft.com/en-us/azure/app-service/webjobs-sdk-get-started" TargetMode="External"/><Relationship Id="rId2" Type="http://schemas.openxmlformats.org/officeDocument/2006/relationships/hyperlink" Target="https://docs.microsoft.com/en-us/azure/azure-functions/functions-compare-logic-apps-ms-flow-webjobs"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en.wikipedia.org/wiki/ACID" TargetMode="External"/><Relationship Id="rId2" Type="http://schemas.openxmlformats.org/officeDocument/2006/relationships/hyperlink" Target="https://en.wikipedia.org/wiki/Eventual_consistency" TargetMode="Externa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hyperlink" Target="https://docs.microsoft.com/en-us/azure/storage/blobs/storage-unstructured-search" TargetMode="External"/><Relationship Id="rId2" Type="http://schemas.openxmlformats.org/officeDocument/2006/relationships/hyperlink" Target="https://azure.microsoft.com/en-us/features/storage-explorer/" TargetMode="External"/><Relationship Id="rId1" Type="http://schemas.openxmlformats.org/officeDocument/2006/relationships/slideLayout" Target="../slideLayouts/slideLayout3.xml"/><Relationship Id="rId4" Type="http://schemas.openxmlformats.org/officeDocument/2006/relationships/hyperlink" Target="https://docs.microsoft.com/en-us/azure/storage/common/storage-introduction"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docs.microsoft.com/en-us/azure/storage/blobs/storage-blob-static-website-host" TargetMode="External"/><Relationship Id="rId7" Type="http://schemas.openxmlformats.org/officeDocument/2006/relationships/image" Target="../media/image26.png"/><Relationship Id="rId2" Type="http://schemas.openxmlformats.org/officeDocument/2006/relationships/hyperlink" Target="https://docs.microsoft.com/en-us/azure/storage/blobs/storage-blobs-introduction#blob-storage-resources" TargetMode="External"/><Relationship Id="rId1" Type="http://schemas.openxmlformats.org/officeDocument/2006/relationships/slideLayout" Target="../slideLayouts/slideLayout3.xml"/><Relationship Id="rId6" Type="http://schemas.openxmlformats.org/officeDocument/2006/relationships/hyperlink" Target="https://docs.microsoft.com/en-us/azure/storage/blobs/storage-blobs-overview" TargetMode="External"/><Relationship Id="rId5" Type="http://schemas.openxmlformats.org/officeDocument/2006/relationships/hyperlink" Target="https://docs.microsoft.com/en-us/azure/storage/common/storage-use-azcopy-migrate-on-premises-data" TargetMode="External"/><Relationship Id="rId4" Type="http://schemas.openxmlformats.org/officeDocument/2006/relationships/hyperlink" Target="https://docs.microsoft.com/en-us/azure/storage/common/storage-introduction#blob-storage"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storage/common/storage-dotnet-shared-access-signature-part-1" TargetMode="External"/><Relationship Id="rId2" Type="http://schemas.openxmlformats.org/officeDocument/2006/relationships/hyperlink" Target="https://docs.microsoft.com/en-us/rest/api/storageservices/authorize-with-shared-key" TargetMode="External"/><Relationship Id="rId1" Type="http://schemas.openxmlformats.org/officeDocument/2006/relationships/slideLayout" Target="../slideLayouts/slideLayout3.xml"/><Relationship Id="rId4" Type="http://schemas.openxmlformats.org/officeDocument/2006/relationships/hyperlink" Target="https://docs.microsoft.com/en-us/azure/storage/common/storage-auth-aad"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docs.microsoft.com/en-us/azure/storage/blobs/storage-blob-event-overview"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3" Type="http://schemas.openxmlformats.org/officeDocument/2006/relationships/hyperlink" Target="https://docs.microsoft.com/en-us/azure/app-service/overview-compare" TargetMode="External"/><Relationship Id="rId2" Type="http://schemas.openxmlformats.org/officeDocument/2006/relationships/hyperlink" Target="https://docs.microsoft.com/en-us/azure/azure-functions/" TargetMode="Externa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100.xml"/><Relationship Id="rId4" Type="http://schemas.openxmlformats.org/officeDocument/2006/relationships/image" Target="../media/image31.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9.xml"/></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5.svg"/><Relationship Id="rId2" Type="http://schemas.openxmlformats.org/officeDocument/2006/relationships/notesSlide" Target="../notesSlides/notesSlide5.xml"/><Relationship Id="rId1" Type="http://schemas.openxmlformats.org/officeDocument/2006/relationships/slideLayout" Target="../slideLayouts/slideLayout106.xml"/><Relationship Id="rId6" Type="http://schemas.openxmlformats.org/officeDocument/2006/relationships/image" Target="../media/image30.png"/><Relationship Id="rId5" Type="http://schemas.openxmlformats.org/officeDocument/2006/relationships/image" Target="../media/image34.png"/><Relationship Id="rId4" Type="http://schemas.openxmlformats.org/officeDocument/2006/relationships/image" Target="../media/image3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7.png"/><Relationship Id="rId18" Type="http://schemas.openxmlformats.org/officeDocument/2006/relationships/image" Target="../media/image52.png"/><Relationship Id="rId26" Type="http://schemas.openxmlformats.org/officeDocument/2006/relationships/image" Target="../media/image60.jpg"/><Relationship Id="rId39" Type="http://schemas.openxmlformats.org/officeDocument/2006/relationships/image" Target="../media/image73.png"/><Relationship Id="rId3" Type="http://schemas.openxmlformats.org/officeDocument/2006/relationships/image" Target="../media/image38.png"/><Relationship Id="rId21" Type="http://schemas.openxmlformats.org/officeDocument/2006/relationships/image" Target="../media/image55.png"/><Relationship Id="rId34" Type="http://schemas.openxmlformats.org/officeDocument/2006/relationships/image" Target="../media/image68.png"/><Relationship Id="rId7" Type="http://schemas.openxmlformats.org/officeDocument/2006/relationships/image" Target="../media/image42.png"/><Relationship Id="rId12" Type="http://schemas.openxmlformats.org/officeDocument/2006/relationships/image" Target="../media/image46.jpg"/><Relationship Id="rId17" Type="http://schemas.openxmlformats.org/officeDocument/2006/relationships/image" Target="../media/image51.jpg"/><Relationship Id="rId25" Type="http://schemas.openxmlformats.org/officeDocument/2006/relationships/image" Target="../media/image59.png"/><Relationship Id="rId33" Type="http://schemas.openxmlformats.org/officeDocument/2006/relationships/image" Target="../media/image67.png"/><Relationship Id="rId38" Type="http://schemas.openxmlformats.org/officeDocument/2006/relationships/image" Target="../media/image72.png"/><Relationship Id="rId2" Type="http://schemas.openxmlformats.org/officeDocument/2006/relationships/notesSlide" Target="../notesSlides/notesSlide6.xml"/><Relationship Id="rId16" Type="http://schemas.openxmlformats.org/officeDocument/2006/relationships/image" Target="../media/image50.png"/><Relationship Id="rId20" Type="http://schemas.openxmlformats.org/officeDocument/2006/relationships/image" Target="../media/image54.png"/><Relationship Id="rId29" Type="http://schemas.openxmlformats.org/officeDocument/2006/relationships/image" Target="../media/image63.png"/><Relationship Id="rId1" Type="http://schemas.openxmlformats.org/officeDocument/2006/relationships/slideLayout" Target="../slideLayouts/slideLayout22.xml"/><Relationship Id="rId6" Type="http://schemas.openxmlformats.org/officeDocument/2006/relationships/image" Target="../media/image41.png"/><Relationship Id="rId11" Type="http://schemas.openxmlformats.org/officeDocument/2006/relationships/image" Target="../media/image45.png"/><Relationship Id="rId24" Type="http://schemas.openxmlformats.org/officeDocument/2006/relationships/image" Target="../media/image58.png"/><Relationship Id="rId32" Type="http://schemas.openxmlformats.org/officeDocument/2006/relationships/image" Target="../media/image66.jpg"/><Relationship Id="rId37" Type="http://schemas.openxmlformats.org/officeDocument/2006/relationships/image" Target="../media/image71.png"/><Relationship Id="rId40" Type="http://schemas.microsoft.com/office/2007/relationships/hdphoto" Target="../media/hdphoto2.wdp"/><Relationship Id="rId5" Type="http://schemas.openxmlformats.org/officeDocument/2006/relationships/image" Target="../media/image40.png"/><Relationship Id="rId15" Type="http://schemas.openxmlformats.org/officeDocument/2006/relationships/image" Target="../media/image49.jpg"/><Relationship Id="rId23" Type="http://schemas.openxmlformats.org/officeDocument/2006/relationships/image" Target="../media/image57.png"/><Relationship Id="rId28" Type="http://schemas.openxmlformats.org/officeDocument/2006/relationships/image" Target="../media/image62.png"/><Relationship Id="rId36" Type="http://schemas.openxmlformats.org/officeDocument/2006/relationships/image" Target="../media/image70.png"/><Relationship Id="rId10" Type="http://schemas.openxmlformats.org/officeDocument/2006/relationships/image" Target="../media/image44.png"/><Relationship Id="rId19" Type="http://schemas.openxmlformats.org/officeDocument/2006/relationships/image" Target="../media/image53.png"/><Relationship Id="rId31" Type="http://schemas.openxmlformats.org/officeDocument/2006/relationships/image" Target="../media/image65.jpg"/><Relationship Id="rId4" Type="http://schemas.openxmlformats.org/officeDocument/2006/relationships/image" Target="../media/image39.png"/><Relationship Id="rId9" Type="http://schemas.openxmlformats.org/officeDocument/2006/relationships/image" Target="../media/image43.png"/><Relationship Id="rId14" Type="http://schemas.openxmlformats.org/officeDocument/2006/relationships/image" Target="../media/image48.png"/><Relationship Id="rId22" Type="http://schemas.openxmlformats.org/officeDocument/2006/relationships/image" Target="../media/image56.png"/><Relationship Id="rId27" Type="http://schemas.openxmlformats.org/officeDocument/2006/relationships/image" Target="../media/image61.jpg"/><Relationship Id="rId30" Type="http://schemas.openxmlformats.org/officeDocument/2006/relationships/image" Target="../media/image64.png"/><Relationship Id="rId35" Type="http://schemas.openxmlformats.org/officeDocument/2006/relationships/image" Target="../media/image69.png"/></Relationships>
</file>

<file path=ppt/slides/_rels/slide39.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image" Target="../media/image75.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image" Target="../media/image74.png"/><Relationship Id="rId1" Type="http://schemas.openxmlformats.org/officeDocument/2006/relationships/slideLayout" Target="../slideLayouts/slideLayout40.xml"/><Relationship Id="rId6" Type="http://schemas.openxmlformats.org/officeDocument/2006/relationships/image" Target="../media/image77.emf"/><Relationship Id="rId11" Type="http://schemas.openxmlformats.org/officeDocument/2006/relationships/image" Target="../media/image82.png"/><Relationship Id="rId5" Type="http://schemas.openxmlformats.org/officeDocument/2006/relationships/image" Target="../media/image68.png"/><Relationship Id="rId10" Type="http://schemas.openxmlformats.org/officeDocument/2006/relationships/image" Target="../media/image81.png"/><Relationship Id="rId4" Type="http://schemas.openxmlformats.org/officeDocument/2006/relationships/image" Target="../media/image76.emf"/><Relationship Id="rId9" Type="http://schemas.openxmlformats.org/officeDocument/2006/relationships/image" Target="../media/image80.png"/></Relationships>
</file>

<file path=ppt/slides/_rels/slide4.xml.rels><?xml version="1.0" encoding="UTF-8" standalone="yes"?>
<Relationships xmlns="http://schemas.openxmlformats.org/package/2006/relationships"><Relationship Id="rId3" Type="http://schemas.openxmlformats.org/officeDocument/2006/relationships/hyperlink" Target="https://azure.microsoft.com/en-us/pricing/details/app-service/windows/" TargetMode="External"/><Relationship Id="rId2" Type="http://schemas.openxmlformats.org/officeDocument/2006/relationships/hyperlink" Target="https://docs.microsoft.com/en-us/azure/app-service/environment/intro" TargetMode="External"/><Relationship Id="rId1" Type="http://schemas.openxmlformats.org/officeDocument/2006/relationships/slideLayout" Target="../slideLayouts/slideLayout3.xml"/><Relationship Id="rId5" Type="http://schemas.openxmlformats.org/officeDocument/2006/relationships/hyperlink" Target="https://github.com/projectkudu/kudu/wiki/Azure-Web-App-sandbox" TargetMode="External"/><Relationship Id="rId4" Type="http://schemas.openxmlformats.org/officeDocument/2006/relationships/hyperlink" Target="https://github.com/projectkudu/kudu/wiki"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7.emf"/><Relationship Id="rId13" Type="http://schemas.openxmlformats.org/officeDocument/2006/relationships/image" Target="../media/image92.jpeg"/><Relationship Id="rId18" Type="http://schemas.openxmlformats.org/officeDocument/2006/relationships/image" Target="../media/image97.png"/><Relationship Id="rId3" Type="http://schemas.openxmlformats.org/officeDocument/2006/relationships/image" Target="../media/image78.png"/><Relationship Id="rId21" Type="http://schemas.openxmlformats.org/officeDocument/2006/relationships/image" Target="../media/image83.png"/><Relationship Id="rId7" Type="http://schemas.openxmlformats.org/officeDocument/2006/relationships/image" Target="../media/image87.png"/><Relationship Id="rId12" Type="http://schemas.openxmlformats.org/officeDocument/2006/relationships/image" Target="../media/image91.png"/><Relationship Id="rId17" Type="http://schemas.openxmlformats.org/officeDocument/2006/relationships/image" Target="../media/image96.png"/><Relationship Id="rId2" Type="http://schemas.openxmlformats.org/officeDocument/2006/relationships/image" Target="../media/image74.png"/><Relationship Id="rId16" Type="http://schemas.openxmlformats.org/officeDocument/2006/relationships/image" Target="../media/image95.png"/><Relationship Id="rId20" Type="http://schemas.openxmlformats.org/officeDocument/2006/relationships/image" Target="../media/image82.png"/><Relationship Id="rId1" Type="http://schemas.openxmlformats.org/officeDocument/2006/relationships/slideLayout" Target="../slideLayouts/slideLayout40.xml"/><Relationship Id="rId6" Type="http://schemas.openxmlformats.org/officeDocument/2006/relationships/image" Target="../media/image86.png"/><Relationship Id="rId11" Type="http://schemas.openxmlformats.org/officeDocument/2006/relationships/image" Target="../media/image90.png"/><Relationship Id="rId5" Type="http://schemas.openxmlformats.org/officeDocument/2006/relationships/image" Target="../media/image85.png"/><Relationship Id="rId15" Type="http://schemas.openxmlformats.org/officeDocument/2006/relationships/image" Target="../media/image94.png"/><Relationship Id="rId10" Type="http://schemas.openxmlformats.org/officeDocument/2006/relationships/image" Target="../media/image89.png"/><Relationship Id="rId19" Type="http://schemas.openxmlformats.org/officeDocument/2006/relationships/image" Target="../media/image98.png"/><Relationship Id="rId4" Type="http://schemas.openxmlformats.org/officeDocument/2006/relationships/image" Target="../media/image79.png"/><Relationship Id="rId9" Type="http://schemas.openxmlformats.org/officeDocument/2006/relationships/image" Target="../media/image88.jpeg"/><Relationship Id="rId14" Type="http://schemas.openxmlformats.org/officeDocument/2006/relationships/image" Target="../media/image93.png"/><Relationship Id="rId22" Type="http://schemas.openxmlformats.org/officeDocument/2006/relationships/image" Target="../media/image84.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41.xml"/><Relationship Id="rId5" Type="http://schemas.openxmlformats.org/officeDocument/2006/relationships/image" Target="../media/image102.png"/><Relationship Id="rId4" Type="http://schemas.openxmlformats.org/officeDocument/2006/relationships/image" Target="../media/image101.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hyperlink" Target="https://azure.microsoft.com/en-us/documentation/articles/resource-group-linked-templates/" TargetMode="External"/><Relationship Id="rId2" Type="http://schemas.openxmlformats.org/officeDocument/2006/relationships/hyperlink" Target="https://azure.microsoft.com/en-us/documentation/articles/resource-group-template-functions/" TargetMode="External"/><Relationship Id="rId1" Type="http://schemas.openxmlformats.org/officeDocument/2006/relationships/slideLayout" Target="../slideLayouts/slideLayout18.xml"/><Relationship Id="rId6" Type="http://schemas.openxmlformats.org/officeDocument/2006/relationships/hyperlink" Target="https://docs.microsoft.com/en-us/azure/azure-resource-manager/resource-manager-keyvault-parameter#reference-secrets-with-static-id" TargetMode="External"/><Relationship Id="rId5" Type="http://schemas.openxmlformats.org/officeDocument/2006/relationships/hyperlink" Target="https://azure.microsoft.com/en-us/documentation/articles/best-practices-resource-manager-design-templates/" TargetMode="External"/><Relationship Id="rId4" Type="http://schemas.openxmlformats.org/officeDocument/2006/relationships/hyperlink" Target="https://azure.microsoft.com/en-us/documentation/articles/resource-group-create-multiple/"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hyperlink" Target="https://azure.microsoft.com/en-us/features/devops-projects/" TargetMode="Externa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azure/devops/pipelines/get-started/key-pipelines-concepts" TargetMode="External"/><Relationship Id="rId2" Type="http://schemas.openxmlformats.org/officeDocument/2006/relationships/hyperlink" Target="https://docs.microsoft.com/en-us/azure/devops/pipelines/languages/dotnet-core" TargetMode="Externa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s://github.com/MicrosoftDocs/pipelines-dotnet-core/blob/master/azure-pipelines.yml" TargetMode="External"/><Relationship Id="rId1" Type="http://schemas.openxmlformats.org/officeDocument/2006/relationships/slideLayout" Target="../slideLayouts/slideLayout5.xml"/><Relationship Id="rId4" Type="http://schemas.openxmlformats.org/officeDocument/2006/relationships/image" Target="../media/image105.png"/></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projectkudu/kudu/wiki/Node-versioning" TargetMode="External"/><Relationship Id="rId2" Type="http://schemas.openxmlformats.org/officeDocument/2006/relationships/hyperlink" Target="https://docs.microsoft.com/en-us/azure/app-service/web-sites-configure" TargetMode="External"/><Relationship Id="rId1" Type="http://schemas.openxmlformats.org/officeDocument/2006/relationships/slideLayout" Target="../slideLayouts/slideLayout3.xml"/><Relationship Id="rId5" Type="http://schemas.openxmlformats.org/officeDocument/2006/relationships/hyperlink" Target="https://docs.microsoft.com/en-us/azure/app-service/app-service-key-vault-references" TargetMode="External"/><Relationship Id="rId4" Type="http://schemas.openxmlformats.org/officeDocument/2006/relationships/hyperlink" Target="https://docs.microsoft.com/en-us/azure/app-service/overview-managed-identity" TargetMode="External"/></Relationships>
</file>

<file path=ppt/slides/_rels/slide5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https://docs.microsoft.com/en-us/azure/key-vault/"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hyperlink" Target="https://docs.microsoft.com/en-us/azure/active-directory/managed-service-identity/services-support-msi"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24"/>
          </p:nvPr>
        </p:nvSpPr>
        <p:spPr/>
        <p:txBody>
          <a:bodyPr/>
          <a:lstStyle/>
          <a:p>
            <a:r>
              <a:rPr lang="de-AT" dirty="0"/>
              <a:t>Azure Training</a:t>
            </a:r>
            <a:endParaRPr lang="en-US" dirty="0"/>
          </a:p>
        </p:txBody>
      </p:sp>
      <p:pic>
        <p:nvPicPr>
          <p:cNvPr id="21" name="Content Placeholder 23"/>
          <p:cNvPicPr>
            <a:picLocks noGrp="1" noChangeAspect="1"/>
          </p:cNvPicPr>
          <p:nvPr>
            <p:ph sz="quarter" idx="20"/>
          </p:nvPr>
        </p:nvPicPr>
        <p:blipFill>
          <a:blip r:embed="rId2" cstate="print">
            <a:extLst>
              <a:ext uri="{28A0092B-C50C-407E-A947-70E740481C1C}">
                <a14:useLocalDpi xmlns:a14="http://schemas.microsoft.com/office/drawing/2010/main" val="0"/>
              </a:ext>
            </a:extLst>
          </a:blip>
          <a:stretch>
            <a:fillRect/>
          </a:stretch>
        </p:blipFill>
        <p:spPr/>
      </p:pic>
      <p:sp>
        <p:nvSpPr>
          <p:cNvPr id="13" name="Title 12"/>
          <p:cNvSpPr>
            <a:spLocks noGrp="1"/>
          </p:cNvSpPr>
          <p:nvPr>
            <p:ph type="title"/>
          </p:nvPr>
        </p:nvSpPr>
        <p:spPr/>
        <p:txBody>
          <a:bodyPr/>
          <a:lstStyle/>
          <a:p>
            <a:r>
              <a:rPr lang="de-AT" dirty="0"/>
              <a:t>Azure</a:t>
            </a:r>
            <a:endParaRPr lang="en-US" dirty="0"/>
          </a:p>
        </p:txBody>
      </p:sp>
      <p:sp>
        <p:nvSpPr>
          <p:cNvPr id="14" name="Text Placeholder 13"/>
          <p:cNvSpPr>
            <a:spLocks noGrp="1"/>
          </p:cNvSpPr>
          <p:nvPr>
            <p:ph type="body" sz="quarter" idx="12"/>
          </p:nvPr>
        </p:nvSpPr>
        <p:spPr/>
        <p:txBody>
          <a:bodyPr/>
          <a:lstStyle/>
          <a:p>
            <a:r>
              <a:rPr lang="de-AT"/>
              <a:t>Rainer Stropek</a:t>
            </a:r>
            <a:endParaRPr lang="en-US" dirty="0"/>
          </a:p>
        </p:txBody>
      </p:sp>
      <p:sp>
        <p:nvSpPr>
          <p:cNvPr id="31" name="Text Placeholder 30"/>
          <p:cNvSpPr>
            <a:spLocks noGrp="1"/>
          </p:cNvSpPr>
          <p:nvPr>
            <p:ph type="body" sz="quarter" idx="13"/>
          </p:nvPr>
        </p:nvSpPr>
        <p:spPr/>
        <p:txBody>
          <a:bodyPr/>
          <a:lstStyle/>
          <a:p>
            <a:r>
              <a:rPr lang="de-AT" dirty="0" err="1"/>
              <a:t>software</a:t>
            </a:r>
            <a:r>
              <a:rPr lang="de-AT" dirty="0"/>
              <a:t> </a:t>
            </a:r>
            <a:r>
              <a:rPr lang="de-AT" dirty="0" err="1"/>
              <a:t>architects</a:t>
            </a:r>
            <a:r>
              <a:rPr lang="de-AT" dirty="0"/>
              <a:t> </a:t>
            </a:r>
            <a:r>
              <a:rPr lang="de-AT" dirty="0" err="1"/>
              <a:t>gmbh</a:t>
            </a:r>
            <a:endParaRPr lang="en-US" dirty="0"/>
          </a:p>
        </p:txBody>
      </p:sp>
      <p:sp>
        <p:nvSpPr>
          <p:cNvPr id="16" name="Text Placeholder 15"/>
          <p:cNvSpPr>
            <a:spLocks noGrp="1"/>
          </p:cNvSpPr>
          <p:nvPr>
            <p:ph type="body" sz="quarter" idx="15"/>
          </p:nvPr>
        </p:nvSpPr>
        <p:spPr/>
        <p:txBody>
          <a:bodyPr/>
          <a:lstStyle/>
          <a:p>
            <a:r>
              <a:rPr lang="de-AT">
                <a:hlinkClick r:id="rId3"/>
              </a:rPr>
              <a:t>http://www.timecockpit.com</a:t>
            </a:r>
            <a:endParaRPr lang="de-AT"/>
          </a:p>
          <a:p>
            <a:r>
              <a:rPr lang="de-AT">
                <a:hlinkClick r:id="rId4"/>
              </a:rPr>
              <a:t>rainer@timecockpit.com</a:t>
            </a:r>
            <a:endParaRPr lang="de-AT"/>
          </a:p>
          <a:p>
            <a:r>
              <a:rPr lang="de-AT"/>
              <a:t>@rstropek</a:t>
            </a:r>
            <a:endParaRPr lang="en-US" dirty="0"/>
          </a:p>
        </p:txBody>
      </p:sp>
      <p:sp>
        <p:nvSpPr>
          <p:cNvPr id="19" name="Text Placeholder 18"/>
          <p:cNvSpPr>
            <a:spLocks noGrp="1"/>
          </p:cNvSpPr>
          <p:nvPr>
            <p:ph type="body" sz="quarter" idx="25"/>
          </p:nvPr>
        </p:nvSpPr>
        <p:spPr/>
        <p:txBody>
          <a:bodyPr/>
          <a:lstStyle/>
          <a:p>
            <a:r>
              <a:rPr lang="de-AT" dirty="0"/>
              <a:t>For Developers</a:t>
            </a:r>
            <a:endParaRPr lang="en-US" dirty="0"/>
          </a:p>
        </p:txBody>
      </p:sp>
      <p:sp>
        <p:nvSpPr>
          <p:cNvPr id="20" name="Text Placeholder 19"/>
          <p:cNvSpPr>
            <a:spLocks noGrp="1"/>
          </p:cNvSpPr>
          <p:nvPr>
            <p:ph type="body" sz="quarter" idx="26"/>
          </p:nvPr>
        </p:nvSpPr>
        <p:spPr/>
        <p:txBody>
          <a:bodyPr/>
          <a:lstStyle/>
          <a:p>
            <a:r>
              <a:rPr lang="de-AT" dirty="0"/>
              <a:t>Web</a:t>
            </a:r>
          </a:p>
          <a:p>
            <a:r>
              <a:rPr lang="de-AT" dirty="0"/>
              <a:t>Mail</a:t>
            </a:r>
          </a:p>
          <a:p>
            <a:r>
              <a:rPr lang="de-AT" dirty="0"/>
              <a:t>Twitter</a:t>
            </a:r>
            <a:endParaRPr lang="en-US" dirty="0"/>
          </a:p>
        </p:txBody>
      </p:sp>
    </p:spTree>
    <p:extLst>
      <p:ext uri="{BB962C8B-B14F-4D97-AF65-F5344CB8AC3E}">
        <p14:creationId xmlns:p14="http://schemas.microsoft.com/office/powerpoint/2010/main" val="254356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B1563F-D2F4-4FAB-9F28-03BB6B45222E}"/>
              </a:ext>
            </a:extLst>
          </p:cNvPr>
          <p:cNvSpPr>
            <a:spLocks noGrp="1"/>
          </p:cNvSpPr>
          <p:nvPr>
            <p:ph type="title"/>
          </p:nvPr>
        </p:nvSpPr>
        <p:spPr/>
        <p:txBody>
          <a:bodyPr/>
          <a:lstStyle/>
          <a:p>
            <a:r>
              <a:rPr lang="en-US"/>
              <a:t>Tips</a:t>
            </a:r>
          </a:p>
        </p:txBody>
      </p:sp>
      <p:sp>
        <p:nvSpPr>
          <p:cNvPr id="7" name="Content Placeholder 6">
            <a:extLst>
              <a:ext uri="{FF2B5EF4-FFF2-40B4-BE49-F238E27FC236}">
                <a16:creationId xmlns:a16="http://schemas.microsoft.com/office/drawing/2014/main" id="{003B43A1-CC99-4761-A0A0-22B0F2F22962}"/>
              </a:ext>
            </a:extLst>
          </p:cNvPr>
          <p:cNvSpPr>
            <a:spLocks noGrp="1"/>
          </p:cNvSpPr>
          <p:nvPr>
            <p:ph sz="quarter" idx="12"/>
          </p:nvPr>
        </p:nvSpPr>
        <p:spPr>
          <a:xfrm>
            <a:off x="683568" y="1203598"/>
            <a:ext cx="8208913" cy="3939902"/>
          </a:xfrm>
        </p:spPr>
        <p:txBody>
          <a:bodyPr/>
          <a:lstStyle/>
          <a:p>
            <a:r>
              <a:rPr lang="en-US" dirty="0"/>
              <a:t>What if my environment doesn‘t support MSI (yet)?</a:t>
            </a:r>
          </a:p>
          <a:p>
            <a:pPr lvl="1"/>
            <a:r>
              <a:rPr lang="en-US" dirty="0"/>
              <a:t>Examples: Locally running </a:t>
            </a:r>
            <a:r>
              <a:rPr lang="en-US" i="1" dirty="0"/>
              <a:t>Service Fabric</a:t>
            </a:r>
            <a:r>
              <a:rPr lang="en-US" dirty="0"/>
              <a:t>, </a:t>
            </a:r>
            <a:r>
              <a:rPr lang="en-US" i="1" dirty="0"/>
              <a:t>Azure Batch</a:t>
            </a:r>
          </a:p>
          <a:p>
            <a:pPr lvl="1"/>
            <a:r>
              <a:rPr lang="en-US" dirty="0"/>
              <a:t>Solution: Use a </a:t>
            </a:r>
            <a:r>
              <a:rPr lang="en-US" i="1" dirty="0"/>
              <a:t>Service Principal </a:t>
            </a:r>
            <a:r>
              <a:rPr lang="en-US" dirty="0"/>
              <a:t>(</a:t>
            </a:r>
            <a:r>
              <a:rPr lang="en-US" dirty="0">
                <a:hlinkClick r:id="rId2"/>
              </a:rPr>
              <a:t>details</a:t>
            </a:r>
            <a:r>
              <a:rPr lang="en-US" dirty="0"/>
              <a:t>)</a:t>
            </a:r>
          </a:p>
          <a:p>
            <a:r>
              <a:rPr lang="en-US" i="1" dirty="0"/>
              <a:t>User Assigned Identities</a:t>
            </a:r>
          </a:p>
          <a:p>
            <a:pPr lvl="1"/>
            <a:r>
              <a:rPr lang="en-US" dirty="0"/>
              <a:t>Currently in preview</a:t>
            </a:r>
          </a:p>
          <a:p>
            <a:pPr lvl="1"/>
            <a:r>
              <a:rPr lang="en-US" dirty="0"/>
              <a:t>Explicitly created (e.g. Azure CLI; </a:t>
            </a:r>
            <a:r>
              <a:rPr lang="en-US" dirty="0">
                <a:hlinkClick r:id="rId3"/>
              </a:rPr>
              <a:t>details</a:t>
            </a:r>
            <a:r>
              <a:rPr lang="en-US" dirty="0"/>
              <a:t>)</a:t>
            </a:r>
          </a:p>
          <a:p>
            <a:pPr lvl="1"/>
            <a:r>
              <a:rPr lang="en-US" dirty="0"/>
              <a:t>Can be assigned to multiple Azure service instances</a:t>
            </a:r>
          </a:p>
        </p:txBody>
      </p:sp>
      <p:sp>
        <p:nvSpPr>
          <p:cNvPr id="8" name="Text Placeholder 7">
            <a:extLst>
              <a:ext uri="{FF2B5EF4-FFF2-40B4-BE49-F238E27FC236}">
                <a16:creationId xmlns:a16="http://schemas.microsoft.com/office/drawing/2014/main" id="{02D073B6-EDDA-437E-8D67-03D6163BE64A}"/>
              </a:ext>
            </a:extLst>
          </p:cNvPr>
          <p:cNvSpPr>
            <a:spLocks noGrp="1"/>
          </p:cNvSpPr>
          <p:nvPr>
            <p:ph type="body" sz="quarter" idx="23"/>
          </p:nvPr>
        </p:nvSpPr>
        <p:spPr/>
        <p:txBody>
          <a:bodyPr/>
          <a:lstStyle/>
          <a:p>
            <a:endParaRPr lang="en-US"/>
          </a:p>
        </p:txBody>
      </p:sp>
    </p:spTree>
    <p:extLst>
      <p:ext uri="{BB962C8B-B14F-4D97-AF65-F5344CB8AC3E}">
        <p14:creationId xmlns:p14="http://schemas.microsoft.com/office/powerpoint/2010/main" val="2281587970"/>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6B721-9567-4CAD-AB89-7C54A169197C}"/>
              </a:ext>
            </a:extLst>
          </p:cNvPr>
          <p:cNvSpPr>
            <a:spLocks noGrp="1"/>
          </p:cNvSpPr>
          <p:nvPr>
            <p:ph type="title"/>
          </p:nvPr>
        </p:nvSpPr>
        <p:spPr/>
        <p:txBody>
          <a:bodyPr/>
          <a:lstStyle/>
          <a:p>
            <a:r>
              <a:rPr lang="de-AT" dirty="0" err="1"/>
              <a:t>Deployment</a:t>
            </a:r>
            <a:r>
              <a:rPr lang="de-AT" dirty="0"/>
              <a:t> Options</a:t>
            </a:r>
          </a:p>
        </p:txBody>
      </p:sp>
      <p:sp>
        <p:nvSpPr>
          <p:cNvPr id="3" name="Content Placeholder 2">
            <a:extLst>
              <a:ext uri="{FF2B5EF4-FFF2-40B4-BE49-F238E27FC236}">
                <a16:creationId xmlns:a16="http://schemas.microsoft.com/office/drawing/2014/main" id="{74528F5E-2ADA-468B-8E22-1EF522921395}"/>
              </a:ext>
            </a:extLst>
          </p:cNvPr>
          <p:cNvSpPr>
            <a:spLocks noGrp="1"/>
          </p:cNvSpPr>
          <p:nvPr>
            <p:ph sz="quarter" idx="12"/>
          </p:nvPr>
        </p:nvSpPr>
        <p:spPr/>
        <p:txBody>
          <a:bodyPr/>
          <a:lstStyle/>
          <a:p>
            <a:r>
              <a:rPr lang="de-AT" dirty="0"/>
              <a:t>Options</a:t>
            </a:r>
          </a:p>
          <a:p>
            <a:pPr lvl="1"/>
            <a:r>
              <a:rPr lang="de-AT" dirty="0"/>
              <a:t>ZIP: </a:t>
            </a:r>
            <a:r>
              <a:rPr lang="de-AT" dirty="0">
                <a:hlinkClick r:id="rId2"/>
              </a:rPr>
              <a:t>https://docs.microsoft.com/en-us/azure/app-service/deploy-zip</a:t>
            </a:r>
            <a:endParaRPr lang="de-AT" dirty="0"/>
          </a:p>
          <a:p>
            <a:pPr lvl="1"/>
            <a:r>
              <a:rPr lang="de-AT" dirty="0"/>
              <a:t>FTP: </a:t>
            </a:r>
            <a:r>
              <a:rPr lang="de-AT" dirty="0">
                <a:hlinkClick r:id="rId3"/>
              </a:rPr>
              <a:t>https://docs.microsoft.com/en-us/azure/app-service/deploy-ftp</a:t>
            </a:r>
            <a:br>
              <a:rPr lang="de-AT" dirty="0"/>
            </a:br>
            <a:r>
              <a:rPr lang="de-AT" dirty="0"/>
              <a:t>       </a:t>
            </a:r>
            <a:r>
              <a:rPr lang="de-AT" dirty="0">
                <a:hlinkClick r:id="rId4"/>
              </a:rPr>
              <a:t>https://github.com/projectkudu/kudu/wiki/Accessing-files-via-ftp</a:t>
            </a:r>
            <a:r>
              <a:rPr lang="de-AT" dirty="0"/>
              <a:t> </a:t>
            </a:r>
          </a:p>
          <a:p>
            <a:pPr lvl="1"/>
            <a:r>
              <a:rPr lang="de-AT" b="1" dirty="0">
                <a:solidFill>
                  <a:schemeClr val="accent2"/>
                </a:solidFill>
              </a:rPr>
              <a:t>CI/CD</a:t>
            </a:r>
            <a:r>
              <a:rPr lang="de-AT" dirty="0"/>
              <a:t>: </a:t>
            </a:r>
            <a:r>
              <a:rPr lang="de-AT" dirty="0">
                <a:hlinkClick r:id="rId5"/>
              </a:rPr>
              <a:t>https://docs.microsoft.com/en-us/azure/app-service/deploy-continuous-deployment</a:t>
            </a:r>
            <a:br>
              <a:rPr lang="de-AT" dirty="0"/>
            </a:br>
            <a:r>
              <a:rPr lang="de-AT" dirty="0"/>
              <a:t>           </a:t>
            </a:r>
            <a:r>
              <a:rPr lang="de-AT" dirty="0">
                <a:hlinkClick r:id="rId6"/>
              </a:rPr>
              <a:t>https://github.com/projectkudu/kudu/wiki/Continuous-deployment</a:t>
            </a:r>
            <a:r>
              <a:rPr lang="de-AT" dirty="0"/>
              <a:t> </a:t>
            </a:r>
          </a:p>
          <a:p>
            <a:pPr lvl="1"/>
            <a:r>
              <a:rPr lang="de-AT" dirty="0" err="1"/>
              <a:t>Git</a:t>
            </a:r>
            <a:r>
              <a:rPr lang="de-AT" dirty="0"/>
              <a:t>: </a:t>
            </a:r>
            <a:r>
              <a:rPr lang="de-AT" dirty="0">
                <a:hlinkClick r:id="rId7"/>
              </a:rPr>
              <a:t>https://docs.microsoft.com/en-us/azure/app-service/deploy-local-git</a:t>
            </a:r>
            <a:endParaRPr lang="de-AT" dirty="0"/>
          </a:p>
          <a:p>
            <a:pPr lvl="1"/>
            <a:r>
              <a:rPr lang="de-AT" dirty="0"/>
              <a:t>„Monaco“: </a:t>
            </a:r>
            <a:r>
              <a:rPr lang="de-AT" dirty="0">
                <a:hlinkClick r:id="rId8"/>
              </a:rPr>
              <a:t>https://github.com/projectkudu/kudu/wiki/App-Service-Editor</a:t>
            </a:r>
            <a:endParaRPr lang="de-AT" dirty="0"/>
          </a:p>
          <a:p>
            <a:pPr lvl="1"/>
            <a:r>
              <a:rPr lang="de-AT" dirty="0"/>
              <a:t>New: Run from Package (</a:t>
            </a:r>
            <a:r>
              <a:rPr lang="de-AT" dirty="0" err="1">
                <a:hlinkClick r:id="rId9"/>
              </a:rPr>
              <a:t>docs</a:t>
            </a:r>
            <a:r>
              <a:rPr lang="de-AT" dirty="0"/>
              <a:t>)</a:t>
            </a:r>
          </a:p>
        </p:txBody>
      </p:sp>
      <p:sp>
        <p:nvSpPr>
          <p:cNvPr id="4" name="Text Placeholder 3">
            <a:extLst>
              <a:ext uri="{FF2B5EF4-FFF2-40B4-BE49-F238E27FC236}">
                <a16:creationId xmlns:a16="http://schemas.microsoft.com/office/drawing/2014/main" id="{B379151B-07F8-470C-BC8A-AB009029B45B}"/>
              </a:ext>
            </a:extLst>
          </p:cNvPr>
          <p:cNvSpPr>
            <a:spLocks noGrp="1"/>
          </p:cNvSpPr>
          <p:nvPr>
            <p:ph type="body" sz="quarter" idx="23"/>
          </p:nvPr>
        </p:nvSpPr>
        <p:spPr/>
        <p:txBody>
          <a:bodyPr/>
          <a:lstStyle/>
          <a:p>
            <a:endParaRPr lang="de-AT" dirty="0"/>
          </a:p>
        </p:txBody>
      </p:sp>
    </p:spTree>
    <p:extLst>
      <p:ext uri="{BB962C8B-B14F-4D97-AF65-F5344CB8AC3E}">
        <p14:creationId xmlns:p14="http://schemas.microsoft.com/office/powerpoint/2010/main" val="2076479423"/>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6B721-9567-4CAD-AB89-7C54A169197C}"/>
              </a:ext>
            </a:extLst>
          </p:cNvPr>
          <p:cNvSpPr>
            <a:spLocks noGrp="1"/>
          </p:cNvSpPr>
          <p:nvPr>
            <p:ph type="title"/>
          </p:nvPr>
        </p:nvSpPr>
        <p:spPr/>
        <p:txBody>
          <a:bodyPr/>
          <a:lstStyle/>
          <a:p>
            <a:r>
              <a:rPr lang="de-AT" dirty="0" err="1"/>
              <a:t>Deployment</a:t>
            </a:r>
            <a:r>
              <a:rPr lang="de-AT" dirty="0"/>
              <a:t> Options</a:t>
            </a:r>
          </a:p>
        </p:txBody>
      </p:sp>
      <p:sp>
        <p:nvSpPr>
          <p:cNvPr id="3" name="Content Placeholder 2">
            <a:extLst>
              <a:ext uri="{FF2B5EF4-FFF2-40B4-BE49-F238E27FC236}">
                <a16:creationId xmlns:a16="http://schemas.microsoft.com/office/drawing/2014/main" id="{74528F5E-2ADA-468B-8E22-1EF522921395}"/>
              </a:ext>
            </a:extLst>
          </p:cNvPr>
          <p:cNvSpPr>
            <a:spLocks noGrp="1"/>
          </p:cNvSpPr>
          <p:nvPr>
            <p:ph sz="quarter" idx="12"/>
          </p:nvPr>
        </p:nvSpPr>
        <p:spPr/>
        <p:txBody>
          <a:bodyPr/>
          <a:lstStyle/>
          <a:p>
            <a:r>
              <a:rPr lang="de-AT" dirty="0" err="1"/>
              <a:t>Credentials</a:t>
            </a:r>
            <a:endParaRPr lang="de-AT" dirty="0"/>
          </a:p>
          <a:p>
            <a:pPr lvl="1"/>
            <a:r>
              <a:rPr lang="de-AT" dirty="0">
                <a:hlinkClick r:id="rId2"/>
              </a:rPr>
              <a:t>https://docs.microsoft.com/en-us/azure/app-service/deploy-configure-credentials</a:t>
            </a:r>
            <a:endParaRPr lang="de-AT" dirty="0"/>
          </a:p>
          <a:p>
            <a:r>
              <a:rPr lang="de-AT" dirty="0" err="1"/>
              <a:t>Staging</a:t>
            </a:r>
            <a:r>
              <a:rPr lang="de-AT" dirty="0"/>
              <a:t> Environments</a:t>
            </a:r>
          </a:p>
          <a:p>
            <a:pPr lvl="1"/>
            <a:r>
              <a:rPr lang="de-AT" dirty="0">
                <a:hlinkClick r:id="rId3"/>
              </a:rPr>
              <a:t>https://docs.microsoft.com/en-us/azure/app-service/deploy-staging-slots</a:t>
            </a:r>
            <a:endParaRPr lang="de-AT" dirty="0"/>
          </a:p>
          <a:p>
            <a:pPr lvl="1"/>
            <a:r>
              <a:rPr lang="de-AT" dirty="0"/>
              <a:t>More </a:t>
            </a:r>
            <a:r>
              <a:rPr lang="de-AT" dirty="0" err="1"/>
              <a:t>information</a:t>
            </a:r>
            <a:r>
              <a:rPr lang="de-AT" dirty="0"/>
              <a:t>: </a:t>
            </a:r>
            <a:r>
              <a:rPr lang="de-AT" dirty="0">
                <a:hlinkClick r:id="rId4"/>
              </a:rPr>
              <a:t>https://github.com/projectkudu/kudu/wiki/Understanding-site-swaps</a:t>
            </a:r>
            <a:endParaRPr lang="de-AT" dirty="0"/>
          </a:p>
        </p:txBody>
      </p:sp>
      <p:sp>
        <p:nvSpPr>
          <p:cNvPr id="4" name="Text Placeholder 3">
            <a:extLst>
              <a:ext uri="{FF2B5EF4-FFF2-40B4-BE49-F238E27FC236}">
                <a16:creationId xmlns:a16="http://schemas.microsoft.com/office/drawing/2014/main" id="{B379151B-07F8-470C-BC8A-AB009029B45B}"/>
              </a:ext>
            </a:extLst>
          </p:cNvPr>
          <p:cNvSpPr>
            <a:spLocks noGrp="1"/>
          </p:cNvSpPr>
          <p:nvPr>
            <p:ph type="body" sz="quarter" idx="23"/>
          </p:nvPr>
        </p:nvSpPr>
        <p:spPr/>
        <p:txBody>
          <a:bodyPr/>
          <a:lstStyle/>
          <a:p>
            <a:endParaRPr lang="de-AT" dirty="0"/>
          </a:p>
        </p:txBody>
      </p:sp>
    </p:spTree>
    <p:extLst>
      <p:ext uri="{BB962C8B-B14F-4D97-AF65-F5344CB8AC3E}">
        <p14:creationId xmlns:p14="http://schemas.microsoft.com/office/powerpoint/2010/main" val="186348310"/>
      </p:ext>
    </p:extLst>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2DB50-AC78-4B8F-970F-E4C702E3C5C4}"/>
              </a:ext>
            </a:extLst>
          </p:cNvPr>
          <p:cNvSpPr>
            <a:spLocks noGrp="1"/>
          </p:cNvSpPr>
          <p:nvPr>
            <p:ph type="title"/>
          </p:nvPr>
        </p:nvSpPr>
        <p:spPr/>
        <p:txBody>
          <a:bodyPr/>
          <a:lstStyle/>
          <a:p>
            <a:r>
              <a:rPr lang="de-AT" dirty="0"/>
              <a:t>Authentication</a:t>
            </a:r>
          </a:p>
        </p:txBody>
      </p:sp>
      <p:sp>
        <p:nvSpPr>
          <p:cNvPr id="3" name="Content Placeholder 2">
            <a:extLst>
              <a:ext uri="{FF2B5EF4-FFF2-40B4-BE49-F238E27FC236}">
                <a16:creationId xmlns:a16="http://schemas.microsoft.com/office/drawing/2014/main" id="{97B81F3D-9AAB-4427-BFCF-99B737E0C56E}"/>
              </a:ext>
            </a:extLst>
          </p:cNvPr>
          <p:cNvSpPr>
            <a:spLocks noGrp="1"/>
          </p:cNvSpPr>
          <p:nvPr>
            <p:ph sz="quarter" idx="12"/>
          </p:nvPr>
        </p:nvSpPr>
        <p:spPr/>
        <p:txBody>
          <a:bodyPr/>
          <a:lstStyle/>
          <a:p>
            <a:r>
              <a:rPr lang="de-AT" dirty="0" err="1"/>
              <a:t>Built</a:t>
            </a:r>
            <a:r>
              <a:rPr lang="de-AT" dirty="0"/>
              <a:t>-in </a:t>
            </a:r>
            <a:r>
              <a:rPr lang="de-AT" dirty="0" err="1"/>
              <a:t>authentication</a:t>
            </a:r>
            <a:r>
              <a:rPr lang="de-AT" dirty="0"/>
              <a:t> </a:t>
            </a:r>
            <a:r>
              <a:rPr lang="de-AT" dirty="0" err="1"/>
              <a:t>with</a:t>
            </a:r>
            <a:r>
              <a:rPr lang="de-AT" dirty="0"/>
              <a:t> AAD</a:t>
            </a:r>
          </a:p>
          <a:p>
            <a:pPr lvl="1"/>
            <a:r>
              <a:rPr lang="de-AT" dirty="0">
                <a:hlinkClick r:id="rId2"/>
              </a:rPr>
              <a:t>https://docs.microsoft.com/en-us/azure/app-service/configure-authentication-provider-aad</a:t>
            </a:r>
            <a:endParaRPr lang="de-AT" dirty="0"/>
          </a:p>
          <a:p>
            <a:pPr lvl="1"/>
            <a:r>
              <a:rPr lang="de-AT" dirty="0">
                <a:hlinkClick r:id="rId3"/>
              </a:rPr>
              <a:t>https://docs.microsoft.com/en-us/azure/app-service/app-service-authentication-how-to</a:t>
            </a:r>
            <a:endParaRPr lang="de-AT" dirty="0"/>
          </a:p>
          <a:p>
            <a:r>
              <a:rPr lang="de-AT" dirty="0"/>
              <a:t>Identity Server</a:t>
            </a:r>
          </a:p>
          <a:p>
            <a:pPr lvl="1"/>
            <a:r>
              <a:rPr lang="de-AT" dirty="0">
                <a:hlinkClick r:id="rId4"/>
              </a:rPr>
              <a:t>https://identityserver.io/</a:t>
            </a:r>
            <a:endParaRPr lang="de-AT" dirty="0"/>
          </a:p>
          <a:p>
            <a:r>
              <a:rPr lang="de-AT" dirty="0"/>
              <a:t>Auth0</a:t>
            </a:r>
          </a:p>
          <a:p>
            <a:pPr lvl="1"/>
            <a:r>
              <a:rPr lang="de-AT" dirty="0">
                <a:hlinkClick r:id="rId5"/>
              </a:rPr>
              <a:t>https://auth0.com/</a:t>
            </a:r>
            <a:endParaRPr lang="de-AT" dirty="0"/>
          </a:p>
          <a:p>
            <a:endParaRPr lang="de-AT" dirty="0"/>
          </a:p>
        </p:txBody>
      </p:sp>
      <p:sp>
        <p:nvSpPr>
          <p:cNvPr id="4" name="Text Placeholder 3">
            <a:extLst>
              <a:ext uri="{FF2B5EF4-FFF2-40B4-BE49-F238E27FC236}">
                <a16:creationId xmlns:a16="http://schemas.microsoft.com/office/drawing/2014/main" id="{2AC7F83B-F4C8-49A8-AD66-0AE47D3CA55F}"/>
              </a:ext>
            </a:extLst>
          </p:cNvPr>
          <p:cNvSpPr>
            <a:spLocks noGrp="1"/>
          </p:cNvSpPr>
          <p:nvPr>
            <p:ph type="body" sz="quarter" idx="23"/>
          </p:nvPr>
        </p:nvSpPr>
        <p:spPr/>
        <p:txBody>
          <a:bodyPr/>
          <a:lstStyle/>
          <a:p>
            <a:endParaRPr lang="de-AT"/>
          </a:p>
        </p:txBody>
      </p:sp>
    </p:spTree>
    <p:extLst>
      <p:ext uri="{BB962C8B-B14F-4D97-AF65-F5344CB8AC3E}">
        <p14:creationId xmlns:p14="http://schemas.microsoft.com/office/powerpoint/2010/main" val="1064558402"/>
      </p:ext>
    </p:extLst>
  </p:cSld>
  <p:clrMapOvr>
    <a:masterClrMapping/>
  </p:clrMapOvr>
  <p:transition spd="slow">
    <p:push/>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01817-3974-4422-A569-D58A0786D07A}"/>
              </a:ext>
            </a:extLst>
          </p:cNvPr>
          <p:cNvSpPr>
            <a:spLocks noGrp="1"/>
          </p:cNvSpPr>
          <p:nvPr>
            <p:ph type="title"/>
          </p:nvPr>
        </p:nvSpPr>
        <p:spPr/>
        <p:txBody>
          <a:bodyPr/>
          <a:lstStyle/>
          <a:p>
            <a:r>
              <a:rPr lang="de-AT" dirty="0"/>
              <a:t>Management</a:t>
            </a:r>
          </a:p>
        </p:txBody>
      </p:sp>
      <p:sp>
        <p:nvSpPr>
          <p:cNvPr id="3" name="Content Placeholder 2">
            <a:extLst>
              <a:ext uri="{FF2B5EF4-FFF2-40B4-BE49-F238E27FC236}">
                <a16:creationId xmlns:a16="http://schemas.microsoft.com/office/drawing/2014/main" id="{5FC2A5AC-3588-4232-9816-BD0F1E43D7C4}"/>
              </a:ext>
            </a:extLst>
          </p:cNvPr>
          <p:cNvSpPr>
            <a:spLocks noGrp="1"/>
          </p:cNvSpPr>
          <p:nvPr>
            <p:ph sz="quarter" idx="12"/>
          </p:nvPr>
        </p:nvSpPr>
        <p:spPr/>
        <p:txBody>
          <a:bodyPr/>
          <a:lstStyle/>
          <a:p>
            <a:r>
              <a:rPr lang="de-AT" dirty="0"/>
              <a:t>Auto-</a:t>
            </a:r>
            <a:r>
              <a:rPr lang="de-AT" dirty="0" err="1"/>
              <a:t>Scaling</a:t>
            </a:r>
            <a:endParaRPr lang="de-AT" dirty="0"/>
          </a:p>
          <a:p>
            <a:pPr lvl="1"/>
            <a:r>
              <a:rPr lang="de-AT" dirty="0" err="1"/>
              <a:t>Prefer</a:t>
            </a:r>
            <a:r>
              <a:rPr lang="de-AT" dirty="0"/>
              <a:t> </a:t>
            </a:r>
            <a:r>
              <a:rPr lang="de-AT" dirty="0" err="1"/>
              <a:t>scale</a:t>
            </a:r>
            <a:r>
              <a:rPr lang="de-AT" dirty="0"/>
              <a:t>-out </a:t>
            </a:r>
            <a:r>
              <a:rPr lang="de-AT" dirty="0" err="1"/>
              <a:t>over</a:t>
            </a:r>
            <a:r>
              <a:rPr lang="de-AT" dirty="0"/>
              <a:t> </a:t>
            </a:r>
            <a:r>
              <a:rPr lang="de-AT" dirty="0" err="1"/>
              <a:t>scale-up</a:t>
            </a:r>
            <a:endParaRPr lang="de-AT" dirty="0"/>
          </a:p>
          <a:p>
            <a:pPr lvl="1"/>
            <a:r>
              <a:rPr lang="de-AT" dirty="0">
                <a:hlinkClick r:id="rId2"/>
              </a:rPr>
              <a:t>https://docs.microsoft.com/en-us/azure/azure-monitor/platform/autoscale-get-started</a:t>
            </a:r>
            <a:endParaRPr lang="de-AT" dirty="0"/>
          </a:p>
          <a:p>
            <a:r>
              <a:rPr lang="de-AT" dirty="0" err="1"/>
              <a:t>Logging</a:t>
            </a:r>
            <a:endParaRPr lang="de-AT" dirty="0"/>
          </a:p>
          <a:p>
            <a:pPr lvl="1"/>
            <a:r>
              <a:rPr lang="de-AT" dirty="0">
                <a:hlinkClick r:id="rId3"/>
              </a:rPr>
              <a:t>https://docs.microsoft.com/en-us/azure/app-service/troubleshoot-diagnostic-logs</a:t>
            </a:r>
            <a:endParaRPr lang="de-AT" dirty="0"/>
          </a:p>
        </p:txBody>
      </p:sp>
      <p:sp>
        <p:nvSpPr>
          <p:cNvPr id="4" name="Text Placeholder 3">
            <a:extLst>
              <a:ext uri="{FF2B5EF4-FFF2-40B4-BE49-F238E27FC236}">
                <a16:creationId xmlns:a16="http://schemas.microsoft.com/office/drawing/2014/main" id="{922FB19B-3A84-4732-A120-941F09D75FC8}"/>
              </a:ext>
            </a:extLst>
          </p:cNvPr>
          <p:cNvSpPr>
            <a:spLocks noGrp="1"/>
          </p:cNvSpPr>
          <p:nvPr>
            <p:ph type="body" sz="quarter" idx="23"/>
          </p:nvPr>
        </p:nvSpPr>
        <p:spPr/>
        <p:txBody>
          <a:bodyPr/>
          <a:lstStyle/>
          <a:p>
            <a:endParaRPr lang="de-AT"/>
          </a:p>
        </p:txBody>
      </p:sp>
    </p:spTree>
    <p:extLst>
      <p:ext uri="{BB962C8B-B14F-4D97-AF65-F5344CB8AC3E}">
        <p14:creationId xmlns:p14="http://schemas.microsoft.com/office/powerpoint/2010/main" val="846841566"/>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0F9D5-B81B-4B73-BBB2-9C28C1C60DFD}"/>
              </a:ext>
            </a:extLst>
          </p:cNvPr>
          <p:cNvSpPr>
            <a:spLocks noGrp="1"/>
          </p:cNvSpPr>
          <p:nvPr>
            <p:ph type="title"/>
          </p:nvPr>
        </p:nvSpPr>
        <p:spPr/>
        <p:txBody>
          <a:bodyPr/>
          <a:lstStyle/>
          <a:p>
            <a:r>
              <a:rPr lang="de-AT" dirty="0"/>
              <a:t>Web Jobs</a:t>
            </a:r>
          </a:p>
        </p:txBody>
      </p:sp>
      <p:sp>
        <p:nvSpPr>
          <p:cNvPr id="3" name="Content Placeholder 2">
            <a:extLst>
              <a:ext uri="{FF2B5EF4-FFF2-40B4-BE49-F238E27FC236}">
                <a16:creationId xmlns:a16="http://schemas.microsoft.com/office/drawing/2014/main" id="{B88FB1F3-22DD-4F79-A848-E4FC423E7810}"/>
              </a:ext>
            </a:extLst>
          </p:cNvPr>
          <p:cNvSpPr>
            <a:spLocks noGrp="1"/>
          </p:cNvSpPr>
          <p:nvPr>
            <p:ph sz="quarter" idx="12"/>
          </p:nvPr>
        </p:nvSpPr>
        <p:spPr/>
        <p:txBody>
          <a:bodyPr/>
          <a:lstStyle/>
          <a:p>
            <a:r>
              <a:rPr lang="en-US" dirty="0"/>
              <a:t>Run a program or script in the same context as a web app</a:t>
            </a:r>
          </a:p>
          <a:p>
            <a:r>
              <a:rPr lang="en-US" dirty="0"/>
              <a:t>Consider Azure Functions instead</a:t>
            </a:r>
          </a:p>
          <a:p>
            <a:pPr lvl="1"/>
            <a:r>
              <a:rPr lang="de-AT" dirty="0">
                <a:hlinkClick r:id="rId2"/>
              </a:rPr>
              <a:t>https://docs.microsoft.com/en-us/azure/azure-functions/functions-compare-logic-apps-ms-flow-webjobs</a:t>
            </a:r>
            <a:r>
              <a:rPr lang="de-AT" dirty="0"/>
              <a:t> </a:t>
            </a:r>
          </a:p>
          <a:p>
            <a:r>
              <a:rPr lang="de-AT" dirty="0"/>
              <a:t>Triggers and </a:t>
            </a:r>
            <a:r>
              <a:rPr lang="de-AT" dirty="0" err="1"/>
              <a:t>Bindings</a:t>
            </a:r>
            <a:endParaRPr lang="de-AT" dirty="0"/>
          </a:p>
          <a:p>
            <a:pPr lvl="1"/>
            <a:r>
              <a:rPr lang="de-AT" dirty="0">
                <a:hlinkClick r:id="rId3"/>
              </a:rPr>
              <a:t>https://docs.microsoft.com/en-us/azure/app-service/webjobs-sdk-get-started</a:t>
            </a:r>
            <a:endParaRPr lang="de-AT" dirty="0"/>
          </a:p>
          <a:p>
            <a:pPr lvl="1"/>
            <a:endParaRPr lang="de-AT" dirty="0"/>
          </a:p>
        </p:txBody>
      </p:sp>
      <p:sp>
        <p:nvSpPr>
          <p:cNvPr id="4" name="Text Placeholder 3">
            <a:extLst>
              <a:ext uri="{FF2B5EF4-FFF2-40B4-BE49-F238E27FC236}">
                <a16:creationId xmlns:a16="http://schemas.microsoft.com/office/drawing/2014/main" id="{D9EBBB97-8FCE-475E-90FE-00E14277060C}"/>
              </a:ext>
            </a:extLst>
          </p:cNvPr>
          <p:cNvSpPr>
            <a:spLocks noGrp="1"/>
          </p:cNvSpPr>
          <p:nvPr>
            <p:ph type="body" sz="quarter" idx="23"/>
          </p:nvPr>
        </p:nvSpPr>
        <p:spPr/>
        <p:txBody>
          <a:bodyPr/>
          <a:lstStyle/>
          <a:p>
            <a:endParaRPr lang="de-AT"/>
          </a:p>
        </p:txBody>
      </p:sp>
    </p:spTree>
    <p:extLst>
      <p:ext uri="{BB962C8B-B14F-4D97-AF65-F5344CB8AC3E}">
        <p14:creationId xmlns:p14="http://schemas.microsoft.com/office/powerpoint/2010/main" val="1050413288"/>
      </p:ext>
    </p:extLst>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116F752-8CE2-464E-81D7-AD11B709C913}"/>
              </a:ext>
            </a:extLst>
          </p:cNvPr>
          <p:cNvSpPr>
            <a:spLocks noGrp="1"/>
          </p:cNvSpPr>
          <p:nvPr>
            <p:ph type="title"/>
          </p:nvPr>
        </p:nvSpPr>
        <p:spPr/>
        <p:txBody>
          <a:bodyPr/>
          <a:lstStyle/>
          <a:p>
            <a:r>
              <a:rPr lang="de-AT" dirty="0"/>
              <a:t>Azure Storage</a:t>
            </a:r>
          </a:p>
        </p:txBody>
      </p:sp>
      <p:sp>
        <p:nvSpPr>
          <p:cNvPr id="8" name="Text Placeholder 7">
            <a:extLst>
              <a:ext uri="{FF2B5EF4-FFF2-40B4-BE49-F238E27FC236}">
                <a16:creationId xmlns:a16="http://schemas.microsoft.com/office/drawing/2014/main" id="{31D5C96C-DA88-4067-A7C8-9C05D9870D0A}"/>
              </a:ext>
            </a:extLst>
          </p:cNvPr>
          <p:cNvSpPr>
            <a:spLocks noGrp="1"/>
          </p:cNvSpPr>
          <p:nvPr>
            <p:ph type="body" sz="quarter" idx="25"/>
          </p:nvPr>
        </p:nvSpPr>
        <p:spPr/>
        <p:txBody>
          <a:bodyPr/>
          <a:lstStyle/>
          <a:p>
            <a:endParaRPr lang="de-AT"/>
          </a:p>
        </p:txBody>
      </p:sp>
    </p:spTree>
    <p:extLst>
      <p:ext uri="{BB962C8B-B14F-4D97-AF65-F5344CB8AC3E}">
        <p14:creationId xmlns:p14="http://schemas.microsoft.com/office/powerpoint/2010/main" val="29536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E36DB0-B4E8-454B-837B-22485B00A658}"/>
              </a:ext>
            </a:extLst>
          </p:cNvPr>
          <p:cNvSpPr>
            <a:spLocks noGrp="1"/>
          </p:cNvSpPr>
          <p:nvPr>
            <p:ph type="title"/>
          </p:nvPr>
        </p:nvSpPr>
        <p:spPr/>
        <p:txBody>
          <a:bodyPr/>
          <a:lstStyle/>
          <a:p>
            <a:r>
              <a:rPr lang="de-AT" dirty="0" err="1"/>
              <a:t>NoSQL</a:t>
            </a:r>
            <a:r>
              <a:rPr lang="de-AT" dirty="0"/>
              <a:t> vs. SQL</a:t>
            </a:r>
          </a:p>
        </p:txBody>
      </p:sp>
      <p:sp>
        <p:nvSpPr>
          <p:cNvPr id="5" name="Text Placeholder 4">
            <a:extLst>
              <a:ext uri="{FF2B5EF4-FFF2-40B4-BE49-F238E27FC236}">
                <a16:creationId xmlns:a16="http://schemas.microsoft.com/office/drawing/2014/main" id="{C9D5C699-4313-4020-87F2-B3E9BC9ABF44}"/>
              </a:ext>
            </a:extLst>
          </p:cNvPr>
          <p:cNvSpPr>
            <a:spLocks noGrp="1"/>
          </p:cNvSpPr>
          <p:nvPr>
            <p:ph type="body" sz="quarter" idx="10"/>
          </p:nvPr>
        </p:nvSpPr>
        <p:spPr>
          <a:xfrm>
            <a:off x="201930" y="890733"/>
            <a:ext cx="4033911" cy="3744102"/>
          </a:xfrm>
        </p:spPr>
        <p:txBody>
          <a:bodyPr/>
          <a:lstStyle/>
          <a:p>
            <a:r>
              <a:rPr lang="en-US" sz="2000" dirty="0">
                <a:solidFill>
                  <a:schemeClr val="tx2"/>
                </a:solidFill>
              </a:rPr>
              <a:t>Relational (SQL)</a:t>
            </a:r>
          </a:p>
          <a:p>
            <a:endParaRPr lang="en-US" sz="1800" dirty="0"/>
          </a:p>
          <a:p>
            <a:r>
              <a:rPr lang="en-US" sz="1800" dirty="0"/>
              <a:t>Data stored in columns and tables</a:t>
            </a:r>
          </a:p>
          <a:p>
            <a:r>
              <a:rPr lang="en-US" sz="1800" dirty="0"/>
              <a:t>Relationships represented by data</a:t>
            </a:r>
          </a:p>
          <a:p>
            <a:r>
              <a:rPr lang="en-US" sz="1800" dirty="0"/>
              <a:t>Data Manipulation Language (DML)</a:t>
            </a:r>
          </a:p>
          <a:p>
            <a:r>
              <a:rPr lang="en-US" sz="1800" dirty="0"/>
              <a:t>Data Definition Language  (DDL)</a:t>
            </a:r>
          </a:p>
          <a:p>
            <a:r>
              <a:rPr lang="en-US" sz="1800" dirty="0"/>
              <a:t>Transactions</a:t>
            </a:r>
          </a:p>
          <a:p>
            <a:r>
              <a:rPr lang="en-US" sz="1800" dirty="0"/>
              <a:t>Abstraction from physical layer</a:t>
            </a:r>
          </a:p>
          <a:p>
            <a:endParaRPr lang="en-US" sz="1800" dirty="0"/>
          </a:p>
          <a:p>
            <a:endParaRPr lang="de-AT" sz="1800" dirty="0"/>
          </a:p>
        </p:txBody>
      </p:sp>
      <p:sp>
        <p:nvSpPr>
          <p:cNvPr id="6" name="Text Placeholder 5">
            <a:extLst>
              <a:ext uri="{FF2B5EF4-FFF2-40B4-BE49-F238E27FC236}">
                <a16:creationId xmlns:a16="http://schemas.microsoft.com/office/drawing/2014/main" id="{6FCA88E7-55F6-453A-9CD3-11AF134BA1F8}"/>
              </a:ext>
            </a:extLst>
          </p:cNvPr>
          <p:cNvSpPr>
            <a:spLocks noGrp="1"/>
          </p:cNvSpPr>
          <p:nvPr>
            <p:ph type="body" sz="quarter" idx="11"/>
          </p:nvPr>
        </p:nvSpPr>
        <p:spPr>
          <a:xfrm>
            <a:off x="4499992" y="890733"/>
            <a:ext cx="4608511" cy="4009624"/>
          </a:xfrm>
        </p:spPr>
        <p:txBody>
          <a:bodyPr/>
          <a:lstStyle/>
          <a:p>
            <a:r>
              <a:rPr lang="en-US" dirty="0">
                <a:solidFill>
                  <a:schemeClr val="tx2"/>
                </a:solidFill>
              </a:rPr>
              <a:t>NoSQL</a:t>
            </a:r>
          </a:p>
          <a:p>
            <a:endParaRPr lang="en-US" sz="1800" dirty="0"/>
          </a:p>
          <a:p>
            <a:r>
              <a:rPr lang="en-US" sz="1800" dirty="0"/>
              <a:t>Non-relational</a:t>
            </a:r>
          </a:p>
          <a:p>
            <a:pPr lvl="1"/>
            <a:r>
              <a:rPr lang="en-US" sz="1359" dirty="0"/>
              <a:t>Key/value, documents, graph</a:t>
            </a:r>
          </a:p>
          <a:p>
            <a:r>
              <a:rPr lang="en-US" sz="1800" dirty="0"/>
              <a:t>Distributed</a:t>
            </a:r>
          </a:p>
          <a:p>
            <a:r>
              <a:rPr lang="en-US" sz="1800" dirty="0"/>
              <a:t>Often open-source </a:t>
            </a:r>
          </a:p>
          <a:p>
            <a:r>
              <a:rPr lang="en-US" sz="1800" dirty="0"/>
              <a:t>Horizontally scalable</a:t>
            </a:r>
          </a:p>
          <a:p>
            <a:r>
              <a:rPr lang="en-US" sz="1800" dirty="0"/>
              <a:t>Often schema-free</a:t>
            </a:r>
          </a:p>
          <a:p>
            <a:r>
              <a:rPr lang="en-US" sz="1800" dirty="0"/>
              <a:t>Often with easy replication support</a:t>
            </a:r>
          </a:p>
          <a:p>
            <a:r>
              <a:rPr lang="en-US" sz="1800" dirty="0"/>
              <a:t>Eventually consistent</a:t>
            </a:r>
          </a:p>
          <a:p>
            <a:pPr lvl="1"/>
            <a:r>
              <a:rPr lang="en-US" sz="1400" dirty="0">
                <a:hlinkClick r:id="rId2"/>
              </a:rPr>
              <a:t>BASE</a:t>
            </a:r>
            <a:r>
              <a:rPr lang="en-US" sz="1400" dirty="0"/>
              <a:t> (not </a:t>
            </a:r>
            <a:r>
              <a:rPr lang="en-US" sz="1400" dirty="0">
                <a:hlinkClick r:id="rId3"/>
              </a:rPr>
              <a:t>ACID</a:t>
            </a:r>
            <a:r>
              <a:rPr lang="en-US" sz="1400" dirty="0"/>
              <a:t>)</a:t>
            </a:r>
            <a:endParaRPr lang="de-AT" sz="1400" dirty="0"/>
          </a:p>
        </p:txBody>
      </p:sp>
    </p:spTree>
    <p:extLst>
      <p:ext uri="{BB962C8B-B14F-4D97-AF65-F5344CB8AC3E}">
        <p14:creationId xmlns:p14="http://schemas.microsoft.com/office/powerpoint/2010/main" val="3028507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2" end="2"/>
                                            </p:txEl>
                                          </p:spTgt>
                                        </p:tgtEl>
                                        <p:attrNameLst>
                                          <p:attrName>style.visibility</p:attrName>
                                        </p:attrNameLst>
                                      </p:cBhvr>
                                      <p:to>
                                        <p:strVal val="visible"/>
                                      </p:to>
                                    </p:set>
                                    <p:animEffect transition="in" filter="fade">
                                      <p:cBhvr>
                                        <p:cTn id="10" dur="500"/>
                                        <p:tgtEl>
                                          <p:spTgt spid="5">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animEffect transition="in" filter="fade">
                                      <p:cBhvr>
                                        <p:cTn id="13" dur="500"/>
                                        <p:tgtEl>
                                          <p:spTgt spid="5">
                                            <p:txEl>
                                              <p:pRg st="3" end="3"/>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xEl>
                                              <p:pRg st="4" end="4"/>
                                            </p:txEl>
                                          </p:spTgt>
                                        </p:tgtEl>
                                        <p:attrNameLst>
                                          <p:attrName>style.visibility</p:attrName>
                                        </p:attrNameLst>
                                      </p:cBhvr>
                                      <p:to>
                                        <p:strVal val="visible"/>
                                      </p:to>
                                    </p:set>
                                    <p:animEffect transition="in" filter="fade">
                                      <p:cBhvr>
                                        <p:cTn id="16" dur="500"/>
                                        <p:tgtEl>
                                          <p:spTgt spid="5">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animEffect transition="in" filter="fade">
                                      <p:cBhvr>
                                        <p:cTn id="19" dur="500"/>
                                        <p:tgtEl>
                                          <p:spTgt spid="5">
                                            <p:txEl>
                                              <p:pRg st="5" end="5"/>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xEl>
                                              <p:pRg st="6" end="6"/>
                                            </p:txEl>
                                          </p:spTgt>
                                        </p:tgtEl>
                                        <p:attrNameLst>
                                          <p:attrName>style.visibility</p:attrName>
                                        </p:attrNameLst>
                                      </p:cBhvr>
                                      <p:to>
                                        <p:strVal val="visible"/>
                                      </p:to>
                                    </p:set>
                                    <p:animEffect transition="in" filter="fade">
                                      <p:cBhvr>
                                        <p:cTn id="22" dur="500"/>
                                        <p:tgtEl>
                                          <p:spTgt spid="5">
                                            <p:txEl>
                                              <p:pRg st="6" end="6"/>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animEffect transition="in" filter="fade">
                                      <p:cBhvr>
                                        <p:cTn id="25" dur="500"/>
                                        <p:tgtEl>
                                          <p:spTgt spid="5">
                                            <p:txEl>
                                              <p:pRg st="7" end="7"/>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0" end="0"/>
                                            </p:txEl>
                                          </p:spTgt>
                                        </p:tgtEl>
                                        <p:attrNameLst>
                                          <p:attrName>style.visibility</p:attrName>
                                        </p:attrNameLst>
                                      </p:cBhvr>
                                      <p:to>
                                        <p:strVal val="visible"/>
                                      </p:to>
                                    </p:set>
                                    <p:animEffect transition="in" filter="fade">
                                      <p:cBhvr>
                                        <p:cTn id="30" dur="500"/>
                                        <p:tgtEl>
                                          <p:spTgt spid="6">
                                            <p:txEl>
                                              <p:pRg st="0" end="0"/>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
                                            <p:txEl>
                                              <p:pRg st="2" end="2"/>
                                            </p:txEl>
                                          </p:spTgt>
                                        </p:tgtEl>
                                        <p:attrNameLst>
                                          <p:attrName>style.visibility</p:attrName>
                                        </p:attrNameLst>
                                      </p:cBhvr>
                                      <p:to>
                                        <p:strVal val="visible"/>
                                      </p:to>
                                    </p:set>
                                    <p:animEffect transition="in" filter="fade">
                                      <p:cBhvr>
                                        <p:cTn id="33" dur="500"/>
                                        <p:tgtEl>
                                          <p:spTgt spid="6">
                                            <p:txEl>
                                              <p:pRg st="2" end="2"/>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
                                            <p:txEl>
                                              <p:pRg st="3" end="3"/>
                                            </p:txEl>
                                          </p:spTgt>
                                        </p:tgtEl>
                                        <p:attrNameLst>
                                          <p:attrName>style.visibility</p:attrName>
                                        </p:attrNameLst>
                                      </p:cBhvr>
                                      <p:to>
                                        <p:strVal val="visible"/>
                                      </p:to>
                                    </p:set>
                                    <p:animEffect transition="in" filter="fade">
                                      <p:cBhvr>
                                        <p:cTn id="36" dur="500"/>
                                        <p:tgtEl>
                                          <p:spTgt spid="6">
                                            <p:txEl>
                                              <p:pRg st="3" end="3"/>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Effect transition="in" filter="fade">
                                      <p:cBhvr>
                                        <p:cTn id="39" dur="500"/>
                                        <p:tgtEl>
                                          <p:spTgt spid="6">
                                            <p:txEl>
                                              <p:pRg st="4" end="4"/>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
                                            <p:txEl>
                                              <p:pRg st="5" end="5"/>
                                            </p:txEl>
                                          </p:spTgt>
                                        </p:tgtEl>
                                        <p:attrNameLst>
                                          <p:attrName>style.visibility</p:attrName>
                                        </p:attrNameLst>
                                      </p:cBhvr>
                                      <p:to>
                                        <p:strVal val="visible"/>
                                      </p:to>
                                    </p:set>
                                    <p:animEffect transition="in" filter="fade">
                                      <p:cBhvr>
                                        <p:cTn id="42" dur="500"/>
                                        <p:tgtEl>
                                          <p:spTgt spid="6">
                                            <p:txEl>
                                              <p:pRg st="5" end="5"/>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
                                            <p:txEl>
                                              <p:pRg st="6" end="6"/>
                                            </p:txEl>
                                          </p:spTgt>
                                        </p:tgtEl>
                                        <p:attrNameLst>
                                          <p:attrName>style.visibility</p:attrName>
                                        </p:attrNameLst>
                                      </p:cBhvr>
                                      <p:to>
                                        <p:strVal val="visible"/>
                                      </p:to>
                                    </p:set>
                                    <p:animEffect transition="in" filter="fade">
                                      <p:cBhvr>
                                        <p:cTn id="45" dur="500"/>
                                        <p:tgtEl>
                                          <p:spTgt spid="6">
                                            <p:txEl>
                                              <p:pRg st="6" end="6"/>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
                                            <p:txEl>
                                              <p:pRg st="7" end="7"/>
                                            </p:txEl>
                                          </p:spTgt>
                                        </p:tgtEl>
                                        <p:attrNameLst>
                                          <p:attrName>style.visibility</p:attrName>
                                        </p:attrNameLst>
                                      </p:cBhvr>
                                      <p:to>
                                        <p:strVal val="visible"/>
                                      </p:to>
                                    </p:set>
                                    <p:animEffect transition="in" filter="fade">
                                      <p:cBhvr>
                                        <p:cTn id="48" dur="500"/>
                                        <p:tgtEl>
                                          <p:spTgt spid="6">
                                            <p:txEl>
                                              <p:pRg st="7" end="7"/>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6">
                                            <p:txEl>
                                              <p:pRg st="8" end="8"/>
                                            </p:txEl>
                                          </p:spTgt>
                                        </p:tgtEl>
                                        <p:attrNameLst>
                                          <p:attrName>style.visibility</p:attrName>
                                        </p:attrNameLst>
                                      </p:cBhvr>
                                      <p:to>
                                        <p:strVal val="visible"/>
                                      </p:to>
                                    </p:set>
                                    <p:animEffect transition="in" filter="fade">
                                      <p:cBhvr>
                                        <p:cTn id="51" dur="500"/>
                                        <p:tgtEl>
                                          <p:spTgt spid="6">
                                            <p:txEl>
                                              <p:pRg st="8" end="8"/>
                                            </p:tx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6">
                                            <p:txEl>
                                              <p:pRg st="9" end="9"/>
                                            </p:txEl>
                                          </p:spTgt>
                                        </p:tgtEl>
                                        <p:attrNameLst>
                                          <p:attrName>style.visibility</p:attrName>
                                        </p:attrNameLst>
                                      </p:cBhvr>
                                      <p:to>
                                        <p:strVal val="visible"/>
                                      </p:to>
                                    </p:set>
                                    <p:animEffect transition="in" filter="fade">
                                      <p:cBhvr>
                                        <p:cTn id="54" dur="500"/>
                                        <p:tgtEl>
                                          <p:spTgt spid="6">
                                            <p:txEl>
                                              <p:pRg st="9" end="9"/>
                                            </p:tx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
                                            <p:txEl>
                                              <p:pRg st="10" end="10"/>
                                            </p:txEl>
                                          </p:spTgt>
                                        </p:tgtEl>
                                        <p:attrNameLst>
                                          <p:attrName>style.visibility</p:attrName>
                                        </p:attrNameLst>
                                      </p:cBhvr>
                                      <p:to>
                                        <p:strVal val="visible"/>
                                      </p:to>
                                    </p:set>
                                    <p:animEffect transition="in" filter="fade">
                                      <p:cBhvr>
                                        <p:cTn id="57" dur="5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6"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EF3E0-8C30-48A2-A902-A13F86A78582}"/>
              </a:ext>
            </a:extLst>
          </p:cNvPr>
          <p:cNvSpPr>
            <a:spLocks noGrp="1"/>
          </p:cNvSpPr>
          <p:nvPr>
            <p:ph type="title"/>
          </p:nvPr>
        </p:nvSpPr>
        <p:spPr/>
        <p:txBody>
          <a:bodyPr/>
          <a:lstStyle/>
          <a:p>
            <a:r>
              <a:rPr lang="de-AT" dirty="0"/>
              <a:t>Azure Storage</a:t>
            </a:r>
          </a:p>
        </p:txBody>
      </p:sp>
      <p:sp>
        <p:nvSpPr>
          <p:cNvPr id="3" name="Text Placeholder 2">
            <a:extLst>
              <a:ext uri="{FF2B5EF4-FFF2-40B4-BE49-F238E27FC236}">
                <a16:creationId xmlns:a16="http://schemas.microsoft.com/office/drawing/2014/main" id="{1C86F68A-9E91-4EFF-A357-85C614C087E7}"/>
              </a:ext>
            </a:extLst>
          </p:cNvPr>
          <p:cNvSpPr>
            <a:spLocks noGrp="1"/>
          </p:cNvSpPr>
          <p:nvPr>
            <p:ph type="body" sz="quarter" idx="25"/>
          </p:nvPr>
        </p:nvSpPr>
        <p:spPr/>
        <p:txBody>
          <a:bodyPr/>
          <a:lstStyle/>
          <a:p>
            <a:endParaRPr lang="de-AT"/>
          </a:p>
        </p:txBody>
      </p:sp>
    </p:spTree>
    <p:extLst>
      <p:ext uri="{BB962C8B-B14F-4D97-AF65-F5344CB8AC3E}">
        <p14:creationId xmlns:p14="http://schemas.microsoft.com/office/powerpoint/2010/main" val="1606178374"/>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87F8E7-D078-4B24-9DE6-5791E04238C4}"/>
              </a:ext>
            </a:extLst>
          </p:cNvPr>
          <p:cNvSpPr>
            <a:spLocks noGrp="1"/>
          </p:cNvSpPr>
          <p:nvPr>
            <p:ph type="title"/>
          </p:nvPr>
        </p:nvSpPr>
        <p:spPr/>
        <p:txBody>
          <a:bodyPr/>
          <a:lstStyle/>
          <a:p>
            <a:r>
              <a:rPr lang="de-AT" dirty="0"/>
              <a:t>Azure Storage</a:t>
            </a:r>
          </a:p>
        </p:txBody>
      </p:sp>
      <p:sp>
        <p:nvSpPr>
          <p:cNvPr id="5" name="Content Placeholder 4">
            <a:extLst>
              <a:ext uri="{FF2B5EF4-FFF2-40B4-BE49-F238E27FC236}">
                <a16:creationId xmlns:a16="http://schemas.microsoft.com/office/drawing/2014/main" id="{2507A6BC-B3BA-4BCD-8FB5-C4E595B5225D}"/>
              </a:ext>
            </a:extLst>
          </p:cNvPr>
          <p:cNvSpPr>
            <a:spLocks noGrp="1"/>
          </p:cNvSpPr>
          <p:nvPr>
            <p:ph sz="quarter" idx="12"/>
          </p:nvPr>
        </p:nvSpPr>
        <p:spPr/>
        <p:txBody>
          <a:bodyPr/>
          <a:lstStyle/>
          <a:p>
            <a:r>
              <a:rPr lang="de-AT" dirty="0" err="1"/>
              <a:t>Managed</a:t>
            </a:r>
            <a:r>
              <a:rPr lang="de-AT" dirty="0"/>
              <a:t> </a:t>
            </a:r>
            <a:r>
              <a:rPr lang="de-AT" dirty="0" err="1"/>
              <a:t>storage</a:t>
            </a:r>
            <a:r>
              <a:rPr lang="de-AT" dirty="0"/>
              <a:t> </a:t>
            </a:r>
            <a:r>
              <a:rPr lang="de-AT" dirty="0" err="1"/>
              <a:t>services</a:t>
            </a:r>
            <a:r>
              <a:rPr lang="de-AT" dirty="0"/>
              <a:t> for Azure </a:t>
            </a:r>
            <a:r>
              <a:rPr lang="de-AT" dirty="0" err="1"/>
              <a:t>apps</a:t>
            </a:r>
            <a:endParaRPr lang="de-AT" dirty="0"/>
          </a:p>
          <a:p>
            <a:pPr lvl="1"/>
            <a:r>
              <a:rPr lang="de-AT" dirty="0" err="1">
                <a:solidFill>
                  <a:schemeClr val="accent2"/>
                </a:solidFill>
              </a:rPr>
              <a:t>Blobs</a:t>
            </a:r>
            <a:endParaRPr lang="de-AT" dirty="0">
              <a:solidFill>
                <a:schemeClr val="accent2"/>
              </a:solidFill>
            </a:endParaRPr>
          </a:p>
          <a:p>
            <a:pPr lvl="1"/>
            <a:r>
              <a:rPr lang="de-AT" dirty="0">
                <a:solidFill>
                  <a:schemeClr val="accent2"/>
                </a:solidFill>
              </a:rPr>
              <a:t>Files</a:t>
            </a:r>
          </a:p>
          <a:p>
            <a:pPr lvl="1"/>
            <a:r>
              <a:rPr lang="de-AT" dirty="0"/>
              <a:t>Queues</a:t>
            </a:r>
          </a:p>
          <a:p>
            <a:pPr lvl="1"/>
            <a:r>
              <a:rPr lang="de-AT" dirty="0" err="1"/>
              <a:t>Tables</a:t>
            </a:r>
            <a:endParaRPr lang="de-AT" dirty="0"/>
          </a:p>
          <a:p>
            <a:r>
              <a:rPr lang="de-AT" dirty="0"/>
              <a:t>Azure Storage Explorer</a:t>
            </a:r>
          </a:p>
          <a:p>
            <a:pPr lvl="1"/>
            <a:r>
              <a:rPr lang="de-AT" dirty="0">
                <a:hlinkClick r:id="rId2"/>
              </a:rPr>
              <a:t>https://azure.microsoft.com/en-us/features/storage-explorer/</a:t>
            </a:r>
            <a:r>
              <a:rPr lang="de-AT" dirty="0"/>
              <a:t> </a:t>
            </a:r>
          </a:p>
          <a:p>
            <a:r>
              <a:rPr lang="de-AT" dirty="0" err="1"/>
              <a:t>Consider</a:t>
            </a:r>
            <a:r>
              <a:rPr lang="de-AT" dirty="0"/>
              <a:t> </a:t>
            </a:r>
            <a:r>
              <a:rPr lang="de-AT" dirty="0" err="1"/>
              <a:t>combination</a:t>
            </a:r>
            <a:r>
              <a:rPr lang="de-AT" dirty="0"/>
              <a:t> </a:t>
            </a:r>
            <a:r>
              <a:rPr lang="de-AT" dirty="0" err="1"/>
              <a:t>with</a:t>
            </a:r>
            <a:r>
              <a:rPr lang="de-AT" dirty="0"/>
              <a:t> </a:t>
            </a:r>
            <a:r>
              <a:rPr lang="de-AT" i="1" dirty="0"/>
              <a:t>Azure Search</a:t>
            </a:r>
          </a:p>
          <a:p>
            <a:pPr lvl="1"/>
            <a:r>
              <a:rPr lang="de-AT" dirty="0">
                <a:hlinkClick r:id="rId3"/>
              </a:rPr>
              <a:t>https://docs.microsoft.com/en-us/azure/storage/blobs/storage-unstructured-search</a:t>
            </a:r>
            <a:r>
              <a:rPr lang="de-AT" dirty="0"/>
              <a:t> </a:t>
            </a:r>
          </a:p>
        </p:txBody>
      </p:sp>
      <p:sp>
        <p:nvSpPr>
          <p:cNvPr id="6" name="Text Placeholder 5">
            <a:extLst>
              <a:ext uri="{FF2B5EF4-FFF2-40B4-BE49-F238E27FC236}">
                <a16:creationId xmlns:a16="http://schemas.microsoft.com/office/drawing/2014/main" id="{4B6AD924-89DC-4F9F-ACF4-6E24BC4C8366}"/>
              </a:ext>
            </a:extLst>
          </p:cNvPr>
          <p:cNvSpPr>
            <a:spLocks noGrp="1"/>
          </p:cNvSpPr>
          <p:nvPr>
            <p:ph type="body" sz="quarter" idx="23"/>
          </p:nvPr>
        </p:nvSpPr>
        <p:spPr/>
        <p:txBody>
          <a:bodyPr/>
          <a:lstStyle/>
          <a:p>
            <a:r>
              <a:rPr lang="de-AT" dirty="0">
                <a:hlinkClick r:id="rId4"/>
              </a:rPr>
              <a:t>https://docs.microsoft.com/en-us/azure/storage/common/storage-introduction</a:t>
            </a:r>
            <a:r>
              <a:rPr lang="de-AT" dirty="0"/>
              <a:t> </a:t>
            </a:r>
          </a:p>
        </p:txBody>
      </p:sp>
    </p:spTree>
    <p:extLst>
      <p:ext uri="{BB962C8B-B14F-4D97-AF65-F5344CB8AC3E}">
        <p14:creationId xmlns:p14="http://schemas.microsoft.com/office/powerpoint/2010/main" val="3531797356"/>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116F752-8CE2-464E-81D7-AD11B709C913}"/>
              </a:ext>
            </a:extLst>
          </p:cNvPr>
          <p:cNvSpPr>
            <a:spLocks noGrp="1"/>
          </p:cNvSpPr>
          <p:nvPr>
            <p:ph type="title"/>
          </p:nvPr>
        </p:nvSpPr>
        <p:spPr/>
        <p:txBody>
          <a:bodyPr/>
          <a:lstStyle/>
          <a:p>
            <a:r>
              <a:rPr lang="de-AT" dirty="0"/>
              <a:t>Azure </a:t>
            </a:r>
            <a:r>
              <a:rPr lang="de-AT" dirty="0" err="1"/>
              <a:t>AppService</a:t>
            </a:r>
            <a:endParaRPr lang="de-AT" dirty="0"/>
          </a:p>
        </p:txBody>
      </p:sp>
      <p:sp>
        <p:nvSpPr>
          <p:cNvPr id="8" name="Text Placeholder 7">
            <a:extLst>
              <a:ext uri="{FF2B5EF4-FFF2-40B4-BE49-F238E27FC236}">
                <a16:creationId xmlns:a16="http://schemas.microsoft.com/office/drawing/2014/main" id="{31D5C96C-DA88-4067-A7C8-9C05D9870D0A}"/>
              </a:ext>
            </a:extLst>
          </p:cNvPr>
          <p:cNvSpPr>
            <a:spLocks noGrp="1"/>
          </p:cNvSpPr>
          <p:nvPr>
            <p:ph type="body" sz="quarter" idx="25"/>
          </p:nvPr>
        </p:nvSpPr>
        <p:spPr/>
        <p:txBody>
          <a:bodyPr/>
          <a:lstStyle/>
          <a:p>
            <a:endParaRPr lang="de-AT"/>
          </a:p>
        </p:txBody>
      </p:sp>
    </p:spTree>
    <p:extLst>
      <p:ext uri="{BB962C8B-B14F-4D97-AF65-F5344CB8AC3E}">
        <p14:creationId xmlns:p14="http://schemas.microsoft.com/office/powerpoint/2010/main" val="16533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CFBF8-8CFE-4CD1-9170-797B77F8A9C8}"/>
              </a:ext>
            </a:extLst>
          </p:cNvPr>
          <p:cNvSpPr>
            <a:spLocks noGrp="1"/>
          </p:cNvSpPr>
          <p:nvPr>
            <p:ph type="title"/>
          </p:nvPr>
        </p:nvSpPr>
        <p:spPr/>
        <p:txBody>
          <a:bodyPr/>
          <a:lstStyle/>
          <a:p>
            <a:r>
              <a:rPr lang="de-AT" dirty="0" err="1"/>
              <a:t>Blob</a:t>
            </a:r>
            <a:r>
              <a:rPr lang="de-AT" dirty="0"/>
              <a:t> Storage</a:t>
            </a:r>
          </a:p>
        </p:txBody>
      </p:sp>
      <p:sp>
        <p:nvSpPr>
          <p:cNvPr id="3" name="Content Placeholder 2">
            <a:extLst>
              <a:ext uri="{FF2B5EF4-FFF2-40B4-BE49-F238E27FC236}">
                <a16:creationId xmlns:a16="http://schemas.microsoft.com/office/drawing/2014/main" id="{2C9606E5-10FA-40E2-BEEC-30CF0DBBFEEB}"/>
              </a:ext>
            </a:extLst>
          </p:cNvPr>
          <p:cNvSpPr>
            <a:spLocks noGrp="1"/>
          </p:cNvSpPr>
          <p:nvPr>
            <p:ph sz="quarter" idx="12"/>
          </p:nvPr>
        </p:nvSpPr>
        <p:spPr/>
        <p:txBody>
          <a:bodyPr/>
          <a:lstStyle/>
          <a:p>
            <a:r>
              <a:rPr lang="de-AT" dirty="0"/>
              <a:t>Store </a:t>
            </a:r>
            <a:r>
              <a:rPr lang="de-AT" dirty="0" err="1"/>
              <a:t>unstructured</a:t>
            </a:r>
            <a:r>
              <a:rPr lang="de-AT" dirty="0"/>
              <a:t> </a:t>
            </a:r>
            <a:r>
              <a:rPr lang="de-AT" dirty="0" err="1"/>
              <a:t>data</a:t>
            </a:r>
            <a:endParaRPr lang="de-AT" dirty="0"/>
          </a:p>
          <a:p>
            <a:pPr lvl="1"/>
            <a:r>
              <a:rPr lang="de-AT" dirty="0"/>
              <a:t>Images, </a:t>
            </a:r>
            <a:r>
              <a:rPr lang="de-AT" dirty="0" err="1"/>
              <a:t>packages</a:t>
            </a:r>
            <a:r>
              <a:rPr lang="de-AT" dirty="0"/>
              <a:t>, </a:t>
            </a:r>
            <a:r>
              <a:rPr lang="de-AT" dirty="0" err="1"/>
              <a:t>videos</a:t>
            </a:r>
            <a:r>
              <a:rPr lang="de-AT" dirty="0"/>
              <a:t>, etc.</a:t>
            </a:r>
          </a:p>
          <a:p>
            <a:pPr lvl="1"/>
            <a:r>
              <a:rPr lang="de-AT" dirty="0"/>
              <a:t>Block vs. Page </a:t>
            </a:r>
            <a:r>
              <a:rPr lang="de-AT" dirty="0" err="1"/>
              <a:t>Blobs</a:t>
            </a:r>
            <a:r>
              <a:rPr lang="de-AT" dirty="0"/>
              <a:t> (</a:t>
            </a:r>
            <a:r>
              <a:rPr lang="de-AT" dirty="0" err="1">
                <a:hlinkClick r:id="rId2"/>
              </a:rPr>
              <a:t>docs</a:t>
            </a:r>
            <a:r>
              <a:rPr lang="de-AT" dirty="0"/>
              <a:t>)</a:t>
            </a:r>
          </a:p>
          <a:p>
            <a:r>
              <a:rPr lang="de-AT" dirty="0"/>
              <a:t>Static </a:t>
            </a:r>
            <a:r>
              <a:rPr lang="de-AT" dirty="0" err="1"/>
              <a:t>website</a:t>
            </a:r>
            <a:r>
              <a:rPr lang="de-AT" dirty="0"/>
              <a:t> </a:t>
            </a:r>
            <a:r>
              <a:rPr lang="de-AT" dirty="0" err="1"/>
              <a:t>hosting</a:t>
            </a:r>
            <a:endParaRPr lang="de-AT" dirty="0"/>
          </a:p>
          <a:p>
            <a:pPr lvl="1"/>
            <a:r>
              <a:rPr lang="de-AT" dirty="0">
                <a:hlinkClick r:id="rId3"/>
              </a:rPr>
              <a:t>https://docs.microsoft.com/en-us/azure/storage/blobs/storage-blob-static-website-host</a:t>
            </a:r>
            <a:r>
              <a:rPr lang="de-AT" dirty="0"/>
              <a:t> </a:t>
            </a:r>
          </a:p>
          <a:p>
            <a:r>
              <a:rPr lang="de-AT" dirty="0"/>
              <a:t>Access</a:t>
            </a:r>
          </a:p>
          <a:p>
            <a:pPr lvl="1"/>
            <a:r>
              <a:rPr lang="de-AT" dirty="0"/>
              <a:t>via API (</a:t>
            </a:r>
            <a:r>
              <a:rPr lang="de-AT" dirty="0">
                <a:hlinkClick r:id="rId4"/>
              </a:rPr>
              <a:t>https://docs.microsoft.com/en-us/azure/storage/common/storage-introduction#blob-storage</a:t>
            </a:r>
            <a:r>
              <a:rPr lang="de-AT" dirty="0"/>
              <a:t>)</a:t>
            </a:r>
          </a:p>
          <a:p>
            <a:pPr lvl="1"/>
            <a:r>
              <a:rPr lang="de-AT" dirty="0"/>
              <a:t>via HTTP(S)</a:t>
            </a:r>
          </a:p>
          <a:p>
            <a:pPr lvl="1"/>
            <a:r>
              <a:rPr lang="de-AT" i="1" dirty="0" err="1"/>
              <a:t>AzCopy</a:t>
            </a:r>
            <a:r>
              <a:rPr lang="de-AT" i="1" dirty="0"/>
              <a:t> </a:t>
            </a:r>
            <a:r>
              <a:rPr lang="de-AT" dirty="0"/>
              <a:t>(</a:t>
            </a:r>
            <a:r>
              <a:rPr lang="de-AT" dirty="0">
                <a:hlinkClick r:id="rId5"/>
              </a:rPr>
              <a:t>https://docs.microsoft.com/en-us/azure/storage/common/storage-use-azcopy-migrate-on-premises-data</a:t>
            </a:r>
            <a:r>
              <a:rPr lang="de-AT" dirty="0"/>
              <a:t>) </a:t>
            </a:r>
          </a:p>
          <a:p>
            <a:endParaRPr lang="de-AT" dirty="0"/>
          </a:p>
        </p:txBody>
      </p:sp>
      <p:sp>
        <p:nvSpPr>
          <p:cNvPr id="4" name="Text Placeholder 3">
            <a:extLst>
              <a:ext uri="{FF2B5EF4-FFF2-40B4-BE49-F238E27FC236}">
                <a16:creationId xmlns:a16="http://schemas.microsoft.com/office/drawing/2014/main" id="{DF4E4EB7-08FC-4878-9CB4-1CE2DDED3033}"/>
              </a:ext>
            </a:extLst>
          </p:cNvPr>
          <p:cNvSpPr>
            <a:spLocks noGrp="1"/>
          </p:cNvSpPr>
          <p:nvPr>
            <p:ph type="body" sz="quarter" idx="23"/>
          </p:nvPr>
        </p:nvSpPr>
        <p:spPr/>
        <p:txBody>
          <a:bodyPr/>
          <a:lstStyle/>
          <a:p>
            <a:r>
              <a:rPr lang="de-AT" dirty="0">
                <a:hlinkClick r:id="rId6"/>
              </a:rPr>
              <a:t>https://docs.microsoft.com/en-us/azure/storage/blobs/storage-blobs-overview</a:t>
            </a:r>
            <a:r>
              <a:rPr lang="de-AT" dirty="0"/>
              <a:t> </a:t>
            </a:r>
          </a:p>
        </p:txBody>
      </p:sp>
      <p:pic>
        <p:nvPicPr>
          <p:cNvPr id="2050" name="Picture 2" descr="Diagram of Blob storage architecture">
            <a:extLst>
              <a:ext uri="{FF2B5EF4-FFF2-40B4-BE49-F238E27FC236}">
                <a16:creationId xmlns:a16="http://schemas.microsoft.com/office/drawing/2014/main" id="{08F8CF9F-6809-4335-B56D-5B8EE6F20C9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02259" y="258866"/>
            <a:ext cx="3133725" cy="1590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1257546"/>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C389E-4418-4A57-8823-E3032968D3B6}"/>
              </a:ext>
            </a:extLst>
          </p:cNvPr>
          <p:cNvSpPr>
            <a:spLocks noGrp="1"/>
          </p:cNvSpPr>
          <p:nvPr>
            <p:ph type="title"/>
          </p:nvPr>
        </p:nvSpPr>
        <p:spPr/>
        <p:txBody>
          <a:bodyPr/>
          <a:lstStyle/>
          <a:p>
            <a:r>
              <a:rPr lang="de-AT" dirty="0"/>
              <a:t>Authentication</a:t>
            </a:r>
          </a:p>
        </p:txBody>
      </p:sp>
      <p:sp>
        <p:nvSpPr>
          <p:cNvPr id="3" name="Content Placeholder 2">
            <a:extLst>
              <a:ext uri="{FF2B5EF4-FFF2-40B4-BE49-F238E27FC236}">
                <a16:creationId xmlns:a16="http://schemas.microsoft.com/office/drawing/2014/main" id="{6B003FEA-B354-48F2-A7F0-C27CC49DC9EA}"/>
              </a:ext>
            </a:extLst>
          </p:cNvPr>
          <p:cNvSpPr>
            <a:spLocks noGrp="1"/>
          </p:cNvSpPr>
          <p:nvPr>
            <p:ph sz="quarter" idx="12"/>
          </p:nvPr>
        </p:nvSpPr>
        <p:spPr/>
        <p:txBody>
          <a:bodyPr/>
          <a:lstStyle/>
          <a:p>
            <a:r>
              <a:rPr lang="de-AT" dirty="0" err="1"/>
              <a:t>Shared</a:t>
            </a:r>
            <a:r>
              <a:rPr lang="de-AT" dirty="0"/>
              <a:t> </a:t>
            </a:r>
            <a:r>
              <a:rPr lang="de-AT" dirty="0" err="1"/>
              <a:t>key</a:t>
            </a:r>
            <a:endParaRPr lang="de-AT" dirty="0"/>
          </a:p>
          <a:p>
            <a:pPr lvl="1"/>
            <a:r>
              <a:rPr lang="de-AT" dirty="0">
                <a:hlinkClick r:id="rId2"/>
              </a:rPr>
              <a:t>https://docs.microsoft.com/en-us/rest/api/storageservices/authorize-with-shared-key</a:t>
            </a:r>
            <a:endParaRPr lang="de-AT" dirty="0"/>
          </a:p>
          <a:p>
            <a:r>
              <a:rPr lang="de-AT" dirty="0" err="1"/>
              <a:t>Shared</a:t>
            </a:r>
            <a:r>
              <a:rPr lang="de-AT" dirty="0"/>
              <a:t> Access </a:t>
            </a:r>
            <a:r>
              <a:rPr lang="de-AT" dirty="0" err="1"/>
              <a:t>Signature</a:t>
            </a:r>
            <a:endParaRPr lang="de-AT" dirty="0"/>
          </a:p>
          <a:p>
            <a:pPr lvl="1"/>
            <a:r>
              <a:rPr lang="de-AT" dirty="0">
                <a:hlinkClick r:id="rId3"/>
              </a:rPr>
              <a:t>https://docs.microsoft.com/en-us/azure/storage/common/storage-dotnet-shared-access-signature-part-1</a:t>
            </a:r>
            <a:endParaRPr lang="de-AT" dirty="0"/>
          </a:p>
          <a:p>
            <a:r>
              <a:rPr lang="de-AT" dirty="0" err="1"/>
              <a:t>With</a:t>
            </a:r>
            <a:r>
              <a:rPr lang="de-AT" dirty="0"/>
              <a:t> AAD</a:t>
            </a:r>
          </a:p>
          <a:p>
            <a:pPr lvl="1"/>
            <a:r>
              <a:rPr lang="de-AT" dirty="0">
                <a:hlinkClick r:id="rId4"/>
              </a:rPr>
              <a:t>https://docs.microsoft.com/en-us/azure/storage/common/storage-auth-aad</a:t>
            </a:r>
            <a:endParaRPr lang="de-AT" dirty="0"/>
          </a:p>
        </p:txBody>
      </p:sp>
      <p:sp>
        <p:nvSpPr>
          <p:cNvPr id="4" name="Text Placeholder 3">
            <a:extLst>
              <a:ext uri="{FF2B5EF4-FFF2-40B4-BE49-F238E27FC236}">
                <a16:creationId xmlns:a16="http://schemas.microsoft.com/office/drawing/2014/main" id="{3FC65B22-D6D2-4E27-A8E5-706537243CCF}"/>
              </a:ext>
            </a:extLst>
          </p:cNvPr>
          <p:cNvSpPr>
            <a:spLocks noGrp="1"/>
          </p:cNvSpPr>
          <p:nvPr>
            <p:ph type="body" sz="quarter" idx="23"/>
          </p:nvPr>
        </p:nvSpPr>
        <p:spPr/>
        <p:txBody>
          <a:bodyPr/>
          <a:lstStyle/>
          <a:p>
            <a:endParaRPr lang="de-AT"/>
          </a:p>
        </p:txBody>
      </p:sp>
    </p:spTree>
    <p:extLst>
      <p:ext uri="{BB962C8B-B14F-4D97-AF65-F5344CB8AC3E}">
        <p14:creationId xmlns:p14="http://schemas.microsoft.com/office/powerpoint/2010/main" val="1762294258"/>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11632-FE17-4B22-B5ED-AE96D5ECDF5C}"/>
              </a:ext>
            </a:extLst>
          </p:cNvPr>
          <p:cNvSpPr>
            <a:spLocks noGrp="1"/>
          </p:cNvSpPr>
          <p:nvPr>
            <p:ph type="title"/>
          </p:nvPr>
        </p:nvSpPr>
        <p:spPr/>
        <p:txBody>
          <a:bodyPr/>
          <a:lstStyle/>
          <a:p>
            <a:r>
              <a:rPr lang="de-AT" dirty="0"/>
              <a:t>Events</a:t>
            </a:r>
          </a:p>
        </p:txBody>
      </p:sp>
      <p:sp>
        <p:nvSpPr>
          <p:cNvPr id="3" name="Content Placeholder 2">
            <a:extLst>
              <a:ext uri="{FF2B5EF4-FFF2-40B4-BE49-F238E27FC236}">
                <a16:creationId xmlns:a16="http://schemas.microsoft.com/office/drawing/2014/main" id="{5EC9DD2E-7CCF-4922-BC49-8A3BBF27EF39}"/>
              </a:ext>
            </a:extLst>
          </p:cNvPr>
          <p:cNvSpPr>
            <a:spLocks noGrp="1"/>
          </p:cNvSpPr>
          <p:nvPr>
            <p:ph sz="quarter" idx="12"/>
          </p:nvPr>
        </p:nvSpPr>
        <p:spPr/>
        <p:txBody>
          <a:bodyPr/>
          <a:lstStyle/>
          <a:p>
            <a:r>
              <a:rPr lang="de-AT" dirty="0"/>
              <a:t>Integration </a:t>
            </a:r>
            <a:r>
              <a:rPr lang="de-AT" dirty="0" err="1"/>
              <a:t>with</a:t>
            </a:r>
            <a:r>
              <a:rPr lang="de-AT" dirty="0"/>
              <a:t> </a:t>
            </a:r>
            <a:r>
              <a:rPr lang="de-AT" i="1" dirty="0"/>
              <a:t>Azure Event Grid</a:t>
            </a:r>
          </a:p>
          <a:p>
            <a:pPr lvl="1"/>
            <a:r>
              <a:rPr lang="de-AT" dirty="0">
                <a:hlinkClick r:id="rId2"/>
              </a:rPr>
              <a:t>https://docs.microsoft.com/en-us/azure/storage/blobs/storage-blob-event-overview</a:t>
            </a:r>
            <a:r>
              <a:rPr lang="de-AT" dirty="0"/>
              <a:t> </a:t>
            </a:r>
          </a:p>
        </p:txBody>
      </p:sp>
      <p:sp>
        <p:nvSpPr>
          <p:cNvPr id="4" name="Text Placeholder 3">
            <a:extLst>
              <a:ext uri="{FF2B5EF4-FFF2-40B4-BE49-F238E27FC236}">
                <a16:creationId xmlns:a16="http://schemas.microsoft.com/office/drawing/2014/main" id="{6E17572D-4DE4-487E-A651-2034E8C42E6F}"/>
              </a:ext>
            </a:extLst>
          </p:cNvPr>
          <p:cNvSpPr>
            <a:spLocks noGrp="1"/>
          </p:cNvSpPr>
          <p:nvPr>
            <p:ph type="body" sz="quarter" idx="23"/>
          </p:nvPr>
        </p:nvSpPr>
        <p:spPr/>
        <p:txBody>
          <a:bodyPr/>
          <a:lstStyle/>
          <a:p>
            <a:endParaRPr lang="de-AT"/>
          </a:p>
        </p:txBody>
      </p:sp>
      <p:pic>
        <p:nvPicPr>
          <p:cNvPr id="3074" name="Picture 2" descr="Event Grid Model">
            <a:extLst>
              <a:ext uri="{FF2B5EF4-FFF2-40B4-BE49-F238E27FC236}">
                <a16:creationId xmlns:a16="http://schemas.microsoft.com/office/drawing/2014/main" id="{5DBBE4F5-4362-4AEB-AA25-1FF3524CD42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9552" y="1995686"/>
            <a:ext cx="4536504" cy="25548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9561142"/>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EF3E0-8C30-48A2-A902-A13F86A78582}"/>
              </a:ext>
            </a:extLst>
          </p:cNvPr>
          <p:cNvSpPr>
            <a:spLocks noGrp="1"/>
          </p:cNvSpPr>
          <p:nvPr>
            <p:ph type="title"/>
          </p:nvPr>
        </p:nvSpPr>
        <p:spPr/>
        <p:txBody>
          <a:bodyPr/>
          <a:lstStyle/>
          <a:p>
            <a:r>
              <a:rPr lang="de-AT" dirty="0"/>
              <a:t>Azure SQL Database</a:t>
            </a:r>
          </a:p>
        </p:txBody>
      </p:sp>
      <p:sp>
        <p:nvSpPr>
          <p:cNvPr id="3" name="Text Placeholder 2">
            <a:extLst>
              <a:ext uri="{FF2B5EF4-FFF2-40B4-BE49-F238E27FC236}">
                <a16:creationId xmlns:a16="http://schemas.microsoft.com/office/drawing/2014/main" id="{1C86F68A-9E91-4EFF-A357-85C614C087E7}"/>
              </a:ext>
            </a:extLst>
          </p:cNvPr>
          <p:cNvSpPr>
            <a:spLocks noGrp="1"/>
          </p:cNvSpPr>
          <p:nvPr>
            <p:ph type="body" sz="quarter" idx="25"/>
          </p:nvPr>
        </p:nvSpPr>
        <p:spPr/>
        <p:txBody>
          <a:bodyPr/>
          <a:lstStyle/>
          <a:p>
            <a:endParaRPr lang="de-AT"/>
          </a:p>
        </p:txBody>
      </p:sp>
    </p:spTree>
    <p:extLst>
      <p:ext uri="{BB962C8B-B14F-4D97-AF65-F5344CB8AC3E}">
        <p14:creationId xmlns:p14="http://schemas.microsoft.com/office/powerpoint/2010/main" val="3561515151"/>
      </p:ext>
    </p:extLst>
  </p:cSld>
  <p:clrMapOvr>
    <a:masterClrMapping/>
  </p:clrMapOvr>
  <p:transition spd="slow">
    <p:push/>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10"/>
          </p:nvPr>
        </p:nvSpPr>
        <p:spPr>
          <a:xfrm>
            <a:off x="202613" y="2984494"/>
            <a:ext cx="8738779" cy="1166986"/>
          </a:xfrm>
        </p:spPr>
        <p:txBody>
          <a:bodyPr/>
          <a:lstStyle/>
          <a:p>
            <a:r>
              <a:rPr lang="en-US" sz="2059" dirty="0"/>
              <a:t>Cloud-first but not cloud only </a:t>
            </a:r>
          </a:p>
          <a:p>
            <a:r>
              <a:rPr lang="en-US" sz="2059" dirty="0"/>
              <a:t>Docker Container Support</a:t>
            </a:r>
          </a:p>
          <a:p>
            <a:r>
              <a:rPr lang="en-US" sz="2059" dirty="0"/>
              <a:t>Windows and Linux</a:t>
            </a:r>
          </a:p>
        </p:txBody>
      </p:sp>
      <p:sp>
        <p:nvSpPr>
          <p:cNvPr id="2" name="Title 1"/>
          <p:cNvSpPr>
            <a:spLocks noGrp="1"/>
          </p:cNvSpPr>
          <p:nvPr>
            <p:ph type="title"/>
          </p:nvPr>
        </p:nvSpPr>
        <p:spPr/>
        <p:txBody>
          <a:bodyPr/>
          <a:lstStyle/>
          <a:p>
            <a:r>
              <a:rPr lang="en-US" dirty="0"/>
              <a:t>SQL Options in Azure</a:t>
            </a:r>
          </a:p>
        </p:txBody>
      </p:sp>
      <p:sp>
        <p:nvSpPr>
          <p:cNvPr id="87" name="Rectangle 86"/>
          <p:cNvSpPr/>
          <p:nvPr/>
        </p:nvSpPr>
        <p:spPr bwMode="ltGray">
          <a:xfrm>
            <a:off x="1024040" y="1115660"/>
            <a:ext cx="1570112" cy="1569889"/>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64614" tIns="32307" rIns="64614" bIns="32307" numCol="1" rtlCol="0" anchor="t" anchorCtr="0" compatLnSpc="1">
            <a:prstTxWarp prst="textNoShape">
              <a:avLst/>
            </a:prstTxWarp>
          </a:bodyPr>
          <a:lstStyle/>
          <a:p>
            <a:pPr marL="0" marR="0" lvl="0" indent="0" algn="ctr" defTabSz="645881" rtl="0" eaLnBrk="1" fontAlgn="base" latinLnBrk="0" hangingPunct="1">
              <a:lnSpc>
                <a:spcPct val="100000"/>
              </a:lnSpc>
              <a:spcBef>
                <a:spcPct val="0"/>
              </a:spcBef>
              <a:spcAft>
                <a:spcPct val="0"/>
              </a:spcAft>
              <a:buClrTx/>
              <a:buSzTx/>
              <a:buFontTx/>
              <a:buNone/>
              <a:tabLst/>
              <a:defRPr/>
            </a:pPr>
            <a:r>
              <a:rPr kumimoji="0" lang="en-US" sz="155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QL Server</a:t>
            </a:r>
          </a:p>
          <a:p>
            <a:pPr marL="0" marR="0" lvl="0" indent="0" algn="ctr" defTabSz="645881" rtl="0" eaLnBrk="1" fontAlgn="base" latinLnBrk="0" hangingPunct="1">
              <a:lnSpc>
                <a:spcPct val="100000"/>
              </a:lnSpc>
              <a:spcBef>
                <a:spcPct val="0"/>
              </a:spcBef>
              <a:spcAft>
                <a:spcPct val="0"/>
              </a:spcAft>
              <a:buClrTx/>
              <a:buSzTx/>
              <a:buFontTx/>
              <a:buNone/>
              <a:tabLst/>
              <a:defRPr/>
            </a:pPr>
            <a:endParaRPr kumimoji="0" lang="en-US" sz="155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ctr" defTabSz="645881" rtl="0" eaLnBrk="1" fontAlgn="base" latinLnBrk="0" hangingPunct="1">
              <a:lnSpc>
                <a:spcPct val="100000"/>
              </a:lnSpc>
              <a:spcBef>
                <a:spcPct val="0"/>
              </a:spcBef>
              <a:spcAft>
                <a:spcPct val="0"/>
              </a:spcAft>
              <a:buClrTx/>
              <a:buSzTx/>
              <a:buFontTx/>
              <a:buNone/>
              <a:tabLst/>
              <a:defRPr/>
            </a:pPr>
            <a:endParaRPr kumimoji="0" lang="en-US" sz="155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8" name="Rectangle 87"/>
          <p:cNvSpPr/>
          <p:nvPr/>
        </p:nvSpPr>
        <p:spPr bwMode="ltGray">
          <a:xfrm>
            <a:off x="2726595" y="1115661"/>
            <a:ext cx="1570112" cy="1569889"/>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64614" tIns="32307" rIns="64614" bIns="32307" numCol="1" rtlCol="0" anchor="t" anchorCtr="0" compatLnSpc="1">
            <a:prstTxWarp prst="textNoShape">
              <a:avLst/>
            </a:prstTxWarp>
          </a:bodyPr>
          <a:lstStyle/>
          <a:p>
            <a:pPr marL="0" marR="0" lvl="0" indent="0" algn="ctr" defTabSz="645881" rtl="0" eaLnBrk="1" fontAlgn="base" latinLnBrk="0" hangingPunct="1">
              <a:lnSpc>
                <a:spcPct val="100000"/>
              </a:lnSpc>
              <a:spcBef>
                <a:spcPct val="0"/>
              </a:spcBef>
              <a:spcAft>
                <a:spcPct val="0"/>
              </a:spcAft>
              <a:buClrTx/>
              <a:buSzTx/>
              <a:buFontTx/>
              <a:buNone/>
              <a:tabLst/>
              <a:defRPr/>
            </a:pPr>
            <a:r>
              <a:rPr kumimoji="0" lang="en-US" sz="155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QL Server in Azure VM</a:t>
            </a:r>
          </a:p>
        </p:txBody>
      </p:sp>
      <p:sp>
        <p:nvSpPr>
          <p:cNvPr id="89" name="Rectangle 88"/>
          <p:cNvSpPr/>
          <p:nvPr/>
        </p:nvSpPr>
        <p:spPr bwMode="ltGray">
          <a:xfrm>
            <a:off x="4410106" y="1115661"/>
            <a:ext cx="1570112" cy="1569889"/>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64614" tIns="32307" rIns="64614" bIns="32307" numCol="1" rtlCol="0" anchor="t" anchorCtr="0" compatLnSpc="1">
            <a:prstTxWarp prst="textNoShape">
              <a:avLst/>
            </a:prstTxWarp>
          </a:bodyPr>
          <a:lstStyle/>
          <a:p>
            <a:pPr marL="0" marR="0" lvl="0" indent="0" algn="ctr" defTabSz="645881" rtl="0" eaLnBrk="1" fontAlgn="base" latinLnBrk="0" hangingPunct="1">
              <a:lnSpc>
                <a:spcPct val="100000"/>
              </a:lnSpc>
              <a:spcBef>
                <a:spcPct val="0"/>
              </a:spcBef>
              <a:spcAft>
                <a:spcPct val="0"/>
              </a:spcAft>
              <a:buClrTx/>
              <a:buSzTx/>
              <a:buFontTx/>
              <a:buNone/>
              <a:tabLst/>
              <a:defRPr/>
            </a:pPr>
            <a:r>
              <a:rPr kumimoji="0" lang="en-US" sz="155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a:t>
            </a:r>
          </a:p>
          <a:p>
            <a:pPr marL="0" marR="0" lvl="0" indent="0" algn="ctr" defTabSz="645881" rtl="0" eaLnBrk="1" fontAlgn="base" latinLnBrk="0" hangingPunct="1">
              <a:lnSpc>
                <a:spcPct val="100000"/>
              </a:lnSpc>
              <a:spcBef>
                <a:spcPct val="0"/>
              </a:spcBef>
              <a:spcAft>
                <a:spcPct val="0"/>
              </a:spcAft>
              <a:buClrTx/>
              <a:buSzTx/>
              <a:buFontTx/>
              <a:buNone/>
              <a:tabLst/>
              <a:defRPr/>
            </a:pPr>
            <a:r>
              <a:rPr kumimoji="0" lang="en-US" sz="155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QL Database</a:t>
            </a:r>
          </a:p>
        </p:txBody>
      </p:sp>
      <p:sp>
        <p:nvSpPr>
          <p:cNvPr id="90" name="Rectangle 89"/>
          <p:cNvSpPr/>
          <p:nvPr/>
        </p:nvSpPr>
        <p:spPr bwMode="ltGray">
          <a:xfrm>
            <a:off x="6093618" y="1115661"/>
            <a:ext cx="1570112" cy="1569889"/>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0" tIns="32307" rIns="0" bIns="32307" numCol="1" rtlCol="0" anchor="t" anchorCtr="0" compatLnSpc="1">
            <a:prstTxWarp prst="textNoShape">
              <a:avLst/>
            </a:prstTxWarp>
          </a:bodyPr>
          <a:lstStyle/>
          <a:p>
            <a:pPr marL="0" marR="0" lvl="0" indent="0" algn="ctr" defTabSz="645881" rtl="0" eaLnBrk="1" fontAlgn="base" latinLnBrk="0" hangingPunct="1">
              <a:lnSpc>
                <a:spcPct val="100000"/>
              </a:lnSpc>
              <a:spcBef>
                <a:spcPct val="0"/>
              </a:spcBef>
              <a:spcAft>
                <a:spcPct val="0"/>
              </a:spcAft>
              <a:buClrTx/>
              <a:buSzTx/>
              <a:buFontTx/>
              <a:buNone/>
              <a:tabLst/>
              <a:defRPr/>
            </a:pPr>
            <a:r>
              <a:rPr kumimoji="0" lang="en-US" sz="155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 SQL </a:t>
            </a:r>
            <a:br>
              <a:rPr kumimoji="0" lang="en-US" sz="155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155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ata Warehouse</a:t>
            </a:r>
          </a:p>
        </p:txBody>
      </p:sp>
      <p:grpSp>
        <p:nvGrpSpPr>
          <p:cNvPr id="91" name="Group 90"/>
          <p:cNvGrpSpPr/>
          <p:nvPr/>
        </p:nvGrpSpPr>
        <p:grpSpPr>
          <a:xfrm>
            <a:off x="5125560" y="2099784"/>
            <a:ext cx="785056" cy="493376"/>
            <a:chOff x="6904233" y="2855355"/>
            <a:chExt cx="1067746" cy="671035"/>
          </a:xfrm>
        </p:grpSpPr>
        <p:pic>
          <p:nvPicPr>
            <p:cNvPr id="92" name="Picture 2" descr="C:\Users\chrisw\Desktop\Cloud Services 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6998898" y="2855356"/>
              <a:ext cx="973081" cy="671034"/>
            </a:xfrm>
            <a:prstGeom prst="rect">
              <a:avLst/>
            </a:prstGeom>
            <a:noFill/>
            <a:extLst>
              <a:ext uri="{909E8E84-426E-40DD-AFC4-6F175D3DCCD1}">
                <a14:hiddenFill xmlns:a14="http://schemas.microsoft.com/office/drawing/2010/main">
                  <a:solidFill>
                    <a:srgbClr val="FFFFFF"/>
                  </a:solidFill>
                </a14:hiddenFill>
              </a:ext>
            </a:extLst>
          </p:spPr>
        </p:pic>
        <p:sp>
          <p:nvSpPr>
            <p:cNvPr id="93" name="Flowchart: Magnetic Disk 10"/>
            <p:cNvSpPr/>
            <p:nvPr/>
          </p:nvSpPr>
          <p:spPr bwMode="auto">
            <a:xfrm>
              <a:off x="6904233" y="2855355"/>
              <a:ext cx="280763" cy="36416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64613" rIns="0" bIns="0" numCol="1" spcCol="0" rtlCol="0" fromWordArt="0" anchor="ctr" anchorCtr="0" forceAA="0" compatLnSpc="1">
              <a:prstTxWarp prst="textNoShape">
                <a:avLst/>
              </a:prstTxWarp>
              <a:noAutofit/>
            </a:bodyPr>
            <a:lstStyle/>
            <a:p>
              <a:pPr marL="0" marR="0" lvl="0" indent="0" algn="ctr" defTabSz="658861" rtl="0" eaLnBrk="1" fontAlgn="base" latinLnBrk="0" hangingPunct="1">
                <a:lnSpc>
                  <a:spcPct val="100000"/>
                </a:lnSpc>
                <a:spcBef>
                  <a:spcPct val="0"/>
                </a:spcBef>
                <a:spcAft>
                  <a:spcPct val="0"/>
                </a:spcAft>
                <a:buClrTx/>
                <a:buSzTx/>
                <a:buFontTx/>
                <a:buNone/>
                <a:tabLst/>
                <a:defRPr/>
              </a:pPr>
              <a:r>
                <a:rPr kumimoji="0" lang="en-US" sz="865" b="1" i="0" u="none" strike="noStrike" kern="0" cap="none" spc="0" normalizeH="0" baseline="0" noProof="0" dirty="0">
                  <a:ln>
                    <a:solidFill>
                      <a:srgbClr val="FFFFFF">
                        <a:alpha val="0"/>
                      </a:srgbClr>
                    </a:solidFill>
                  </a:ln>
                  <a:gradFill>
                    <a:gsLst>
                      <a:gs pos="88750">
                        <a:srgbClr val="0072C6"/>
                      </a:gs>
                      <a:gs pos="55000">
                        <a:srgbClr val="0072C6"/>
                      </a:gs>
                    </a:gsLst>
                    <a:lin ang="5400000" scaled="0"/>
                  </a:gradFill>
                  <a:effectLst/>
                  <a:uLnTx/>
                  <a:uFillTx/>
                  <a:latin typeface="Segoe UI"/>
                  <a:ea typeface="Segoe UI" pitchFamily="34" charset="0"/>
                  <a:cs typeface="Segoe UI" pitchFamily="34" charset="0"/>
                </a:rPr>
                <a:t>SQL</a:t>
              </a:r>
            </a:p>
          </p:txBody>
        </p:sp>
      </p:grpSp>
      <p:grpSp>
        <p:nvGrpSpPr>
          <p:cNvPr id="94" name="Group 93"/>
          <p:cNvGrpSpPr/>
          <p:nvPr/>
        </p:nvGrpSpPr>
        <p:grpSpPr>
          <a:xfrm>
            <a:off x="6809073" y="2099784"/>
            <a:ext cx="785056" cy="493376"/>
            <a:chOff x="9193958" y="2855355"/>
            <a:chExt cx="1067747" cy="671035"/>
          </a:xfrm>
        </p:grpSpPr>
        <p:pic>
          <p:nvPicPr>
            <p:cNvPr id="95" name="Picture 2" descr="C:\Users\chrisw\Desktop\Cloud Services 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9288624" y="2855356"/>
              <a:ext cx="973081" cy="671034"/>
            </a:xfrm>
            <a:prstGeom prst="rect">
              <a:avLst/>
            </a:prstGeom>
            <a:noFill/>
            <a:extLst>
              <a:ext uri="{909E8E84-426E-40DD-AFC4-6F175D3DCCD1}">
                <a14:hiddenFill xmlns:a14="http://schemas.microsoft.com/office/drawing/2010/main">
                  <a:solidFill>
                    <a:srgbClr val="FFFFFF"/>
                  </a:solidFill>
                </a14:hiddenFill>
              </a:ext>
            </a:extLst>
          </p:spPr>
        </p:pic>
        <p:sp>
          <p:nvSpPr>
            <p:cNvPr id="96" name="Flowchart: Magnetic Disk 10"/>
            <p:cNvSpPr/>
            <p:nvPr/>
          </p:nvSpPr>
          <p:spPr bwMode="auto">
            <a:xfrm>
              <a:off x="9193958" y="2855355"/>
              <a:ext cx="280763" cy="36416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64613" rIns="0" bIns="0" numCol="1" spcCol="0" rtlCol="0" fromWordArt="0" anchor="ctr" anchorCtr="0" forceAA="0" compatLnSpc="1">
              <a:prstTxWarp prst="textNoShape">
                <a:avLst/>
              </a:prstTxWarp>
              <a:noAutofit/>
            </a:bodyPr>
            <a:lstStyle/>
            <a:p>
              <a:pPr marL="0" marR="0" lvl="0" indent="0" algn="ctr" defTabSz="658861" rtl="0" eaLnBrk="1" fontAlgn="base" latinLnBrk="0" hangingPunct="1">
                <a:lnSpc>
                  <a:spcPct val="100000"/>
                </a:lnSpc>
                <a:spcBef>
                  <a:spcPct val="0"/>
                </a:spcBef>
                <a:spcAft>
                  <a:spcPct val="0"/>
                </a:spcAft>
                <a:buClrTx/>
                <a:buSzTx/>
                <a:buFontTx/>
                <a:buNone/>
                <a:tabLst/>
                <a:defRPr/>
              </a:pPr>
              <a:r>
                <a:rPr kumimoji="0" lang="en-US" sz="864" b="1" i="0" u="none" strike="noStrike" kern="0" cap="none" spc="0" normalizeH="0" baseline="0" noProof="0" dirty="0">
                  <a:ln>
                    <a:solidFill>
                      <a:srgbClr val="FFFFFF">
                        <a:alpha val="0"/>
                      </a:srgbClr>
                    </a:solidFill>
                  </a:ln>
                  <a:gradFill>
                    <a:gsLst>
                      <a:gs pos="88750">
                        <a:srgbClr val="0072C6"/>
                      </a:gs>
                      <a:gs pos="55000">
                        <a:srgbClr val="0072C6"/>
                      </a:gs>
                    </a:gsLst>
                    <a:lin ang="5400000" scaled="0"/>
                  </a:gradFill>
                  <a:effectLst/>
                  <a:uLnTx/>
                  <a:uFillTx/>
                  <a:latin typeface="Segoe UI"/>
                  <a:ea typeface="Segoe UI" pitchFamily="34" charset="0"/>
                  <a:cs typeface="Segoe UI" pitchFamily="34" charset="0"/>
                </a:rPr>
                <a:t>DW</a:t>
              </a:r>
            </a:p>
          </p:txBody>
        </p:sp>
      </p:grpSp>
      <p:grpSp>
        <p:nvGrpSpPr>
          <p:cNvPr id="97" name="Group 96"/>
          <p:cNvGrpSpPr/>
          <p:nvPr/>
        </p:nvGrpSpPr>
        <p:grpSpPr>
          <a:xfrm>
            <a:off x="1849677" y="1953295"/>
            <a:ext cx="761402" cy="662548"/>
            <a:chOff x="2566611" y="2756494"/>
            <a:chExt cx="1056189" cy="919063"/>
          </a:xfrm>
        </p:grpSpPr>
        <p:grpSp>
          <p:nvGrpSpPr>
            <p:cNvPr id="98" name="Group 97"/>
            <p:cNvGrpSpPr/>
            <p:nvPr/>
          </p:nvGrpSpPr>
          <p:grpSpPr>
            <a:xfrm>
              <a:off x="2566611" y="2756494"/>
              <a:ext cx="1056189" cy="895738"/>
              <a:chOff x="2448741" y="2702691"/>
              <a:chExt cx="1035573" cy="878254"/>
            </a:xfrm>
          </p:grpSpPr>
          <p:pic>
            <p:nvPicPr>
              <p:cNvPr id="106" name="Picture 2"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598867" y="2702691"/>
                <a:ext cx="741231" cy="878254"/>
              </a:xfrm>
              <a:prstGeom prst="rect">
                <a:avLst/>
              </a:prstGeom>
              <a:noFill/>
            </p:spPr>
          </p:pic>
          <p:pic>
            <p:nvPicPr>
              <p:cNvPr id="107" name="Picture 2"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448741" y="2874407"/>
                <a:ext cx="541998" cy="642192"/>
              </a:xfrm>
              <a:prstGeom prst="rect">
                <a:avLst/>
              </a:prstGeom>
              <a:noFill/>
            </p:spPr>
          </p:pic>
          <p:pic>
            <p:nvPicPr>
              <p:cNvPr id="108" name="Picture 2"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948666" y="2874406"/>
                <a:ext cx="535648" cy="634667"/>
              </a:xfrm>
              <a:prstGeom prst="rect">
                <a:avLst/>
              </a:prstGeom>
              <a:noFill/>
            </p:spPr>
          </p:pic>
        </p:grpSp>
        <p:grpSp>
          <p:nvGrpSpPr>
            <p:cNvPr id="99" name="Group 98"/>
            <p:cNvGrpSpPr/>
            <p:nvPr/>
          </p:nvGrpSpPr>
          <p:grpSpPr>
            <a:xfrm>
              <a:off x="2800517" y="3283609"/>
              <a:ext cx="502598" cy="391948"/>
              <a:chOff x="2800517" y="3283609"/>
              <a:chExt cx="502598" cy="391948"/>
            </a:xfrm>
          </p:grpSpPr>
          <p:grpSp>
            <p:nvGrpSpPr>
              <p:cNvPr id="100" name="Group 99"/>
              <p:cNvGrpSpPr/>
              <p:nvPr/>
            </p:nvGrpSpPr>
            <p:grpSpPr>
              <a:xfrm>
                <a:off x="2976222" y="3283609"/>
                <a:ext cx="326893" cy="335810"/>
                <a:chOff x="2382894" y="3225181"/>
                <a:chExt cx="286352" cy="371411"/>
              </a:xfrm>
            </p:grpSpPr>
            <p:sp>
              <p:nvSpPr>
                <p:cNvPr id="104" name="Oval 103"/>
                <p:cNvSpPr/>
                <p:nvPr/>
              </p:nvSpPr>
              <p:spPr bwMode="auto">
                <a:xfrm>
                  <a:off x="2397051" y="3239855"/>
                  <a:ext cx="267171" cy="102047"/>
                </a:xfrm>
                <a:prstGeom prst="ellipse">
                  <a:avLst/>
                </a:prstGeom>
                <a:solidFill>
                  <a:srgbClr val="004BBB"/>
                </a:solidFill>
                <a:ln w="3175" cap="flat" cmpd="sng" algn="ctr">
                  <a:noFill/>
                  <a:prstDash val="solid"/>
                  <a:headEnd type="none" w="med" len="med"/>
                  <a:tailEnd type="none" w="med" len="med"/>
                </a:ln>
                <a:effectLst/>
              </p:spPr>
              <p:txBody>
                <a:bodyPr vert="horz" wrap="square" lIns="0" tIns="33620" rIns="0" bIns="33620" numCol="1" rtlCol="0" anchor="ctr" anchorCtr="0" compatLnSpc="1">
                  <a:prstTxWarp prst="textNoShape">
                    <a:avLst/>
                  </a:prstTxWarp>
                </a:bodyPr>
                <a:lstStyle/>
                <a:p>
                  <a:pPr marL="0" marR="0" lvl="0" indent="0" algn="ctr" defTabSz="672231" rtl="0" eaLnBrk="1" fontAlgn="base" latinLnBrk="0" hangingPunct="1">
                    <a:lnSpc>
                      <a:spcPct val="100000"/>
                    </a:lnSpc>
                    <a:spcBef>
                      <a:spcPct val="0"/>
                    </a:spcBef>
                    <a:spcAft>
                      <a:spcPct val="0"/>
                    </a:spcAft>
                    <a:buClrTx/>
                    <a:buSzTx/>
                    <a:buFontTx/>
                    <a:buNone/>
                    <a:tabLst/>
                    <a:defRPr/>
                  </a:pPr>
                  <a:endParaRPr kumimoji="0" lang="en-US" sz="14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5" name="Flowchart: Magnetic Disk 10"/>
                <p:cNvSpPr/>
                <p:nvPr/>
              </p:nvSpPr>
              <p:spPr bwMode="auto">
                <a:xfrm>
                  <a:off x="2382894" y="3225181"/>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79102" rIns="0" bIns="0" numCol="1" spcCol="0" rtlCol="0" fromWordArt="0" anchor="t" anchorCtr="0" forceAA="0" compatLnSpc="1">
                  <a:prstTxWarp prst="textNoShape">
                    <a:avLst/>
                  </a:prstTxWarp>
                  <a:noAutofit/>
                </a:bodyPr>
                <a:lstStyle/>
                <a:p>
                  <a:pPr marL="0" marR="0" lvl="0" indent="0" algn="ctr" defTabSz="658861" rtl="0" eaLnBrk="1" fontAlgn="base" latinLnBrk="0" hangingPunct="1">
                    <a:lnSpc>
                      <a:spcPct val="100000"/>
                    </a:lnSpc>
                    <a:spcBef>
                      <a:spcPct val="0"/>
                    </a:spcBef>
                    <a:spcAft>
                      <a:spcPct val="0"/>
                    </a:spcAft>
                    <a:buClrTx/>
                    <a:buSzTx/>
                    <a:buFontTx/>
                    <a:buNone/>
                    <a:tabLst/>
                    <a:defRPr/>
                  </a:pPr>
                  <a:endParaRPr kumimoji="0" lang="en-US" sz="865" b="1" i="0" u="none" strike="noStrike" kern="0" cap="none" spc="0" normalizeH="0" baseline="0" noProof="0" dirty="0">
                    <a:ln>
                      <a:solidFill>
                        <a:srgbClr val="FFFFFF">
                          <a:alpha val="0"/>
                        </a:srgbClr>
                      </a:solidFill>
                    </a:ln>
                    <a:gradFill>
                      <a:gsLst>
                        <a:gs pos="88750">
                          <a:srgbClr val="0072C6"/>
                        </a:gs>
                        <a:gs pos="55000">
                          <a:srgbClr val="0072C6"/>
                        </a:gs>
                      </a:gsLst>
                      <a:lin ang="5400000" scaled="0"/>
                    </a:gradFill>
                    <a:effectLst/>
                    <a:uLnTx/>
                    <a:uFillTx/>
                    <a:latin typeface="Segoe UI"/>
                    <a:ea typeface="Segoe UI" pitchFamily="34" charset="0"/>
                    <a:cs typeface="Segoe UI" pitchFamily="34" charset="0"/>
                  </a:endParaRPr>
                </a:p>
              </p:txBody>
            </p:sp>
          </p:grpSp>
          <p:grpSp>
            <p:nvGrpSpPr>
              <p:cNvPr id="101" name="Group 100"/>
              <p:cNvGrpSpPr/>
              <p:nvPr/>
            </p:nvGrpSpPr>
            <p:grpSpPr>
              <a:xfrm>
                <a:off x="2800517" y="3417397"/>
                <a:ext cx="288701" cy="258160"/>
                <a:chOff x="2382894" y="3225181"/>
                <a:chExt cx="286352" cy="371411"/>
              </a:xfrm>
            </p:grpSpPr>
            <p:sp>
              <p:nvSpPr>
                <p:cNvPr id="102" name="Oval 101"/>
                <p:cNvSpPr/>
                <p:nvPr/>
              </p:nvSpPr>
              <p:spPr bwMode="auto">
                <a:xfrm>
                  <a:off x="2397051" y="3239855"/>
                  <a:ext cx="267171" cy="102047"/>
                </a:xfrm>
                <a:prstGeom prst="ellipse">
                  <a:avLst/>
                </a:prstGeom>
                <a:solidFill>
                  <a:srgbClr val="004BBB"/>
                </a:solidFill>
                <a:ln w="3175" cap="flat" cmpd="sng" algn="ctr">
                  <a:noFill/>
                  <a:prstDash val="solid"/>
                  <a:headEnd type="none" w="med" len="med"/>
                  <a:tailEnd type="none" w="med" len="med"/>
                </a:ln>
                <a:effectLst/>
              </p:spPr>
              <p:txBody>
                <a:bodyPr vert="horz" wrap="square" lIns="0" tIns="33620" rIns="0" bIns="33620" numCol="1" rtlCol="0" anchor="ctr" anchorCtr="0" compatLnSpc="1">
                  <a:prstTxWarp prst="textNoShape">
                    <a:avLst/>
                  </a:prstTxWarp>
                </a:bodyPr>
                <a:lstStyle/>
                <a:p>
                  <a:pPr marL="0" marR="0" lvl="0" indent="0" algn="ctr" defTabSz="672231" rtl="0" eaLnBrk="1" fontAlgn="base" latinLnBrk="0" hangingPunct="1">
                    <a:lnSpc>
                      <a:spcPct val="100000"/>
                    </a:lnSpc>
                    <a:spcBef>
                      <a:spcPct val="0"/>
                    </a:spcBef>
                    <a:spcAft>
                      <a:spcPct val="0"/>
                    </a:spcAft>
                    <a:buClrTx/>
                    <a:buSzTx/>
                    <a:buFontTx/>
                    <a:buNone/>
                    <a:tabLst/>
                    <a:defRPr/>
                  </a:pPr>
                  <a:endParaRPr kumimoji="0" lang="en-US" sz="14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3" name="Flowchart: Magnetic Disk 10"/>
                <p:cNvSpPr/>
                <p:nvPr/>
              </p:nvSpPr>
              <p:spPr bwMode="auto">
                <a:xfrm>
                  <a:off x="2382894" y="3225181"/>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79102" rIns="0" bIns="0" numCol="1" spcCol="0" rtlCol="0" fromWordArt="0" anchor="t" anchorCtr="0" forceAA="0" compatLnSpc="1">
                  <a:prstTxWarp prst="textNoShape">
                    <a:avLst/>
                  </a:prstTxWarp>
                  <a:noAutofit/>
                </a:bodyPr>
                <a:lstStyle/>
                <a:p>
                  <a:pPr marL="0" marR="0" lvl="0" indent="0" algn="ctr" defTabSz="658861" rtl="0" eaLnBrk="1" fontAlgn="base" latinLnBrk="0" hangingPunct="1">
                    <a:lnSpc>
                      <a:spcPct val="100000"/>
                    </a:lnSpc>
                    <a:spcBef>
                      <a:spcPct val="0"/>
                    </a:spcBef>
                    <a:spcAft>
                      <a:spcPct val="0"/>
                    </a:spcAft>
                    <a:buClrTx/>
                    <a:buSzTx/>
                    <a:buFontTx/>
                    <a:buNone/>
                    <a:tabLst/>
                    <a:defRPr/>
                  </a:pPr>
                  <a:endParaRPr kumimoji="0" lang="en-US" sz="865" b="1" i="0" u="none" strike="noStrike" kern="0" cap="none" spc="0" normalizeH="0" baseline="0" noProof="0" dirty="0">
                    <a:ln>
                      <a:solidFill>
                        <a:srgbClr val="FFFFFF">
                          <a:alpha val="0"/>
                        </a:srgbClr>
                      </a:solidFill>
                    </a:ln>
                    <a:gradFill>
                      <a:gsLst>
                        <a:gs pos="88750">
                          <a:srgbClr val="0072C6"/>
                        </a:gs>
                        <a:gs pos="55000">
                          <a:srgbClr val="0072C6"/>
                        </a:gs>
                      </a:gsLst>
                      <a:lin ang="5400000" scaled="0"/>
                    </a:gradFill>
                    <a:effectLst/>
                    <a:uLnTx/>
                    <a:uFillTx/>
                    <a:latin typeface="Segoe UI"/>
                    <a:ea typeface="Segoe UI" pitchFamily="34" charset="0"/>
                    <a:cs typeface="Segoe UI" pitchFamily="34" charset="0"/>
                  </a:endParaRPr>
                </a:p>
              </p:txBody>
            </p:sp>
          </p:grpSp>
        </p:grpSp>
      </p:grpSp>
      <p:grpSp>
        <p:nvGrpSpPr>
          <p:cNvPr id="109" name="Group 108"/>
          <p:cNvGrpSpPr/>
          <p:nvPr/>
        </p:nvGrpSpPr>
        <p:grpSpPr>
          <a:xfrm>
            <a:off x="3295212" y="2023751"/>
            <a:ext cx="897761" cy="581611"/>
            <a:chOff x="4571807" y="2806727"/>
            <a:chExt cx="1245342" cy="806790"/>
          </a:xfrm>
        </p:grpSpPr>
        <p:pic>
          <p:nvPicPr>
            <p:cNvPr id="110" name="Picture 2" descr="C:\Users\chrisw\Desktop\Cloud Services 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4872043" y="2961774"/>
              <a:ext cx="945106" cy="651743"/>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4571807" y="2806727"/>
              <a:ext cx="552788" cy="450416"/>
            </a:xfrm>
            <a:prstGeom prst="rect">
              <a:avLst/>
            </a:prstGeom>
            <a:noFill/>
          </p:spPr>
        </p:pic>
        <p:grpSp>
          <p:nvGrpSpPr>
            <p:cNvPr id="112" name="Group 111"/>
            <p:cNvGrpSpPr/>
            <p:nvPr/>
          </p:nvGrpSpPr>
          <p:grpSpPr>
            <a:xfrm>
              <a:off x="4828233" y="3083016"/>
              <a:ext cx="232286" cy="242337"/>
              <a:chOff x="2382894" y="3225181"/>
              <a:chExt cx="286352" cy="371411"/>
            </a:xfrm>
          </p:grpSpPr>
          <p:sp>
            <p:nvSpPr>
              <p:cNvPr id="116" name="Oval 115"/>
              <p:cNvSpPr/>
              <p:nvPr/>
            </p:nvSpPr>
            <p:spPr bwMode="auto">
              <a:xfrm>
                <a:off x="2397051" y="3239855"/>
                <a:ext cx="267171" cy="102047"/>
              </a:xfrm>
              <a:prstGeom prst="ellipse">
                <a:avLst/>
              </a:prstGeom>
              <a:solidFill>
                <a:srgbClr val="004BBB"/>
              </a:solidFill>
              <a:ln w="3175" cap="flat" cmpd="sng" algn="ctr">
                <a:noFill/>
                <a:prstDash val="solid"/>
                <a:headEnd type="none" w="med" len="med"/>
                <a:tailEnd type="none" w="med" len="med"/>
              </a:ln>
              <a:effectLst/>
            </p:spPr>
            <p:txBody>
              <a:bodyPr vert="horz" wrap="square" lIns="0" tIns="33620" rIns="0" bIns="33620" numCol="1" rtlCol="0" anchor="ctr" anchorCtr="0" compatLnSpc="1">
                <a:prstTxWarp prst="textNoShape">
                  <a:avLst/>
                </a:prstTxWarp>
              </a:bodyPr>
              <a:lstStyle/>
              <a:p>
                <a:pPr marL="0" marR="0" lvl="0" indent="0" algn="ctr" defTabSz="672231" rtl="0" eaLnBrk="1" fontAlgn="base" latinLnBrk="0" hangingPunct="1">
                  <a:lnSpc>
                    <a:spcPct val="100000"/>
                  </a:lnSpc>
                  <a:spcBef>
                    <a:spcPct val="0"/>
                  </a:spcBef>
                  <a:spcAft>
                    <a:spcPct val="0"/>
                  </a:spcAft>
                  <a:buClrTx/>
                  <a:buSzTx/>
                  <a:buFontTx/>
                  <a:buNone/>
                  <a:tabLst/>
                  <a:defRPr/>
                </a:pPr>
                <a:endParaRPr kumimoji="0" lang="en-US" sz="14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7" name="Flowchart: Magnetic Disk 10"/>
              <p:cNvSpPr/>
              <p:nvPr/>
            </p:nvSpPr>
            <p:spPr bwMode="auto">
              <a:xfrm>
                <a:off x="2382894" y="3225181"/>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79102" rIns="0" bIns="0" numCol="1" spcCol="0" rtlCol="0" fromWordArt="0" anchor="t" anchorCtr="0" forceAA="0" compatLnSpc="1">
                <a:prstTxWarp prst="textNoShape">
                  <a:avLst/>
                </a:prstTxWarp>
                <a:noAutofit/>
              </a:bodyPr>
              <a:lstStyle/>
              <a:p>
                <a:pPr marL="0" marR="0" lvl="0" indent="0" algn="ctr" defTabSz="658861" rtl="0" eaLnBrk="1" fontAlgn="base" latinLnBrk="0" hangingPunct="1">
                  <a:lnSpc>
                    <a:spcPct val="100000"/>
                  </a:lnSpc>
                  <a:spcBef>
                    <a:spcPct val="0"/>
                  </a:spcBef>
                  <a:spcAft>
                    <a:spcPct val="0"/>
                  </a:spcAft>
                  <a:buClrTx/>
                  <a:buSzTx/>
                  <a:buFontTx/>
                  <a:buNone/>
                  <a:tabLst/>
                  <a:defRPr/>
                </a:pPr>
                <a:endParaRPr kumimoji="0" lang="en-US" sz="865" b="1" i="0" u="none" strike="noStrike" kern="0" cap="none" spc="0" normalizeH="0" baseline="0" noProof="0" dirty="0">
                  <a:ln>
                    <a:solidFill>
                      <a:srgbClr val="FFFFFF">
                        <a:alpha val="0"/>
                      </a:srgbClr>
                    </a:solidFill>
                  </a:ln>
                  <a:gradFill>
                    <a:gsLst>
                      <a:gs pos="88750">
                        <a:srgbClr val="0072C6"/>
                      </a:gs>
                      <a:gs pos="55000">
                        <a:srgbClr val="0072C6"/>
                      </a:gs>
                    </a:gsLst>
                    <a:lin ang="5400000" scaled="0"/>
                  </a:gradFill>
                  <a:effectLst/>
                  <a:uLnTx/>
                  <a:uFillTx/>
                  <a:latin typeface="Segoe UI"/>
                  <a:ea typeface="Segoe UI" pitchFamily="34" charset="0"/>
                  <a:cs typeface="Segoe UI" pitchFamily="34" charset="0"/>
                </a:endParaRPr>
              </a:p>
            </p:txBody>
          </p:sp>
        </p:grpSp>
        <p:grpSp>
          <p:nvGrpSpPr>
            <p:cNvPr id="113" name="Group 112"/>
            <p:cNvGrpSpPr/>
            <p:nvPr/>
          </p:nvGrpSpPr>
          <p:grpSpPr>
            <a:xfrm>
              <a:off x="4711802" y="3168746"/>
              <a:ext cx="223317" cy="187637"/>
              <a:chOff x="2382894" y="3225181"/>
              <a:chExt cx="286352" cy="371411"/>
            </a:xfrm>
          </p:grpSpPr>
          <p:sp>
            <p:nvSpPr>
              <p:cNvPr id="114" name="Oval 113"/>
              <p:cNvSpPr/>
              <p:nvPr/>
            </p:nvSpPr>
            <p:spPr bwMode="auto">
              <a:xfrm>
                <a:off x="2397051" y="3239855"/>
                <a:ext cx="267171" cy="102047"/>
              </a:xfrm>
              <a:prstGeom prst="ellipse">
                <a:avLst/>
              </a:prstGeom>
              <a:solidFill>
                <a:srgbClr val="004BBB"/>
              </a:solidFill>
              <a:ln w="3175" cap="flat" cmpd="sng" algn="ctr">
                <a:noFill/>
                <a:prstDash val="solid"/>
                <a:headEnd type="none" w="med" len="med"/>
                <a:tailEnd type="none" w="med" len="med"/>
              </a:ln>
              <a:effectLst/>
            </p:spPr>
            <p:txBody>
              <a:bodyPr vert="horz" wrap="square" lIns="0" tIns="33620" rIns="0" bIns="33620" numCol="1" rtlCol="0" anchor="ctr" anchorCtr="0" compatLnSpc="1">
                <a:prstTxWarp prst="textNoShape">
                  <a:avLst/>
                </a:prstTxWarp>
              </a:bodyPr>
              <a:lstStyle/>
              <a:p>
                <a:pPr marL="0" marR="0" lvl="0" indent="0" algn="ctr" defTabSz="672231" rtl="0" eaLnBrk="1" fontAlgn="base" latinLnBrk="0" hangingPunct="1">
                  <a:lnSpc>
                    <a:spcPct val="100000"/>
                  </a:lnSpc>
                  <a:spcBef>
                    <a:spcPct val="0"/>
                  </a:spcBef>
                  <a:spcAft>
                    <a:spcPct val="0"/>
                  </a:spcAft>
                  <a:buClrTx/>
                  <a:buSzTx/>
                  <a:buFontTx/>
                  <a:buNone/>
                  <a:tabLst/>
                  <a:defRPr/>
                </a:pPr>
                <a:endParaRPr kumimoji="0" lang="en-US" sz="14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5" name="Flowchart: Magnetic Disk 10"/>
              <p:cNvSpPr/>
              <p:nvPr/>
            </p:nvSpPr>
            <p:spPr bwMode="auto">
              <a:xfrm>
                <a:off x="2382894" y="3225181"/>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79102" rIns="0" bIns="0" numCol="1" spcCol="0" rtlCol="0" fromWordArt="0" anchor="t" anchorCtr="0" forceAA="0" compatLnSpc="1">
                <a:prstTxWarp prst="textNoShape">
                  <a:avLst/>
                </a:prstTxWarp>
                <a:noAutofit/>
              </a:bodyPr>
              <a:lstStyle/>
              <a:p>
                <a:pPr marL="0" marR="0" lvl="0" indent="0" algn="ctr" defTabSz="658861" rtl="0" eaLnBrk="1" fontAlgn="base" latinLnBrk="0" hangingPunct="1">
                  <a:lnSpc>
                    <a:spcPct val="100000"/>
                  </a:lnSpc>
                  <a:spcBef>
                    <a:spcPct val="0"/>
                  </a:spcBef>
                  <a:spcAft>
                    <a:spcPct val="0"/>
                  </a:spcAft>
                  <a:buClrTx/>
                  <a:buSzTx/>
                  <a:buFontTx/>
                  <a:buNone/>
                  <a:tabLst/>
                  <a:defRPr/>
                </a:pPr>
                <a:endParaRPr kumimoji="0" lang="en-US" sz="865" b="1" i="0" u="none" strike="noStrike" kern="0" cap="none" spc="0" normalizeH="0" baseline="0" noProof="0" dirty="0">
                  <a:ln>
                    <a:solidFill>
                      <a:srgbClr val="FFFFFF">
                        <a:alpha val="0"/>
                      </a:srgbClr>
                    </a:solidFill>
                  </a:ln>
                  <a:gradFill>
                    <a:gsLst>
                      <a:gs pos="88750">
                        <a:srgbClr val="0072C6"/>
                      </a:gs>
                      <a:gs pos="55000">
                        <a:srgbClr val="0072C6"/>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5931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1" presetClass="emph" presetSubtype="0" fill="hold" grpId="0" nodeType="clickEffect">
                                  <p:stCondLst>
                                    <p:cond delay="0"/>
                                  </p:stCondLst>
                                  <p:childTnLst>
                                    <p:animClr clrSpc="hsl" dir="cw">
                                      <p:cBhvr override="childStyle">
                                        <p:cTn id="18" dur="500" fill="hold"/>
                                        <p:tgtEl>
                                          <p:spTgt spid="89"/>
                                        </p:tgtEl>
                                        <p:attrNameLst>
                                          <p:attrName>style.color</p:attrName>
                                        </p:attrNameLst>
                                      </p:cBhvr>
                                      <p:by>
                                        <p:hsl h="7200000" s="0" l="0"/>
                                      </p:by>
                                    </p:animClr>
                                    <p:animClr clrSpc="hsl" dir="cw">
                                      <p:cBhvr>
                                        <p:cTn id="19" dur="500" fill="hold"/>
                                        <p:tgtEl>
                                          <p:spTgt spid="89"/>
                                        </p:tgtEl>
                                        <p:attrNameLst>
                                          <p:attrName>fillcolor</p:attrName>
                                        </p:attrNameLst>
                                      </p:cBhvr>
                                      <p:by>
                                        <p:hsl h="7200000" s="0" l="0"/>
                                      </p:by>
                                    </p:animClr>
                                    <p:animClr clrSpc="hsl" dir="cw">
                                      <p:cBhvr>
                                        <p:cTn id="20" dur="500" fill="hold"/>
                                        <p:tgtEl>
                                          <p:spTgt spid="89"/>
                                        </p:tgtEl>
                                        <p:attrNameLst>
                                          <p:attrName>stroke.color</p:attrName>
                                        </p:attrNameLst>
                                      </p:cBhvr>
                                      <p:by>
                                        <p:hsl h="7200000" s="0" l="0"/>
                                      </p:by>
                                    </p:animClr>
                                    <p:set>
                                      <p:cBhvr>
                                        <p:cTn id="21" dur="500" fill="hold"/>
                                        <p:tgtEl>
                                          <p:spTgt spid="8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p"/>
      <p:bldP spid="8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4294967295"/>
          </p:nvPr>
        </p:nvSpPr>
        <p:spPr>
          <a:xfrm>
            <a:off x="2601485" y="1966593"/>
            <a:ext cx="6543102" cy="2228302"/>
          </a:xfrm>
        </p:spPr>
        <p:txBody>
          <a:bodyPr/>
          <a:lstStyle/>
          <a:p>
            <a:pPr marL="420120" indent="-420120">
              <a:spcBef>
                <a:spcPts val="881"/>
              </a:spcBef>
            </a:pPr>
            <a:r>
              <a:rPr lang="en-US" sz="1765" dirty="0">
                <a:solidFill>
                  <a:srgbClr val="FFFFFF"/>
                </a:solidFill>
              </a:rPr>
              <a:t>Database provisioning on-demand</a:t>
            </a:r>
          </a:p>
          <a:p>
            <a:pPr marL="420120" indent="-420120">
              <a:spcBef>
                <a:spcPts val="881"/>
              </a:spcBef>
            </a:pPr>
            <a:r>
              <a:rPr lang="en-US" sz="1765" dirty="0">
                <a:solidFill>
                  <a:srgbClr val="FFFFFF"/>
                </a:solidFill>
              </a:rPr>
              <a:t>Predictable performance for enterprise workloads</a:t>
            </a:r>
          </a:p>
          <a:p>
            <a:pPr marL="420120" indent="-420120">
              <a:spcBef>
                <a:spcPts val="881"/>
              </a:spcBef>
            </a:pPr>
            <a:r>
              <a:rPr lang="en-US" sz="1765" dirty="0">
                <a:solidFill>
                  <a:srgbClr val="FFFFFF"/>
                </a:solidFill>
              </a:rPr>
              <a:t>Elastic database pools for unpredictable SaaS workloads</a:t>
            </a:r>
          </a:p>
          <a:p>
            <a:pPr marL="420120" indent="-420120">
              <a:spcBef>
                <a:spcPts val="881"/>
              </a:spcBef>
            </a:pPr>
            <a:r>
              <a:rPr lang="en-US" sz="1765" dirty="0">
                <a:solidFill>
                  <a:srgbClr val="FFFFFF"/>
                </a:solidFill>
              </a:rPr>
              <a:t>99.99% availability SLA</a:t>
            </a:r>
          </a:p>
          <a:p>
            <a:pPr marL="420120" indent="-420120">
              <a:spcBef>
                <a:spcPts val="881"/>
              </a:spcBef>
            </a:pPr>
            <a:r>
              <a:rPr lang="en-US" sz="1765" dirty="0">
                <a:solidFill>
                  <a:srgbClr val="FFFFFF"/>
                </a:solidFill>
              </a:rPr>
              <a:t>Geo-replication and restore services for data protection</a:t>
            </a:r>
          </a:p>
          <a:p>
            <a:pPr marL="420120" indent="-420120">
              <a:spcBef>
                <a:spcPts val="881"/>
              </a:spcBef>
            </a:pPr>
            <a:r>
              <a:rPr lang="en-US" sz="1765" dirty="0">
                <a:solidFill>
                  <a:srgbClr val="FFFFFF"/>
                </a:solidFill>
              </a:rPr>
              <a:t>Secure and compliant to protect sensitive data</a:t>
            </a:r>
          </a:p>
        </p:txBody>
      </p:sp>
      <p:sp>
        <p:nvSpPr>
          <p:cNvPr id="4" name="Title 3"/>
          <p:cNvSpPr>
            <a:spLocks noGrp="1"/>
          </p:cNvSpPr>
          <p:nvPr>
            <p:ph type="title" idx="4294967295"/>
          </p:nvPr>
        </p:nvSpPr>
        <p:spPr>
          <a:xfrm>
            <a:off x="402161" y="217170"/>
            <a:ext cx="8742425" cy="674739"/>
          </a:xfrm>
        </p:spPr>
        <p:txBody>
          <a:bodyPr/>
          <a:lstStyle/>
          <a:p>
            <a:r>
              <a:rPr lang="en-US" dirty="0"/>
              <a:t>Azure SQL Database</a:t>
            </a:r>
          </a:p>
        </p:txBody>
      </p:sp>
      <p:sp>
        <p:nvSpPr>
          <p:cNvPr id="9" name="TextBox 8"/>
          <p:cNvSpPr txBox="1"/>
          <p:nvPr/>
        </p:nvSpPr>
        <p:spPr>
          <a:xfrm>
            <a:off x="414022" y="860833"/>
            <a:ext cx="8099860" cy="868926"/>
          </a:xfrm>
          <a:prstGeom prst="rect">
            <a:avLst/>
          </a:prstGeom>
          <a:noFill/>
        </p:spPr>
        <p:txBody>
          <a:bodyPr wrap="square" lIns="134443" tIns="107554" rIns="134443" bIns="107554" rtlCol="0">
            <a:spAutoFit/>
          </a:bodyPr>
          <a:lstStyle/>
          <a:p>
            <a:pPr marL="0" marR="0" lvl="0" indent="0" algn="l" defTabSz="685675" rtl="0" eaLnBrk="1" fontAlgn="auto" latinLnBrk="0" hangingPunct="1">
              <a:lnSpc>
                <a:spcPct val="90000"/>
              </a:lnSpc>
              <a:spcBef>
                <a:spcPts val="0"/>
              </a:spcBef>
              <a:spcAft>
                <a:spcPts val="441"/>
              </a:spcAft>
              <a:buClrTx/>
              <a:buSzTx/>
              <a:buFontTx/>
              <a:buNone/>
              <a:tabLst/>
              <a:defRPr/>
            </a:pPr>
            <a:r>
              <a:rPr kumimoji="0" lang="en-US" sz="2353" b="1" i="1" u="none" strike="noStrike" kern="1200" cap="none" spc="0" normalizeH="0" baseline="0" noProof="0" dirty="0">
                <a:ln>
                  <a:noFill/>
                </a:ln>
                <a:solidFill>
                  <a:srgbClr val="0072C6">
                    <a:lumMod val="40000"/>
                    <a:lumOff val="60000"/>
                  </a:srgbClr>
                </a:solidFill>
                <a:effectLst/>
                <a:uLnTx/>
                <a:uFillTx/>
                <a:latin typeface="Segoe UI Light" panose="020B0502040204020203" pitchFamily="34" charset="0"/>
                <a:ea typeface="+mn-ea"/>
                <a:cs typeface="Segoe UI Light" panose="020B0502040204020203" pitchFamily="34" charset="0"/>
              </a:rPr>
              <a:t>Fully managed SQL database service that lets you focus on your business</a:t>
            </a:r>
          </a:p>
        </p:txBody>
      </p:sp>
      <p:grpSp>
        <p:nvGrpSpPr>
          <p:cNvPr id="3" name="Group 2"/>
          <p:cNvGrpSpPr/>
          <p:nvPr/>
        </p:nvGrpSpPr>
        <p:grpSpPr>
          <a:xfrm>
            <a:off x="537619" y="2033833"/>
            <a:ext cx="1601369" cy="1601141"/>
            <a:chOff x="832571" y="342012"/>
            <a:chExt cx="2178004" cy="2177694"/>
          </a:xfrm>
        </p:grpSpPr>
        <p:sp>
          <p:nvSpPr>
            <p:cNvPr id="16" name="Rectangle 15"/>
            <p:cNvSpPr/>
            <p:nvPr/>
          </p:nvSpPr>
          <p:spPr bwMode="ltGray">
            <a:xfrm>
              <a:off x="832571" y="342012"/>
              <a:ext cx="2178004" cy="2177694"/>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65900" tIns="32950" rIns="65900" bIns="32950" numCol="1" rtlCol="0" anchor="t" anchorCtr="0" compatLnSpc="1">
              <a:prstTxWarp prst="textNoShape">
                <a:avLst/>
              </a:prstTxWarp>
            </a:bodyPr>
            <a:lstStyle/>
            <a:p>
              <a:pPr marL="0" marR="0" lvl="0" indent="0" algn="ctr" defTabSz="658735" rtl="0" eaLnBrk="1" fontAlgn="base" latinLnBrk="0" hangingPunct="1">
                <a:lnSpc>
                  <a:spcPct val="100000"/>
                </a:lnSpc>
                <a:spcBef>
                  <a:spcPct val="0"/>
                </a:spcBef>
                <a:spcAft>
                  <a:spcPct val="0"/>
                </a:spcAft>
                <a:buClrTx/>
                <a:buSzTx/>
                <a:buFontTx/>
                <a:buNone/>
                <a:tabLst/>
                <a:defRPr/>
              </a:pPr>
              <a:r>
                <a:rPr kumimoji="0" lang="en-US" sz="158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a:t>
              </a:r>
            </a:p>
            <a:p>
              <a:pPr marL="0" marR="0" lvl="0" indent="0" algn="ctr" defTabSz="658735" rtl="0" eaLnBrk="1" fontAlgn="base" latinLnBrk="0" hangingPunct="1">
                <a:lnSpc>
                  <a:spcPct val="100000"/>
                </a:lnSpc>
                <a:spcBef>
                  <a:spcPct val="0"/>
                </a:spcBef>
                <a:spcAft>
                  <a:spcPct val="0"/>
                </a:spcAft>
                <a:buClrTx/>
                <a:buSzTx/>
                <a:buFontTx/>
                <a:buNone/>
                <a:tabLst/>
                <a:defRPr/>
              </a:pPr>
              <a:r>
                <a:rPr kumimoji="0" lang="en-US" sz="158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QL Database</a:t>
              </a:r>
            </a:p>
          </p:txBody>
        </p:sp>
        <p:pic>
          <p:nvPicPr>
            <p:cNvPr id="17" name="Picture 2" descr="C:\Users\chrisw\Desktop\Cloud Services 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1921572" y="1707155"/>
              <a:ext cx="992453" cy="684393"/>
            </a:xfrm>
            <a:prstGeom prst="rect">
              <a:avLst/>
            </a:prstGeom>
            <a:noFill/>
            <a:extLst>
              <a:ext uri="{909E8E84-426E-40DD-AFC4-6F175D3DCCD1}">
                <a14:hiddenFill xmlns:a14="http://schemas.microsoft.com/office/drawing/2010/main">
                  <a:solidFill>
                    <a:srgbClr val="FFFFFF"/>
                  </a:solidFill>
                </a14:hiddenFill>
              </a:ext>
            </a:extLst>
          </p:spPr>
        </p:pic>
        <p:sp>
          <p:nvSpPr>
            <p:cNvPr id="18" name="Flowchart: Magnetic Disk 10"/>
            <p:cNvSpPr/>
            <p:nvPr/>
          </p:nvSpPr>
          <p:spPr bwMode="auto">
            <a:xfrm>
              <a:off x="1825023" y="1707154"/>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65899" rIns="0" bIns="0" numCol="1" spcCol="0" rtlCol="0" fromWordArt="0" anchor="ctr" anchorCtr="0" forceAA="0" compatLnSpc="1">
              <a:prstTxWarp prst="textNoShape">
                <a:avLst/>
              </a:prstTxWarp>
              <a:noAutofit/>
            </a:bodyPr>
            <a:lstStyle/>
            <a:p>
              <a:pPr marL="0" marR="0" lvl="0" indent="0" algn="ctr" defTabSz="671972" rtl="0" eaLnBrk="1" fontAlgn="base" latinLnBrk="0" hangingPunct="1">
                <a:lnSpc>
                  <a:spcPct val="100000"/>
                </a:lnSpc>
                <a:spcBef>
                  <a:spcPct val="0"/>
                </a:spcBef>
                <a:spcAft>
                  <a:spcPct val="0"/>
                </a:spcAft>
                <a:buClrTx/>
                <a:buSzTx/>
                <a:buFontTx/>
                <a:buNone/>
                <a:tabLst/>
                <a:defRPr/>
              </a:pPr>
              <a:r>
                <a:rPr kumimoji="0" lang="en-US" sz="882" b="1" i="0" u="none" strike="noStrike" kern="0" cap="none" spc="0" normalizeH="0" baseline="0" noProof="0" dirty="0">
                  <a:ln>
                    <a:solidFill>
                      <a:srgbClr val="FFFFFF">
                        <a:alpha val="0"/>
                      </a:srgbClr>
                    </a:solidFill>
                  </a:ln>
                  <a:solidFill>
                    <a:srgbClr val="0078D7">
                      <a:lumMod val="75000"/>
                    </a:srgbClr>
                  </a:solidFill>
                  <a:effectLst/>
                  <a:uLnTx/>
                  <a:uFillTx/>
                  <a:latin typeface="Segoe UI"/>
                  <a:ea typeface="Segoe UI" pitchFamily="34" charset="0"/>
                  <a:cs typeface="Segoe UI" pitchFamily="34" charset="0"/>
                </a:rPr>
                <a:t>SQL</a:t>
              </a:r>
            </a:p>
          </p:txBody>
        </p:sp>
      </p:grpSp>
    </p:spTree>
    <p:extLst>
      <p:ext uri="{BB962C8B-B14F-4D97-AF65-F5344CB8AC3E}">
        <p14:creationId xmlns:p14="http://schemas.microsoft.com/office/powerpoint/2010/main" val="360644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itle 1"/>
          <p:cNvSpPr txBox="1">
            <a:spLocks/>
          </p:cNvSpPr>
          <p:nvPr/>
        </p:nvSpPr>
        <p:spPr>
          <a:xfrm>
            <a:off x="202576" y="217502"/>
            <a:ext cx="8741756" cy="67464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99589" rtl="0" eaLnBrk="1" fontAlgn="auto" latinLnBrk="0" hangingPunct="1">
              <a:lnSpc>
                <a:spcPct val="90000"/>
              </a:lnSpc>
              <a:spcBef>
                <a:spcPct val="0"/>
              </a:spcBef>
              <a:spcAft>
                <a:spcPts val="0"/>
              </a:spcAft>
              <a:buClrTx/>
              <a:buSzTx/>
              <a:buFontTx/>
              <a:buNone/>
              <a:tabLst/>
              <a:defRPr/>
            </a:pPr>
            <a:r>
              <a:rPr kumimoji="0" lang="en-US" sz="3529" b="0" i="0" u="none" strike="noStrike" kern="1200" cap="none" spc="-76"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Predictable performance</a:t>
            </a:r>
          </a:p>
        </p:txBody>
      </p:sp>
      <p:sp>
        <p:nvSpPr>
          <p:cNvPr id="99" name="Text Placeholder 2"/>
          <p:cNvSpPr txBox="1">
            <a:spLocks/>
          </p:cNvSpPr>
          <p:nvPr/>
        </p:nvSpPr>
        <p:spPr>
          <a:xfrm>
            <a:off x="267208" y="924319"/>
            <a:ext cx="8416898" cy="161331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85807" rtl="0" eaLnBrk="1" fontAlgn="auto" latinLnBrk="0" hangingPunct="1">
              <a:lnSpc>
                <a:spcPct val="90000"/>
              </a:lnSpc>
              <a:spcBef>
                <a:spcPct val="20000"/>
              </a:spcBef>
              <a:spcAft>
                <a:spcPts val="0"/>
              </a:spcAft>
              <a:buClr>
                <a:srgbClr val="FFFFFF"/>
              </a:buClr>
              <a:buSzPct val="90000"/>
              <a:buFont typeface="Arial" pitchFamily="34" charset="0"/>
              <a:buNone/>
              <a:tabLst/>
              <a:defRPr/>
            </a:pPr>
            <a:r>
              <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Isolated databases are allocated isolated resources</a:t>
            </a:r>
          </a:p>
          <a:p>
            <a:pPr marL="0" marR="0" lvl="0" indent="0" algn="l" defTabSz="685807" rtl="0" eaLnBrk="1" fontAlgn="auto" latinLnBrk="0" hangingPunct="1">
              <a:lnSpc>
                <a:spcPct val="90000"/>
              </a:lnSpc>
              <a:spcBef>
                <a:spcPct val="20000"/>
              </a:spcBef>
              <a:spcAft>
                <a:spcPts val="0"/>
              </a:spcAft>
              <a:buClr>
                <a:srgbClr val="FFFFFF"/>
              </a:buClr>
              <a:buSzPct val="90000"/>
              <a:buFont typeface="Arial" pitchFamily="34" charset="0"/>
              <a:buNone/>
              <a:tabLst/>
              <a:defRPr/>
            </a:pPr>
            <a:r>
              <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Basic, Standard, and Premium tiers provide increasing performance levels</a:t>
            </a:r>
          </a:p>
          <a:p>
            <a:pPr marL="0" marR="0" lvl="0" indent="0" algn="l" defTabSz="685807" rtl="0" eaLnBrk="1" fontAlgn="auto" latinLnBrk="0" hangingPunct="1">
              <a:lnSpc>
                <a:spcPct val="90000"/>
              </a:lnSpc>
              <a:spcBef>
                <a:spcPct val="20000"/>
              </a:spcBef>
              <a:spcAft>
                <a:spcPts val="0"/>
              </a:spcAft>
              <a:buClr>
                <a:srgbClr val="FFFFFF"/>
              </a:buClr>
              <a:buSzPct val="90000"/>
              <a:buFont typeface="Arial" pitchFamily="34" charset="0"/>
              <a:buNone/>
              <a:tabLst/>
              <a:defRPr/>
            </a:pPr>
            <a:r>
              <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Scale up/down in response to actual or predicted change in workload</a:t>
            </a:r>
          </a:p>
          <a:p>
            <a:pPr marL="0" marR="0" lvl="0" indent="0" algn="l" defTabSz="685807" rtl="0" eaLnBrk="1" fontAlgn="auto" latinLnBrk="0" hangingPunct="1">
              <a:lnSpc>
                <a:spcPct val="90000"/>
              </a:lnSpc>
              <a:spcBef>
                <a:spcPct val="20000"/>
              </a:spcBef>
              <a:spcAft>
                <a:spcPts val="0"/>
              </a:spcAft>
              <a:buClr>
                <a:srgbClr val="FFFFFF"/>
              </a:buClr>
              <a:buSzPct val="90000"/>
              <a:buFont typeface="Arial" pitchFamily="34" charset="0"/>
              <a:buNone/>
              <a:tabLst/>
              <a:defRPr/>
            </a:pPr>
            <a:r>
              <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Databases remain online while scaling</a:t>
            </a:r>
          </a:p>
          <a:p>
            <a:pPr marL="0" marR="0" lvl="0" indent="0" algn="l" defTabSz="685807" rtl="0" eaLnBrk="1" fontAlgn="auto" latinLnBrk="0" hangingPunct="1">
              <a:lnSpc>
                <a:spcPct val="90000"/>
              </a:lnSpc>
              <a:spcBef>
                <a:spcPct val="20000"/>
              </a:spcBef>
              <a:spcAft>
                <a:spcPts val="0"/>
              </a:spcAft>
              <a:buClr>
                <a:srgbClr val="FFFFFF"/>
              </a:buClr>
              <a:buSzPct val="90000"/>
              <a:buFont typeface="Arial" pitchFamily="34" charset="0"/>
              <a:buNone/>
              <a:tabLst/>
              <a:defRPr/>
            </a:pPr>
            <a:r>
              <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Hourly billing at highest rate that hour</a:t>
            </a:r>
          </a:p>
        </p:txBody>
      </p:sp>
      <p:sp>
        <p:nvSpPr>
          <p:cNvPr id="100" name="Rectangle 99"/>
          <p:cNvSpPr/>
          <p:nvPr/>
        </p:nvSpPr>
        <p:spPr bwMode="auto">
          <a:xfrm>
            <a:off x="1461759" y="4323568"/>
            <a:ext cx="299234" cy="280129"/>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p:cNvSpPr/>
          <p:nvPr/>
        </p:nvSpPr>
        <p:spPr bwMode="auto">
          <a:xfrm>
            <a:off x="1849291" y="4197325"/>
            <a:ext cx="427786" cy="406372"/>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Rectangle 101"/>
          <p:cNvSpPr/>
          <p:nvPr/>
        </p:nvSpPr>
        <p:spPr bwMode="auto">
          <a:xfrm>
            <a:off x="2929353" y="4002399"/>
            <a:ext cx="605078" cy="605078"/>
          </a:xfrm>
          <a:prstGeom prst="rect">
            <a:avLst/>
          </a:prstGeom>
          <a:noFill/>
          <a:ln w="38100" cap="flat" cmpd="sng" algn="ctr">
            <a:solidFill>
              <a:srgbClr val="E75FDD"/>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5C2D91">
                  <a:lumMod val="75000"/>
                </a:srgbClr>
              </a:solidFill>
              <a:effectLst/>
              <a:uLnTx/>
              <a:uFillTx/>
              <a:latin typeface="Segoe UI"/>
              <a:ea typeface="Segoe UI" pitchFamily="34" charset="0"/>
              <a:cs typeface="Segoe UI" pitchFamily="34" charset="0"/>
            </a:endParaRPr>
          </a:p>
        </p:txBody>
      </p:sp>
      <p:sp>
        <p:nvSpPr>
          <p:cNvPr id="103" name="Rectangle 102"/>
          <p:cNvSpPr/>
          <p:nvPr/>
        </p:nvSpPr>
        <p:spPr bwMode="auto">
          <a:xfrm>
            <a:off x="3600818" y="3796926"/>
            <a:ext cx="806771" cy="806771"/>
          </a:xfrm>
          <a:prstGeom prst="rect">
            <a:avLst/>
          </a:prstGeom>
          <a:noFill/>
          <a:ln w="38100" cap="flat" cmpd="sng" algn="ctr">
            <a:solidFill>
              <a:srgbClr val="E75FDD"/>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5C2D91">
                  <a:lumMod val="75000"/>
                </a:srgbClr>
              </a:solidFill>
              <a:effectLst/>
              <a:uLnTx/>
              <a:uFillTx/>
              <a:latin typeface="Segoe UI"/>
              <a:ea typeface="Segoe UI" pitchFamily="34" charset="0"/>
              <a:cs typeface="Segoe UI" pitchFamily="34" charset="0"/>
            </a:endParaRPr>
          </a:p>
        </p:txBody>
      </p:sp>
      <p:sp>
        <p:nvSpPr>
          <p:cNvPr id="104" name="Rectangle 103"/>
          <p:cNvSpPr/>
          <p:nvPr/>
        </p:nvSpPr>
        <p:spPr bwMode="auto">
          <a:xfrm>
            <a:off x="6852998" y="2859473"/>
            <a:ext cx="1748004" cy="1748004"/>
          </a:xfrm>
          <a:prstGeom prst="rect">
            <a:avLst/>
          </a:prstGeom>
          <a:noFill/>
          <a:ln w="38100" cap="flat" cmpd="sng" algn="ctr">
            <a:solidFill>
              <a:srgbClr val="E75FDD"/>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5C2D91">
                  <a:lumMod val="75000"/>
                </a:srgbClr>
              </a:solidFill>
              <a:effectLst/>
              <a:uLnTx/>
              <a:uFillTx/>
              <a:latin typeface="Segoe UI"/>
              <a:ea typeface="Segoe UI" pitchFamily="34" charset="0"/>
              <a:cs typeface="Segoe UI" pitchFamily="34" charset="0"/>
            </a:endParaRPr>
          </a:p>
        </p:txBody>
      </p:sp>
      <p:sp>
        <p:nvSpPr>
          <p:cNvPr id="105" name="Rectangle 104"/>
          <p:cNvSpPr/>
          <p:nvPr/>
        </p:nvSpPr>
        <p:spPr bwMode="auto">
          <a:xfrm>
            <a:off x="1168965" y="4428722"/>
            <a:ext cx="209970" cy="174975"/>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324"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a:off x="960245" y="4491646"/>
            <a:ext cx="134462" cy="112051"/>
          </a:xfrm>
          <a:prstGeom prst="rect">
            <a:avLst/>
          </a:prstGeom>
          <a:noFill/>
          <a:ln w="38100" cap="flat" cmpd="sng" algn="ctr">
            <a:solidFill>
              <a:srgbClr val="FFB900"/>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324"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extBox 106"/>
          <p:cNvSpPr txBox="1"/>
          <p:nvPr/>
        </p:nvSpPr>
        <p:spPr>
          <a:xfrm>
            <a:off x="833602" y="4579117"/>
            <a:ext cx="362922" cy="400622"/>
          </a:xfrm>
          <a:prstGeom prst="rect">
            <a:avLst/>
          </a:prstGeom>
          <a:noFill/>
        </p:spPr>
        <p:txBody>
          <a:bodyPr wrap="none" lIns="134462" tIns="107569" rIns="134462" bIns="107569" rtlCol="0">
            <a:spAutoFit/>
          </a:bodyPr>
          <a:lstStyle/>
          <a:p>
            <a:pPr marL="0" marR="0" lvl="0" indent="0" algn="l"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5</a:t>
            </a:r>
          </a:p>
        </p:txBody>
      </p:sp>
      <p:sp>
        <p:nvSpPr>
          <p:cNvPr id="108" name="TextBox 107"/>
          <p:cNvSpPr txBox="1"/>
          <p:nvPr/>
        </p:nvSpPr>
        <p:spPr>
          <a:xfrm>
            <a:off x="1037520" y="4580268"/>
            <a:ext cx="454293" cy="400622"/>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10</a:t>
            </a:r>
          </a:p>
        </p:txBody>
      </p:sp>
      <p:sp>
        <p:nvSpPr>
          <p:cNvPr id="109" name="TextBox 108"/>
          <p:cNvSpPr txBox="1"/>
          <p:nvPr/>
        </p:nvSpPr>
        <p:spPr>
          <a:xfrm>
            <a:off x="1369624" y="4580179"/>
            <a:ext cx="454293" cy="400622"/>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20</a:t>
            </a:r>
          </a:p>
        </p:txBody>
      </p:sp>
      <p:sp>
        <p:nvSpPr>
          <p:cNvPr id="110" name="TextBox 109"/>
          <p:cNvSpPr txBox="1"/>
          <p:nvPr/>
        </p:nvSpPr>
        <p:spPr>
          <a:xfrm>
            <a:off x="1824984" y="4580268"/>
            <a:ext cx="454293" cy="400622"/>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50</a:t>
            </a:r>
          </a:p>
        </p:txBody>
      </p:sp>
      <p:sp>
        <p:nvSpPr>
          <p:cNvPr id="111" name="TextBox 110"/>
          <p:cNvSpPr txBox="1"/>
          <p:nvPr/>
        </p:nvSpPr>
        <p:spPr>
          <a:xfrm>
            <a:off x="2324861" y="4580179"/>
            <a:ext cx="545664" cy="400622"/>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100</a:t>
            </a:r>
          </a:p>
        </p:txBody>
      </p:sp>
      <p:sp>
        <p:nvSpPr>
          <p:cNvPr id="112" name="TextBox 111"/>
          <p:cNvSpPr txBox="1"/>
          <p:nvPr/>
        </p:nvSpPr>
        <p:spPr>
          <a:xfrm>
            <a:off x="3710321" y="4571991"/>
            <a:ext cx="545664" cy="400622"/>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250</a:t>
            </a:r>
          </a:p>
        </p:txBody>
      </p:sp>
      <p:sp>
        <p:nvSpPr>
          <p:cNvPr id="113" name="TextBox 112"/>
          <p:cNvSpPr txBox="1"/>
          <p:nvPr/>
        </p:nvSpPr>
        <p:spPr>
          <a:xfrm>
            <a:off x="7417762" y="4601684"/>
            <a:ext cx="637036" cy="400622"/>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1750</a:t>
            </a:r>
          </a:p>
        </p:txBody>
      </p:sp>
      <p:sp>
        <p:nvSpPr>
          <p:cNvPr id="114" name="TextBox 113"/>
          <p:cNvSpPr txBox="1"/>
          <p:nvPr/>
        </p:nvSpPr>
        <p:spPr>
          <a:xfrm>
            <a:off x="451332" y="4674329"/>
            <a:ext cx="539505" cy="183384"/>
          </a:xfrm>
          <a:prstGeom prst="rect">
            <a:avLst/>
          </a:prstGeom>
          <a:noFill/>
        </p:spPr>
        <p:txBody>
          <a:bodyPr wrap="square" lIns="0" tIns="0" rIns="0" bIns="0" rtlCol="0">
            <a:spAutoFit/>
          </a:bodyPr>
          <a:lstStyle/>
          <a:p>
            <a:pPr marL="0" marR="0" lvl="0" indent="0" algn="l"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DTUs</a:t>
            </a:r>
          </a:p>
        </p:txBody>
      </p:sp>
      <p:sp>
        <p:nvSpPr>
          <p:cNvPr id="115" name="TextBox 114"/>
          <p:cNvSpPr txBox="1"/>
          <p:nvPr/>
        </p:nvSpPr>
        <p:spPr>
          <a:xfrm>
            <a:off x="839310" y="4153418"/>
            <a:ext cx="391776"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FFB900"/>
                </a:solidFill>
                <a:effectLst/>
                <a:uLnTx/>
                <a:uFillTx/>
                <a:latin typeface="Segoe UI"/>
                <a:ea typeface="+mn-ea"/>
                <a:cs typeface="+mn-cs"/>
              </a:rPr>
              <a:t>B</a:t>
            </a:r>
          </a:p>
        </p:txBody>
      </p:sp>
      <p:sp>
        <p:nvSpPr>
          <p:cNvPr id="116" name="TextBox 115"/>
          <p:cNvSpPr txBox="1"/>
          <p:nvPr/>
        </p:nvSpPr>
        <p:spPr>
          <a:xfrm>
            <a:off x="1036346" y="4092405"/>
            <a:ext cx="486353"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00B050"/>
                </a:solidFill>
                <a:effectLst/>
                <a:uLnTx/>
                <a:uFillTx/>
                <a:latin typeface="Segoe UI"/>
                <a:ea typeface="+mn-ea"/>
                <a:cs typeface="+mn-cs"/>
              </a:rPr>
              <a:t>S0</a:t>
            </a:r>
          </a:p>
        </p:txBody>
      </p:sp>
      <p:sp>
        <p:nvSpPr>
          <p:cNvPr id="117" name="TextBox 116"/>
          <p:cNvSpPr txBox="1"/>
          <p:nvPr/>
        </p:nvSpPr>
        <p:spPr>
          <a:xfrm>
            <a:off x="1389683" y="3998355"/>
            <a:ext cx="486353"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00B050"/>
                </a:solidFill>
                <a:effectLst/>
                <a:uLnTx/>
                <a:uFillTx/>
                <a:latin typeface="Segoe UI"/>
                <a:ea typeface="+mn-ea"/>
                <a:cs typeface="+mn-cs"/>
              </a:rPr>
              <a:t>S1</a:t>
            </a:r>
          </a:p>
        </p:txBody>
      </p:sp>
      <p:sp>
        <p:nvSpPr>
          <p:cNvPr id="118" name="TextBox 117"/>
          <p:cNvSpPr txBox="1"/>
          <p:nvPr/>
        </p:nvSpPr>
        <p:spPr>
          <a:xfrm>
            <a:off x="1821733" y="3856934"/>
            <a:ext cx="486353"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00B050"/>
                </a:solidFill>
                <a:effectLst/>
                <a:uLnTx/>
                <a:uFillTx/>
                <a:latin typeface="Segoe UI"/>
                <a:ea typeface="+mn-ea"/>
                <a:cs typeface="+mn-cs"/>
              </a:rPr>
              <a:t>S2</a:t>
            </a:r>
          </a:p>
        </p:txBody>
      </p:sp>
      <p:sp>
        <p:nvSpPr>
          <p:cNvPr id="119" name="TextBox 118"/>
          <p:cNvSpPr txBox="1"/>
          <p:nvPr/>
        </p:nvSpPr>
        <p:spPr>
          <a:xfrm>
            <a:off x="2400999" y="3716990"/>
            <a:ext cx="486353"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00B050"/>
                </a:solidFill>
                <a:effectLst/>
                <a:uLnTx/>
                <a:uFillTx/>
                <a:latin typeface="Segoe UI"/>
                <a:ea typeface="+mn-ea"/>
                <a:cs typeface="+mn-cs"/>
              </a:rPr>
              <a:t>S3</a:t>
            </a:r>
          </a:p>
        </p:txBody>
      </p:sp>
      <p:sp>
        <p:nvSpPr>
          <p:cNvPr id="120" name="TextBox 119"/>
          <p:cNvSpPr txBox="1"/>
          <p:nvPr/>
        </p:nvSpPr>
        <p:spPr>
          <a:xfrm>
            <a:off x="3756218" y="3415677"/>
            <a:ext cx="495972"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E75FDD"/>
                </a:solidFill>
                <a:effectLst/>
                <a:uLnTx/>
                <a:uFillTx/>
                <a:latin typeface="Segoe UI"/>
                <a:ea typeface="+mn-ea"/>
                <a:cs typeface="+mn-cs"/>
              </a:rPr>
              <a:t>P2</a:t>
            </a:r>
          </a:p>
        </p:txBody>
      </p:sp>
      <p:sp>
        <p:nvSpPr>
          <p:cNvPr id="121" name="TextBox 120"/>
          <p:cNvSpPr txBox="1"/>
          <p:nvPr/>
        </p:nvSpPr>
        <p:spPr>
          <a:xfrm>
            <a:off x="7424512" y="2535650"/>
            <a:ext cx="604975"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E75FDD"/>
                </a:solidFill>
                <a:effectLst/>
                <a:uLnTx/>
                <a:uFillTx/>
                <a:latin typeface="Segoe UI"/>
                <a:ea typeface="+mn-ea"/>
                <a:cs typeface="+mn-cs"/>
              </a:rPr>
              <a:t>P11</a:t>
            </a:r>
          </a:p>
        </p:txBody>
      </p:sp>
      <p:sp>
        <p:nvSpPr>
          <p:cNvPr id="122" name="Rectangle 121"/>
          <p:cNvSpPr/>
          <p:nvPr/>
        </p:nvSpPr>
        <p:spPr bwMode="auto">
          <a:xfrm>
            <a:off x="2365224" y="4094661"/>
            <a:ext cx="497042" cy="509036"/>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TextBox 122"/>
          <p:cNvSpPr txBox="1"/>
          <p:nvPr/>
        </p:nvSpPr>
        <p:spPr>
          <a:xfrm>
            <a:off x="3021066" y="3581497"/>
            <a:ext cx="495972"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E75FDD"/>
                </a:solidFill>
                <a:effectLst/>
                <a:uLnTx/>
                <a:uFillTx/>
                <a:latin typeface="Segoe UI"/>
                <a:ea typeface="+mn-ea"/>
                <a:cs typeface="+mn-cs"/>
              </a:rPr>
              <a:t>P1</a:t>
            </a:r>
          </a:p>
        </p:txBody>
      </p:sp>
      <p:sp>
        <p:nvSpPr>
          <p:cNvPr id="124" name="TextBox 123"/>
          <p:cNvSpPr txBox="1"/>
          <p:nvPr/>
        </p:nvSpPr>
        <p:spPr>
          <a:xfrm>
            <a:off x="2924766" y="4589318"/>
            <a:ext cx="545664" cy="400622"/>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125</a:t>
            </a:r>
          </a:p>
        </p:txBody>
      </p:sp>
      <p:sp>
        <p:nvSpPr>
          <p:cNvPr id="125" name="Can 124"/>
          <p:cNvSpPr/>
          <p:nvPr/>
        </p:nvSpPr>
        <p:spPr>
          <a:xfrm>
            <a:off x="985004" y="4513307"/>
            <a:ext cx="81097" cy="68399"/>
          </a:xfrm>
          <a:prstGeom prst="can">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26" name="Can 125"/>
          <p:cNvSpPr/>
          <p:nvPr/>
        </p:nvSpPr>
        <p:spPr>
          <a:xfrm>
            <a:off x="1200989" y="4458365"/>
            <a:ext cx="142423" cy="121725"/>
          </a:xfrm>
          <a:prstGeom prst="can">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27" name="Can 126"/>
          <p:cNvSpPr/>
          <p:nvPr/>
        </p:nvSpPr>
        <p:spPr>
          <a:xfrm>
            <a:off x="1492489" y="4351917"/>
            <a:ext cx="232163" cy="220074"/>
          </a:xfrm>
          <a:prstGeom prst="can">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28" name="Can 127"/>
          <p:cNvSpPr/>
          <p:nvPr/>
        </p:nvSpPr>
        <p:spPr>
          <a:xfrm>
            <a:off x="1880137" y="4231461"/>
            <a:ext cx="361208" cy="340529"/>
          </a:xfrm>
          <a:prstGeom prst="can">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29" name="Can 128"/>
          <p:cNvSpPr/>
          <p:nvPr/>
        </p:nvSpPr>
        <p:spPr>
          <a:xfrm>
            <a:off x="2390746" y="4125013"/>
            <a:ext cx="434524" cy="446978"/>
          </a:xfrm>
          <a:prstGeom prst="can">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30" name="Can 129"/>
          <p:cNvSpPr/>
          <p:nvPr/>
        </p:nvSpPr>
        <p:spPr>
          <a:xfrm>
            <a:off x="2964575" y="4034143"/>
            <a:ext cx="537847" cy="537847"/>
          </a:xfrm>
          <a:prstGeom prst="can">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31" name="Can 130"/>
          <p:cNvSpPr/>
          <p:nvPr/>
        </p:nvSpPr>
        <p:spPr>
          <a:xfrm>
            <a:off x="3634434" y="3836579"/>
            <a:ext cx="739540" cy="739540"/>
          </a:xfrm>
          <a:prstGeom prst="can">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32" name="Can 131"/>
          <p:cNvSpPr/>
          <p:nvPr/>
        </p:nvSpPr>
        <p:spPr>
          <a:xfrm>
            <a:off x="6920228" y="2910213"/>
            <a:ext cx="1613542" cy="1613542"/>
          </a:xfrm>
          <a:prstGeom prst="can">
            <a:avLst>
              <a:gd name="adj" fmla="val 23513"/>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33" name="Rectangle 132"/>
          <p:cNvSpPr/>
          <p:nvPr/>
        </p:nvSpPr>
        <p:spPr bwMode="auto">
          <a:xfrm>
            <a:off x="4470099" y="3664962"/>
            <a:ext cx="1043051" cy="945861"/>
          </a:xfrm>
          <a:prstGeom prst="rect">
            <a:avLst/>
          </a:prstGeom>
          <a:noFill/>
          <a:ln w="38100" cap="flat" cmpd="sng" algn="ctr">
            <a:solidFill>
              <a:srgbClr val="E75FDD"/>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5C2D91">
                  <a:lumMod val="75000"/>
                </a:srgbClr>
              </a:solidFill>
              <a:effectLst/>
              <a:uLnTx/>
              <a:uFillTx/>
              <a:latin typeface="Segoe UI"/>
              <a:ea typeface="Segoe UI" pitchFamily="34" charset="0"/>
              <a:cs typeface="Segoe UI" pitchFamily="34" charset="0"/>
            </a:endParaRPr>
          </a:p>
        </p:txBody>
      </p:sp>
      <p:sp>
        <p:nvSpPr>
          <p:cNvPr id="134" name="TextBox 133"/>
          <p:cNvSpPr txBox="1"/>
          <p:nvPr/>
        </p:nvSpPr>
        <p:spPr>
          <a:xfrm>
            <a:off x="4700767" y="3283713"/>
            <a:ext cx="495972"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E75FDD"/>
                </a:solidFill>
                <a:effectLst/>
                <a:uLnTx/>
                <a:uFillTx/>
                <a:latin typeface="Segoe UI"/>
                <a:ea typeface="+mn-ea"/>
                <a:cs typeface="+mn-cs"/>
              </a:rPr>
              <a:t>P4</a:t>
            </a:r>
          </a:p>
        </p:txBody>
      </p:sp>
      <p:sp>
        <p:nvSpPr>
          <p:cNvPr id="135" name="Can 134"/>
          <p:cNvSpPr/>
          <p:nvPr/>
        </p:nvSpPr>
        <p:spPr>
          <a:xfrm>
            <a:off x="4513491" y="3704615"/>
            <a:ext cx="952866" cy="874501"/>
          </a:xfrm>
          <a:prstGeom prst="can">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36" name="TextBox 135"/>
          <p:cNvSpPr txBox="1"/>
          <p:nvPr/>
        </p:nvSpPr>
        <p:spPr>
          <a:xfrm>
            <a:off x="4649993" y="4571990"/>
            <a:ext cx="545664" cy="400622"/>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500</a:t>
            </a:r>
          </a:p>
        </p:txBody>
      </p:sp>
      <p:sp>
        <p:nvSpPr>
          <p:cNvPr id="137" name="Rectangle 136"/>
          <p:cNvSpPr/>
          <p:nvPr/>
        </p:nvSpPr>
        <p:spPr bwMode="auto">
          <a:xfrm>
            <a:off x="5572018" y="3393940"/>
            <a:ext cx="1210157" cy="1210157"/>
          </a:xfrm>
          <a:prstGeom prst="rect">
            <a:avLst/>
          </a:prstGeom>
          <a:noFill/>
          <a:ln w="38100" cap="flat" cmpd="sng" algn="ctr">
            <a:solidFill>
              <a:srgbClr val="E75FDD"/>
            </a:solidFill>
            <a:prstDash val="solid"/>
            <a:headEnd type="none" w="med" len="med"/>
            <a:tailEnd type="none" w="med" len="med"/>
          </a:ln>
          <a:effectLst/>
        </p:spPr>
        <p:txBody>
          <a:bodyPr rot="0" spcFirstLastPara="0" vertOverflow="overflow" horzOverflow="overflow" vert="horz" wrap="square" lIns="134462" tIns="107569" rIns="134462" bIns="107569" numCol="1" spcCol="0" rtlCol="0" fromWordArt="0" anchor="t" anchorCtr="0" forceAA="0" compatLnSpc="1">
            <a:prstTxWarp prst="textNoShape">
              <a:avLst/>
            </a:prstTxWarp>
            <a:noAutofit/>
          </a:bodyPr>
          <a:lstStyle/>
          <a:p>
            <a:pPr marL="0" marR="0" lvl="0" indent="0" algn="ctr" defTabSz="685608"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5C2D91">
                  <a:lumMod val="75000"/>
                </a:srgbClr>
              </a:solidFill>
              <a:effectLst/>
              <a:uLnTx/>
              <a:uFillTx/>
              <a:latin typeface="Segoe UI"/>
              <a:ea typeface="Segoe UI" pitchFamily="34" charset="0"/>
              <a:cs typeface="Segoe UI" pitchFamily="34" charset="0"/>
            </a:endParaRPr>
          </a:p>
        </p:txBody>
      </p:sp>
      <p:sp>
        <p:nvSpPr>
          <p:cNvPr id="138" name="TextBox 137"/>
          <p:cNvSpPr txBox="1"/>
          <p:nvPr/>
        </p:nvSpPr>
        <p:spPr>
          <a:xfrm>
            <a:off x="5802689" y="3012691"/>
            <a:ext cx="495972" cy="420949"/>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471" b="1" i="0" u="none" strike="noStrike" kern="0" cap="none" spc="0" normalizeH="0" baseline="0" noProof="0" dirty="0">
                <a:ln>
                  <a:noFill/>
                </a:ln>
                <a:solidFill>
                  <a:srgbClr val="E75FDD"/>
                </a:solidFill>
                <a:effectLst/>
                <a:uLnTx/>
                <a:uFillTx/>
                <a:latin typeface="Segoe UI"/>
                <a:ea typeface="+mn-ea"/>
                <a:cs typeface="+mn-cs"/>
              </a:rPr>
              <a:t>P6</a:t>
            </a:r>
          </a:p>
        </p:txBody>
      </p:sp>
      <p:sp>
        <p:nvSpPr>
          <p:cNvPr id="139" name="Can 138"/>
          <p:cNvSpPr/>
          <p:nvPr/>
        </p:nvSpPr>
        <p:spPr>
          <a:xfrm>
            <a:off x="5615413" y="3433592"/>
            <a:ext cx="1142925" cy="1142925"/>
          </a:xfrm>
          <a:prstGeom prst="can">
            <a:avLst/>
          </a:prstGeom>
          <a:solidFill>
            <a:srgbClr val="0078D7">
              <a:lumMod val="40000"/>
              <a:lumOff val="60000"/>
            </a:srgbClr>
          </a:solidFill>
          <a:ln w="10795" cap="flat" cmpd="sng" algn="ctr">
            <a:solidFill>
              <a:srgbClr val="0078D7">
                <a:lumMod val="60000"/>
                <a:lumOff val="40000"/>
              </a:srgbClr>
            </a:solidFill>
            <a:prstDash val="solid"/>
          </a:ln>
          <a:effectLst/>
        </p:spPr>
        <p:txBody>
          <a:bodyPr lIns="0" tIns="0" rIns="0" bIns="0" rtlCol="0" anchor="ctr"/>
          <a:lstStyle/>
          <a:p>
            <a:pPr marL="0" marR="0" lvl="0" indent="0" algn="ctr" defTabSz="6858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a typeface="+mn-ea"/>
              <a:cs typeface="+mn-cs"/>
            </a:endParaRPr>
          </a:p>
        </p:txBody>
      </p:sp>
      <p:sp>
        <p:nvSpPr>
          <p:cNvPr id="140" name="TextBox 139"/>
          <p:cNvSpPr txBox="1"/>
          <p:nvPr/>
        </p:nvSpPr>
        <p:spPr>
          <a:xfrm>
            <a:off x="5706229" y="4568450"/>
            <a:ext cx="637036" cy="400622"/>
          </a:xfrm>
          <a:prstGeom prst="rect">
            <a:avLst/>
          </a:prstGeom>
          <a:noFill/>
        </p:spPr>
        <p:txBody>
          <a:bodyPr wrap="none" lIns="134462" tIns="107569" rIns="134462" bIns="107569" rtlCol="0">
            <a:spAutoFit/>
          </a:bodyPr>
          <a:lstStyle/>
          <a:p>
            <a:pPr marL="0" marR="0" lvl="0" indent="0" algn="ctr" defTabSz="685832" rtl="0" eaLnBrk="1" fontAlgn="auto" latinLnBrk="0" hangingPunct="1">
              <a:lnSpc>
                <a:spcPct val="90000"/>
              </a:lnSpc>
              <a:spcBef>
                <a:spcPts val="0"/>
              </a:spcBef>
              <a:spcAft>
                <a:spcPts val="441"/>
              </a:spcAft>
              <a:buClrTx/>
              <a:buSzTx/>
              <a:buFontTx/>
              <a:buNone/>
              <a:tabLst/>
              <a:defRPr/>
            </a:pPr>
            <a:r>
              <a:rPr kumimoji="0" lang="en-US" sz="1324"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1000</a:t>
            </a:r>
          </a:p>
        </p:txBody>
      </p:sp>
    </p:spTree>
    <p:extLst>
      <p:ext uri="{BB962C8B-B14F-4D97-AF65-F5344CB8AC3E}">
        <p14:creationId xmlns:p14="http://schemas.microsoft.com/office/powerpoint/2010/main" val="26535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2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26"/>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27"/>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28"/>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2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129"/>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30"/>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3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31"/>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13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135"/>
                                        </p:tgtEl>
                                        <p:attrNameLst>
                                          <p:attrName>style.visibility</p:attrName>
                                        </p:attrNameLst>
                                      </p:cBhvr>
                                      <p:to>
                                        <p:strVal val="hidden"/>
                                      </p:to>
                                    </p:set>
                                  </p:childTnLst>
                                </p:cTn>
                              </p:par>
                              <p:par>
                                <p:cTn id="53" presetID="1" presetClass="entr" presetSubtype="0" fill="hold" grpId="0" nodeType="withEffect">
                                  <p:stCondLst>
                                    <p:cond delay="0"/>
                                  </p:stCondLst>
                                  <p:childTnLst>
                                    <p:set>
                                      <p:cBhvr>
                                        <p:cTn id="54" dur="1" fill="hold">
                                          <p:stCondLst>
                                            <p:cond delay="0"/>
                                          </p:stCondLst>
                                        </p:cTn>
                                        <p:tgtEl>
                                          <p:spTgt spid="139"/>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xit" presetSubtype="0" fill="hold" grpId="1" nodeType="clickEffect">
                                  <p:stCondLst>
                                    <p:cond delay="0"/>
                                  </p:stCondLst>
                                  <p:childTnLst>
                                    <p:set>
                                      <p:cBhvr>
                                        <p:cTn id="58" dur="1" fill="hold">
                                          <p:stCondLst>
                                            <p:cond delay="0"/>
                                          </p:stCondLst>
                                        </p:cTn>
                                        <p:tgtEl>
                                          <p:spTgt spid="139"/>
                                        </p:tgtEl>
                                        <p:attrNameLst>
                                          <p:attrName>style.visibility</p:attrName>
                                        </p:attrNameLst>
                                      </p:cBhvr>
                                      <p:to>
                                        <p:strVal val="hidden"/>
                                      </p:to>
                                    </p:set>
                                  </p:childTnLst>
                                </p:cTn>
                              </p:par>
                              <p:par>
                                <p:cTn id="59" presetID="1" presetClass="entr" presetSubtype="0" fill="hold" grpId="0" nodeType="withEffect">
                                  <p:stCondLst>
                                    <p:cond delay="0"/>
                                  </p:stCondLst>
                                  <p:childTnLst>
                                    <p:set>
                                      <p:cBhvr>
                                        <p:cTn id="60" dur="1" fill="hold">
                                          <p:stCondLst>
                                            <p:cond delay="0"/>
                                          </p:stCondLst>
                                        </p:cTn>
                                        <p:tgtEl>
                                          <p:spTgt spid="132"/>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grpId="1" nodeType="clickEffect">
                                  <p:stCondLst>
                                    <p:cond delay="0"/>
                                  </p:stCondLst>
                                  <p:childTnLst>
                                    <p:set>
                                      <p:cBhvr>
                                        <p:cTn id="64" dur="1" fill="hold">
                                          <p:stCondLst>
                                            <p:cond delay="0"/>
                                          </p:stCondLst>
                                        </p:cTn>
                                        <p:tgtEl>
                                          <p:spTgt spid="1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5" grpId="0" animBg="1"/>
      <p:bldP spid="135" grpId="1" animBg="1"/>
      <p:bldP spid="139" grpId="0" animBg="1"/>
      <p:bldP spid="139"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36034" y="165410"/>
            <a:ext cx="8742425" cy="674739"/>
          </a:xfrm>
        </p:spPr>
        <p:txBody>
          <a:bodyPr/>
          <a:lstStyle/>
          <a:p>
            <a:r>
              <a:rPr lang="en-US" dirty="0"/>
              <a:t>Elastic database pools</a:t>
            </a:r>
          </a:p>
        </p:txBody>
      </p:sp>
      <p:sp>
        <p:nvSpPr>
          <p:cNvPr id="9" name="Title 3"/>
          <p:cNvSpPr>
            <a:spLocks noGrp="1"/>
          </p:cNvSpPr>
          <p:nvPr>
            <p:ph type="body" sz="quarter" idx="4294967295"/>
          </p:nvPr>
        </p:nvSpPr>
        <p:spPr>
          <a:xfrm>
            <a:off x="-583" y="1027322"/>
            <a:ext cx="7666111" cy="2409890"/>
          </a:xfrm>
        </p:spPr>
        <p:txBody>
          <a:bodyPr/>
          <a:lstStyle/>
          <a:p>
            <a:r>
              <a:rPr lang="en-US" sz="1800" dirty="0"/>
              <a:t>Share resources dynamically among databases on the same server</a:t>
            </a:r>
          </a:p>
          <a:p>
            <a:r>
              <a:rPr lang="en-US" sz="1800" dirty="0"/>
              <a:t>Customer-managed over-provisioning makes pools cost-effective for unpredictable, sporadic workloads</a:t>
            </a:r>
          </a:p>
          <a:p>
            <a:pPr lvl="2"/>
            <a:r>
              <a:rPr lang="en-US" sz="1200" dirty="0"/>
              <a:t>Well-matched to many database-per-tenant SaaS workloads</a:t>
            </a:r>
          </a:p>
          <a:p>
            <a:r>
              <a:rPr lang="en-US" sz="1800" dirty="0"/>
              <a:t>Basic, Standard, and Premium tiers</a:t>
            </a:r>
          </a:p>
          <a:p>
            <a:r>
              <a:rPr lang="en-US" sz="1800" dirty="0"/>
              <a:t>Databases can burst to the same level as isolated DBs in the same tier </a:t>
            </a:r>
          </a:p>
          <a:p>
            <a:r>
              <a:rPr lang="en-US" sz="1800" dirty="0"/>
              <a:t>Pool size is scaled to support aggregate workload</a:t>
            </a:r>
          </a:p>
          <a:p>
            <a:pPr lvl="0"/>
            <a:r>
              <a:rPr lang="en-US" sz="1800" dirty="0">
                <a:gradFill>
                  <a:gsLst>
                    <a:gs pos="1250">
                      <a:srgbClr val="FFFFFF"/>
                    </a:gs>
                    <a:gs pos="100000">
                      <a:srgbClr val="FFFFFF"/>
                    </a:gs>
                  </a:gsLst>
                  <a:lin ang="5400000" scaled="0"/>
                </a:gradFill>
              </a:rPr>
              <a:t>Hourly billing for the pool based on pool size and DB count</a:t>
            </a:r>
          </a:p>
        </p:txBody>
      </p:sp>
      <p:grpSp>
        <p:nvGrpSpPr>
          <p:cNvPr id="702" name="Group 701"/>
          <p:cNvGrpSpPr/>
          <p:nvPr/>
        </p:nvGrpSpPr>
        <p:grpSpPr>
          <a:xfrm>
            <a:off x="3305655" y="4260491"/>
            <a:ext cx="5691756" cy="215869"/>
            <a:chOff x="4131411" y="5751738"/>
            <a:chExt cx="7742391" cy="260124"/>
          </a:xfrm>
        </p:grpSpPr>
        <p:sp>
          <p:nvSpPr>
            <p:cNvPr id="703" name="Rectangle 702"/>
            <p:cNvSpPr/>
            <p:nvPr/>
          </p:nvSpPr>
          <p:spPr bwMode="auto">
            <a:xfrm>
              <a:off x="6102696"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67221" tIns="67221" rIns="25211" bIns="25211" rtlCol="0" anchor="b" anchorCtr="0"/>
            <a:lstStyle/>
            <a:p>
              <a:pPr marL="0" marR="0" lvl="0" indent="0" algn="ctr" defTabSz="685428" rtl="0" eaLnBrk="1" fontAlgn="auto" latinLnBrk="0" hangingPunct="1">
                <a:lnSpc>
                  <a:spcPct val="100000"/>
                </a:lnSpc>
                <a:spcBef>
                  <a:spcPts val="0"/>
                </a:spcBef>
                <a:spcAft>
                  <a:spcPts val="0"/>
                </a:spcAft>
                <a:buClrTx/>
                <a:buSzTx/>
                <a:buFontTx/>
                <a:buNone/>
                <a:tabLst/>
                <a:defRPr/>
              </a:pPr>
              <a:endParaRPr kumimoji="0" lang="en-US" sz="5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4" name="Rectangle 703"/>
            <p:cNvSpPr/>
            <p:nvPr/>
          </p:nvSpPr>
          <p:spPr bwMode="auto">
            <a:xfrm>
              <a:off x="8111579"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67221" tIns="67221" rIns="25211" bIns="25211" rtlCol="0" anchor="b" anchorCtr="0"/>
            <a:lstStyle/>
            <a:p>
              <a:pPr marL="0" marR="0" lvl="0" indent="0" algn="ctr" defTabSz="685428" rtl="0" eaLnBrk="1" fontAlgn="auto" latinLnBrk="0" hangingPunct="1">
                <a:lnSpc>
                  <a:spcPct val="100000"/>
                </a:lnSpc>
                <a:spcBef>
                  <a:spcPts val="0"/>
                </a:spcBef>
                <a:spcAft>
                  <a:spcPts val="0"/>
                </a:spcAft>
                <a:buClrTx/>
                <a:buSzTx/>
                <a:buFontTx/>
                <a:buNone/>
                <a:tabLst/>
                <a:defRPr/>
              </a:pPr>
              <a:endParaRPr kumimoji="0" lang="en-US" sz="5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5" name="Rectangle 704"/>
            <p:cNvSpPr/>
            <p:nvPr/>
          </p:nvSpPr>
          <p:spPr bwMode="auto">
            <a:xfrm>
              <a:off x="10149783"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67221" tIns="67221" rIns="25211" bIns="25211" rtlCol="0" anchor="b" anchorCtr="0"/>
            <a:lstStyle/>
            <a:p>
              <a:pPr marL="0" marR="0" lvl="0" indent="0" algn="ctr" defTabSz="685428" rtl="0" eaLnBrk="1" fontAlgn="auto" latinLnBrk="0" hangingPunct="1">
                <a:lnSpc>
                  <a:spcPct val="100000"/>
                </a:lnSpc>
                <a:spcBef>
                  <a:spcPts val="0"/>
                </a:spcBef>
                <a:spcAft>
                  <a:spcPts val="0"/>
                </a:spcAft>
                <a:buClrTx/>
                <a:buSzTx/>
                <a:buFontTx/>
                <a:buNone/>
                <a:tabLst/>
                <a:defRPr/>
              </a:pPr>
              <a:endParaRPr kumimoji="0" lang="en-US" sz="5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6" name="Rectangle 705"/>
            <p:cNvSpPr/>
            <p:nvPr/>
          </p:nvSpPr>
          <p:spPr bwMode="auto">
            <a:xfrm>
              <a:off x="4131411"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67221" tIns="67221" rIns="25211" bIns="25211" rtlCol="0" anchor="b" anchorCtr="0"/>
            <a:lstStyle/>
            <a:p>
              <a:pPr marL="0" marR="0" lvl="0" indent="0" algn="ctr" defTabSz="685428" rtl="0" eaLnBrk="1" fontAlgn="auto" latinLnBrk="0" hangingPunct="1">
                <a:lnSpc>
                  <a:spcPct val="100000"/>
                </a:lnSpc>
                <a:spcBef>
                  <a:spcPts val="0"/>
                </a:spcBef>
                <a:spcAft>
                  <a:spcPts val="0"/>
                </a:spcAft>
                <a:buClrTx/>
                <a:buSzTx/>
                <a:buFontTx/>
                <a:buNone/>
                <a:tabLst/>
                <a:defRPr/>
              </a:pPr>
              <a:endParaRPr kumimoji="0" lang="en-US" sz="5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07" name="Rectangle 706"/>
          <p:cNvSpPr/>
          <p:nvPr/>
        </p:nvSpPr>
        <p:spPr bwMode="auto">
          <a:xfrm>
            <a:off x="3305655" y="4077044"/>
            <a:ext cx="1264158" cy="382456"/>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34443" tIns="107554" rIns="134443" bIns="107554" numCol="1" spcCol="0" rtlCol="0" fromWordArt="0" anchor="t" anchorCtr="0" forceAA="0" compatLnSpc="1">
            <a:prstTxWarp prst="textNoShape">
              <a:avLst/>
            </a:prstTxWarp>
            <a:noAutofit/>
          </a:bodyPr>
          <a:lstStyle/>
          <a:p>
            <a:pPr marL="0" marR="0" lvl="0" indent="0" algn="ctr" defTabSz="68547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00B050"/>
              </a:solidFill>
              <a:effectLst/>
              <a:uLnTx/>
              <a:uFillTx/>
              <a:latin typeface="Segoe UI"/>
              <a:ea typeface="Segoe UI" pitchFamily="34" charset="0"/>
              <a:cs typeface="Segoe UI" pitchFamily="34" charset="0"/>
            </a:endParaRPr>
          </a:p>
        </p:txBody>
      </p:sp>
      <p:sp>
        <p:nvSpPr>
          <p:cNvPr id="708" name="Rectangle 707"/>
          <p:cNvSpPr/>
          <p:nvPr/>
        </p:nvSpPr>
        <p:spPr bwMode="auto">
          <a:xfrm>
            <a:off x="7714302" y="1731484"/>
            <a:ext cx="1264158" cy="2728016"/>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34443" tIns="107554" rIns="134443" bIns="107554" numCol="1" spcCol="0" rtlCol="0" fromWordArt="0" anchor="t" anchorCtr="0" forceAA="0" compatLnSpc="1">
            <a:prstTxWarp prst="textNoShape">
              <a:avLst/>
            </a:prstTxWarp>
            <a:noAutofit/>
          </a:bodyPr>
          <a:lstStyle/>
          <a:p>
            <a:pPr marL="0" marR="0" lvl="0" indent="0" algn="ctr" defTabSz="68547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00B050"/>
              </a:solidFill>
              <a:effectLst/>
              <a:uLnTx/>
              <a:uFillTx/>
              <a:latin typeface="Segoe UI"/>
              <a:ea typeface="Segoe UI" pitchFamily="34" charset="0"/>
              <a:cs typeface="Segoe UI" pitchFamily="34" charset="0"/>
            </a:endParaRPr>
          </a:p>
        </p:txBody>
      </p:sp>
      <p:sp>
        <p:nvSpPr>
          <p:cNvPr id="709" name="TextBox 708"/>
          <p:cNvSpPr txBox="1"/>
          <p:nvPr/>
        </p:nvSpPr>
        <p:spPr>
          <a:xfrm>
            <a:off x="3563124" y="4420338"/>
            <a:ext cx="636998" cy="461635"/>
          </a:xfrm>
          <a:prstGeom prst="rect">
            <a:avLst/>
          </a:prstGeom>
          <a:noFill/>
        </p:spPr>
        <p:txBody>
          <a:bodyPr wrap="none" lIns="134443" tIns="107554" rIns="134443" bIns="107554" rtlCol="0">
            <a:spAutoFit/>
          </a:bodyPr>
          <a:lstStyle/>
          <a:p>
            <a:pPr marL="0" marR="0" lvl="0" indent="0" algn="ctr" defTabSz="672192" rtl="0"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200</a:t>
            </a:r>
          </a:p>
        </p:txBody>
      </p:sp>
      <p:sp>
        <p:nvSpPr>
          <p:cNvPr id="710" name="TextBox 709"/>
          <p:cNvSpPr txBox="1"/>
          <p:nvPr/>
        </p:nvSpPr>
        <p:spPr>
          <a:xfrm>
            <a:off x="7944711" y="4420338"/>
            <a:ext cx="758825" cy="461635"/>
          </a:xfrm>
          <a:prstGeom prst="rect">
            <a:avLst/>
          </a:prstGeom>
          <a:noFill/>
        </p:spPr>
        <p:txBody>
          <a:bodyPr wrap="none" lIns="134443" tIns="107554" rIns="134443" bIns="107554" rtlCol="0">
            <a:spAutoFit/>
          </a:bodyPr>
          <a:lstStyle/>
          <a:p>
            <a:pPr marL="0" marR="0" lvl="0" indent="0" algn="ctr" defTabSz="672192" rtl="0"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1200</a:t>
            </a:r>
          </a:p>
        </p:txBody>
      </p:sp>
      <p:sp>
        <p:nvSpPr>
          <p:cNvPr id="711" name="TextBox 710"/>
          <p:cNvSpPr txBox="1"/>
          <p:nvPr/>
        </p:nvSpPr>
        <p:spPr>
          <a:xfrm>
            <a:off x="2239304" y="4420338"/>
            <a:ext cx="953591" cy="461635"/>
          </a:xfrm>
          <a:prstGeom prst="rect">
            <a:avLst/>
          </a:prstGeom>
          <a:noFill/>
        </p:spPr>
        <p:txBody>
          <a:bodyPr wrap="square" lIns="134443" tIns="107554" rIns="134443" bIns="107554" rtlCol="0">
            <a:spAutoFit/>
          </a:bodyPr>
          <a:lstStyle/>
          <a:p>
            <a:pPr marL="0" marR="0" lvl="0" indent="0" algn="l" defTabSz="672192" rtl="0"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err="1">
                <a:ln>
                  <a:noFill/>
                </a:ln>
                <a:gradFill>
                  <a:gsLst>
                    <a:gs pos="2917">
                      <a:srgbClr val="FFFFFF"/>
                    </a:gs>
                    <a:gs pos="30000">
                      <a:srgbClr val="FFFFFF"/>
                    </a:gs>
                  </a:gsLst>
                  <a:lin ang="5400000" scaled="0"/>
                </a:gradFill>
                <a:effectLst/>
                <a:uLnTx/>
                <a:uFillTx/>
                <a:latin typeface="Segoe UI"/>
                <a:ea typeface="+mn-ea"/>
                <a:cs typeface="+mn-cs"/>
              </a:rPr>
              <a:t>eDTUs</a:t>
            </a:r>
            <a:endParaRPr kumimoji="0" lang="en-US" sz="176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712" name="Rectangle 711"/>
          <p:cNvSpPr/>
          <p:nvPr/>
        </p:nvSpPr>
        <p:spPr bwMode="auto">
          <a:xfrm>
            <a:off x="4752860" y="3651951"/>
            <a:ext cx="1264158" cy="807549"/>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34443" tIns="107554" rIns="134443" bIns="107554" numCol="1" spcCol="0" rtlCol="0" fromWordArt="0" anchor="t" anchorCtr="0" forceAA="0" compatLnSpc="1">
            <a:prstTxWarp prst="textNoShape">
              <a:avLst/>
            </a:prstTxWarp>
            <a:noAutofit/>
          </a:bodyPr>
          <a:lstStyle/>
          <a:p>
            <a:pPr marL="0" marR="0" lvl="0" indent="0" algn="ctr" defTabSz="68547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00B050"/>
              </a:solidFill>
              <a:effectLst/>
              <a:uLnTx/>
              <a:uFillTx/>
              <a:latin typeface="Segoe UI"/>
              <a:ea typeface="Segoe UI" pitchFamily="34" charset="0"/>
              <a:cs typeface="Segoe UI" pitchFamily="34" charset="0"/>
            </a:endParaRPr>
          </a:p>
        </p:txBody>
      </p:sp>
      <p:sp>
        <p:nvSpPr>
          <p:cNvPr id="713" name="Rectangle 712"/>
          <p:cNvSpPr/>
          <p:nvPr/>
        </p:nvSpPr>
        <p:spPr bwMode="auto">
          <a:xfrm>
            <a:off x="6234158" y="2825836"/>
            <a:ext cx="1264158" cy="1633665"/>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34443" tIns="107554" rIns="134443" bIns="107554" numCol="1" spcCol="0" rtlCol="0" fromWordArt="0" anchor="t" anchorCtr="0" forceAA="0" compatLnSpc="1">
            <a:prstTxWarp prst="textNoShape">
              <a:avLst/>
            </a:prstTxWarp>
            <a:noAutofit/>
          </a:bodyPr>
          <a:lstStyle/>
          <a:p>
            <a:pPr marL="0" marR="0" lvl="0" indent="0" algn="ctr" defTabSz="68547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00B050"/>
              </a:solidFill>
              <a:effectLst/>
              <a:uLnTx/>
              <a:uFillTx/>
              <a:latin typeface="Segoe UI"/>
              <a:ea typeface="Segoe UI" pitchFamily="34" charset="0"/>
              <a:cs typeface="Segoe UI" pitchFamily="34" charset="0"/>
            </a:endParaRPr>
          </a:p>
        </p:txBody>
      </p:sp>
      <p:sp>
        <p:nvSpPr>
          <p:cNvPr id="714" name="TextBox 713"/>
          <p:cNvSpPr txBox="1"/>
          <p:nvPr/>
        </p:nvSpPr>
        <p:spPr>
          <a:xfrm>
            <a:off x="5085105" y="4420338"/>
            <a:ext cx="636998" cy="461635"/>
          </a:xfrm>
          <a:prstGeom prst="rect">
            <a:avLst/>
          </a:prstGeom>
          <a:noFill/>
        </p:spPr>
        <p:txBody>
          <a:bodyPr wrap="none" lIns="134443" tIns="107554" rIns="134443" bIns="107554" rtlCol="0">
            <a:spAutoFit/>
          </a:bodyPr>
          <a:lstStyle/>
          <a:p>
            <a:pPr marL="0" marR="0" lvl="0" indent="0" algn="ctr" defTabSz="672192" rtl="0"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400</a:t>
            </a:r>
          </a:p>
        </p:txBody>
      </p:sp>
      <p:sp>
        <p:nvSpPr>
          <p:cNvPr id="715" name="TextBox 714"/>
          <p:cNvSpPr txBox="1"/>
          <p:nvPr/>
        </p:nvSpPr>
        <p:spPr>
          <a:xfrm>
            <a:off x="6514726" y="4420338"/>
            <a:ext cx="636998" cy="461635"/>
          </a:xfrm>
          <a:prstGeom prst="rect">
            <a:avLst/>
          </a:prstGeom>
          <a:noFill/>
        </p:spPr>
        <p:txBody>
          <a:bodyPr wrap="none" lIns="134443" tIns="107554" rIns="134443" bIns="107554" rtlCol="0">
            <a:spAutoFit/>
          </a:bodyPr>
          <a:lstStyle/>
          <a:p>
            <a:pPr marL="0" marR="0" lvl="0" indent="0" algn="ctr" defTabSz="672192" rtl="0"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800</a:t>
            </a:r>
          </a:p>
        </p:txBody>
      </p:sp>
      <p:grpSp>
        <p:nvGrpSpPr>
          <p:cNvPr id="716" name="Group 715"/>
          <p:cNvGrpSpPr/>
          <p:nvPr/>
        </p:nvGrpSpPr>
        <p:grpSpPr>
          <a:xfrm>
            <a:off x="3439321" y="4160604"/>
            <a:ext cx="960641" cy="203718"/>
            <a:chOff x="4313237" y="5582348"/>
            <a:chExt cx="1306743" cy="277114"/>
          </a:xfrm>
        </p:grpSpPr>
        <p:grpSp>
          <p:nvGrpSpPr>
            <p:cNvPr id="717" name="Group 716"/>
            <p:cNvGrpSpPr/>
            <p:nvPr/>
          </p:nvGrpSpPr>
          <p:grpSpPr>
            <a:xfrm>
              <a:off x="4387586" y="5582348"/>
              <a:ext cx="602070" cy="223776"/>
              <a:chOff x="621719" y="4712770"/>
              <a:chExt cx="1904166" cy="707737"/>
            </a:xfrm>
          </p:grpSpPr>
          <p:sp>
            <p:nvSpPr>
              <p:cNvPr id="738" name="Can 7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39" name="Can 7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40" name="Can 7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18" name="Group 717"/>
            <p:cNvGrpSpPr/>
            <p:nvPr/>
          </p:nvGrpSpPr>
          <p:grpSpPr>
            <a:xfrm>
              <a:off x="4353433" y="5611941"/>
              <a:ext cx="602070" cy="223776"/>
              <a:chOff x="621719" y="4712770"/>
              <a:chExt cx="1904166" cy="707737"/>
            </a:xfrm>
          </p:grpSpPr>
          <p:sp>
            <p:nvSpPr>
              <p:cNvPr id="735" name="Can 7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36" name="Can 7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37" name="Can 7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19" name="Group 718"/>
            <p:cNvGrpSpPr/>
            <p:nvPr/>
          </p:nvGrpSpPr>
          <p:grpSpPr>
            <a:xfrm>
              <a:off x="4313237" y="5635686"/>
              <a:ext cx="602070" cy="223776"/>
              <a:chOff x="621719" y="4712770"/>
              <a:chExt cx="1904166" cy="707737"/>
            </a:xfrm>
          </p:grpSpPr>
          <p:sp>
            <p:nvSpPr>
              <p:cNvPr id="732" name="Can 7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33" name="Can 7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34" name="Can 7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20" name="Group 719"/>
            <p:cNvGrpSpPr/>
            <p:nvPr/>
          </p:nvGrpSpPr>
          <p:grpSpPr>
            <a:xfrm>
              <a:off x="5017910" y="5582348"/>
              <a:ext cx="602070" cy="223776"/>
              <a:chOff x="621719" y="4712770"/>
              <a:chExt cx="1904166" cy="707737"/>
            </a:xfrm>
          </p:grpSpPr>
          <p:sp>
            <p:nvSpPr>
              <p:cNvPr id="729" name="Can 7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30" name="Can 7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31" name="Can 7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21" name="Group 720"/>
            <p:cNvGrpSpPr/>
            <p:nvPr/>
          </p:nvGrpSpPr>
          <p:grpSpPr>
            <a:xfrm>
              <a:off x="4983757" y="5611941"/>
              <a:ext cx="602070" cy="223776"/>
              <a:chOff x="621719" y="4712770"/>
              <a:chExt cx="1904166" cy="707737"/>
            </a:xfrm>
          </p:grpSpPr>
          <p:sp>
            <p:nvSpPr>
              <p:cNvPr id="726" name="Can 7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27" name="Can 7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28" name="Can 7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22" name="Group 721"/>
            <p:cNvGrpSpPr/>
            <p:nvPr/>
          </p:nvGrpSpPr>
          <p:grpSpPr>
            <a:xfrm>
              <a:off x="4943561" y="5635686"/>
              <a:ext cx="602070" cy="223776"/>
              <a:chOff x="621719" y="4712770"/>
              <a:chExt cx="1904166" cy="707737"/>
            </a:xfrm>
          </p:grpSpPr>
          <p:sp>
            <p:nvSpPr>
              <p:cNvPr id="723" name="Can 7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24" name="Can 7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25" name="Can 7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741" name="Group 740"/>
          <p:cNvGrpSpPr/>
          <p:nvPr/>
        </p:nvGrpSpPr>
        <p:grpSpPr>
          <a:xfrm>
            <a:off x="4895784" y="4156922"/>
            <a:ext cx="960641" cy="203718"/>
            <a:chOff x="4313237" y="5582348"/>
            <a:chExt cx="1306743" cy="277114"/>
          </a:xfrm>
        </p:grpSpPr>
        <p:grpSp>
          <p:nvGrpSpPr>
            <p:cNvPr id="742" name="Group 741"/>
            <p:cNvGrpSpPr/>
            <p:nvPr/>
          </p:nvGrpSpPr>
          <p:grpSpPr>
            <a:xfrm>
              <a:off x="4387586" y="5582348"/>
              <a:ext cx="602070" cy="223776"/>
              <a:chOff x="621719" y="4712770"/>
              <a:chExt cx="1904166" cy="707737"/>
            </a:xfrm>
          </p:grpSpPr>
          <p:sp>
            <p:nvSpPr>
              <p:cNvPr id="763" name="Can 7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64" name="Can 7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65" name="Can 7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43" name="Group 742"/>
            <p:cNvGrpSpPr/>
            <p:nvPr/>
          </p:nvGrpSpPr>
          <p:grpSpPr>
            <a:xfrm>
              <a:off x="4353433" y="5611941"/>
              <a:ext cx="602070" cy="223776"/>
              <a:chOff x="621719" y="4712770"/>
              <a:chExt cx="1904166" cy="707737"/>
            </a:xfrm>
          </p:grpSpPr>
          <p:sp>
            <p:nvSpPr>
              <p:cNvPr id="760" name="Can 7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61" name="Can 7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62" name="Can 7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44" name="Group 743"/>
            <p:cNvGrpSpPr/>
            <p:nvPr/>
          </p:nvGrpSpPr>
          <p:grpSpPr>
            <a:xfrm>
              <a:off x="4313237" y="5635686"/>
              <a:ext cx="602070" cy="223776"/>
              <a:chOff x="621719" y="4712770"/>
              <a:chExt cx="1904166" cy="707737"/>
            </a:xfrm>
          </p:grpSpPr>
          <p:sp>
            <p:nvSpPr>
              <p:cNvPr id="757" name="Can 7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58" name="Can 7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59" name="Can 7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45" name="Group 744"/>
            <p:cNvGrpSpPr/>
            <p:nvPr/>
          </p:nvGrpSpPr>
          <p:grpSpPr>
            <a:xfrm>
              <a:off x="5017910" y="5582348"/>
              <a:ext cx="602070" cy="223776"/>
              <a:chOff x="621719" y="4712770"/>
              <a:chExt cx="1904166" cy="707737"/>
            </a:xfrm>
          </p:grpSpPr>
          <p:sp>
            <p:nvSpPr>
              <p:cNvPr id="754" name="Can 7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55" name="Can 7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56" name="Can 7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46" name="Group 745"/>
            <p:cNvGrpSpPr/>
            <p:nvPr/>
          </p:nvGrpSpPr>
          <p:grpSpPr>
            <a:xfrm>
              <a:off x="4983757" y="5611941"/>
              <a:ext cx="602070" cy="223776"/>
              <a:chOff x="621719" y="4712770"/>
              <a:chExt cx="1904166" cy="707737"/>
            </a:xfrm>
          </p:grpSpPr>
          <p:sp>
            <p:nvSpPr>
              <p:cNvPr id="751" name="Can 7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52" name="Can 7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53" name="Can 7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47" name="Group 746"/>
            <p:cNvGrpSpPr/>
            <p:nvPr/>
          </p:nvGrpSpPr>
          <p:grpSpPr>
            <a:xfrm>
              <a:off x="4943561" y="5635686"/>
              <a:ext cx="602070" cy="223776"/>
              <a:chOff x="621719" y="4712770"/>
              <a:chExt cx="1904166" cy="707737"/>
            </a:xfrm>
          </p:grpSpPr>
          <p:sp>
            <p:nvSpPr>
              <p:cNvPr id="748" name="Can 7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49" name="Can 7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50" name="Can 7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766" name="Group 765"/>
          <p:cNvGrpSpPr/>
          <p:nvPr/>
        </p:nvGrpSpPr>
        <p:grpSpPr>
          <a:xfrm>
            <a:off x="4895784" y="3992551"/>
            <a:ext cx="960641" cy="203718"/>
            <a:chOff x="4313237" y="5582348"/>
            <a:chExt cx="1306743" cy="277114"/>
          </a:xfrm>
        </p:grpSpPr>
        <p:grpSp>
          <p:nvGrpSpPr>
            <p:cNvPr id="767" name="Group 766"/>
            <p:cNvGrpSpPr/>
            <p:nvPr/>
          </p:nvGrpSpPr>
          <p:grpSpPr>
            <a:xfrm>
              <a:off x="4387586" y="5582348"/>
              <a:ext cx="602070" cy="223776"/>
              <a:chOff x="621719" y="4712770"/>
              <a:chExt cx="1904166" cy="707737"/>
            </a:xfrm>
          </p:grpSpPr>
          <p:sp>
            <p:nvSpPr>
              <p:cNvPr id="788" name="Can 7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89" name="Can 7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90" name="Can 7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68" name="Group 767"/>
            <p:cNvGrpSpPr/>
            <p:nvPr/>
          </p:nvGrpSpPr>
          <p:grpSpPr>
            <a:xfrm>
              <a:off x="4353433" y="5611941"/>
              <a:ext cx="602070" cy="223776"/>
              <a:chOff x="621719" y="4712770"/>
              <a:chExt cx="1904166" cy="707737"/>
            </a:xfrm>
          </p:grpSpPr>
          <p:sp>
            <p:nvSpPr>
              <p:cNvPr id="785" name="Can 7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86" name="Can 7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87" name="Can 7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69" name="Group 768"/>
            <p:cNvGrpSpPr/>
            <p:nvPr/>
          </p:nvGrpSpPr>
          <p:grpSpPr>
            <a:xfrm>
              <a:off x="4313237" y="5635686"/>
              <a:ext cx="602070" cy="223776"/>
              <a:chOff x="621719" y="4712770"/>
              <a:chExt cx="1904166" cy="707737"/>
            </a:xfrm>
          </p:grpSpPr>
          <p:sp>
            <p:nvSpPr>
              <p:cNvPr id="782" name="Can 7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83" name="Can 7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84" name="Can 7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70" name="Group 769"/>
            <p:cNvGrpSpPr/>
            <p:nvPr/>
          </p:nvGrpSpPr>
          <p:grpSpPr>
            <a:xfrm>
              <a:off x="5017910" y="5582348"/>
              <a:ext cx="602070" cy="223776"/>
              <a:chOff x="621719" y="4712770"/>
              <a:chExt cx="1904166" cy="707737"/>
            </a:xfrm>
          </p:grpSpPr>
          <p:sp>
            <p:nvSpPr>
              <p:cNvPr id="779" name="Can 7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80" name="Can 7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81" name="Can 7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71" name="Group 770"/>
            <p:cNvGrpSpPr/>
            <p:nvPr/>
          </p:nvGrpSpPr>
          <p:grpSpPr>
            <a:xfrm>
              <a:off x="4983757" y="5611941"/>
              <a:ext cx="602070" cy="223776"/>
              <a:chOff x="621719" y="4712770"/>
              <a:chExt cx="1904166" cy="707737"/>
            </a:xfrm>
          </p:grpSpPr>
          <p:sp>
            <p:nvSpPr>
              <p:cNvPr id="776" name="Can 7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77" name="Can 7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78" name="Can 7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72" name="Group 771"/>
            <p:cNvGrpSpPr/>
            <p:nvPr/>
          </p:nvGrpSpPr>
          <p:grpSpPr>
            <a:xfrm>
              <a:off x="4943561" y="5635686"/>
              <a:ext cx="602070" cy="223776"/>
              <a:chOff x="621719" y="4712770"/>
              <a:chExt cx="1904166" cy="707737"/>
            </a:xfrm>
          </p:grpSpPr>
          <p:sp>
            <p:nvSpPr>
              <p:cNvPr id="773" name="Can 7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74" name="Can 7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75" name="Can 7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791" name="Group 790"/>
          <p:cNvGrpSpPr/>
          <p:nvPr/>
        </p:nvGrpSpPr>
        <p:grpSpPr>
          <a:xfrm>
            <a:off x="4895784" y="3820270"/>
            <a:ext cx="960641" cy="203718"/>
            <a:chOff x="4313237" y="5582348"/>
            <a:chExt cx="1306743" cy="277114"/>
          </a:xfrm>
        </p:grpSpPr>
        <p:grpSp>
          <p:nvGrpSpPr>
            <p:cNvPr id="792" name="Group 791"/>
            <p:cNvGrpSpPr/>
            <p:nvPr/>
          </p:nvGrpSpPr>
          <p:grpSpPr>
            <a:xfrm>
              <a:off x="4387586" y="5582348"/>
              <a:ext cx="602070" cy="223776"/>
              <a:chOff x="621719" y="4712770"/>
              <a:chExt cx="1904166" cy="707737"/>
            </a:xfrm>
          </p:grpSpPr>
          <p:sp>
            <p:nvSpPr>
              <p:cNvPr id="813" name="Can 8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14" name="Can 8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15" name="Can 8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93" name="Group 792"/>
            <p:cNvGrpSpPr/>
            <p:nvPr/>
          </p:nvGrpSpPr>
          <p:grpSpPr>
            <a:xfrm>
              <a:off x="4353433" y="5611941"/>
              <a:ext cx="602070" cy="223776"/>
              <a:chOff x="621719" y="4712770"/>
              <a:chExt cx="1904166" cy="707737"/>
            </a:xfrm>
          </p:grpSpPr>
          <p:sp>
            <p:nvSpPr>
              <p:cNvPr id="810" name="Can 8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11" name="Can 8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12" name="Can 8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94" name="Group 793"/>
            <p:cNvGrpSpPr/>
            <p:nvPr/>
          </p:nvGrpSpPr>
          <p:grpSpPr>
            <a:xfrm>
              <a:off x="4313237" y="5635686"/>
              <a:ext cx="602070" cy="223776"/>
              <a:chOff x="621719" y="4712770"/>
              <a:chExt cx="1904166" cy="707737"/>
            </a:xfrm>
          </p:grpSpPr>
          <p:sp>
            <p:nvSpPr>
              <p:cNvPr id="807" name="Can 8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08" name="Can 8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09" name="Can 8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95" name="Group 794"/>
            <p:cNvGrpSpPr/>
            <p:nvPr/>
          </p:nvGrpSpPr>
          <p:grpSpPr>
            <a:xfrm>
              <a:off x="5017910" y="5582348"/>
              <a:ext cx="602070" cy="223776"/>
              <a:chOff x="621719" y="4712770"/>
              <a:chExt cx="1904166" cy="707737"/>
            </a:xfrm>
          </p:grpSpPr>
          <p:sp>
            <p:nvSpPr>
              <p:cNvPr id="804" name="Can 8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05" name="Can 8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06" name="Can 8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96" name="Group 795"/>
            <p:cNvGrpSpPr/>
            <p:nvPr/>
          </p:nvGrpSpPr>
          <p:grpSpPr>
            <a:xfrm>
              <a:off x="4983757" y="5611941"/>
              <a:ext cx="602070" cy="223776"/>
              <a:chOff x="621719" y="4712770"/>
              <a:chExt cx="1904166" cy="707737"/>
            </a:xfrm>
          </p:grpSpPr>
          <p:sp>
            <p:nvSpPr>
              <p:cNvPr id="801" name="Can 8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02" name="Can 8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03" name="Can 8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97" name="Group 796"/>
            <p:cNvGrpSpPr/>
            <p:nvPr/>
          </p:nvGrpSpPr>
          <p:grpSpPr>
            <a:xfrm>
              <a:off x="4943561" y="5635686"/>
              <a:ext cx="602070" cy="223776"/>
              <a:chOff x="621719" y="4712770"/>
              <a:chExt cx="1904166" cy="707737"/>
            </a:xfrm>
          </p:grpSpPr>
          <p:sp>
            <p:nvSpPr>
              <p:cNvPr id="798" name="Can 7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799" name="Can 7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00" name="Can 7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816" name="Group 815"/>
          <p:cNvGrpSpPr/>
          <p:nvPr/>
        </p:nvGrpSpPr>
        <p:grpSpPr>
          <a:xfrm>
            <a:off x="6408264" y="4156922"/>
            <a:ext cx="960641" cy="203718"/>
            <a:chOff x="4313237" y="5582348"/>
            <a:chExt cx="1306743" cy="277114"/>
          </a:xfrm>
        </p:grpSpPr>
        <p:grpSp>
          <p:nvGrpSpPr>
            <p:cNvPr id="817" name="Group 816"/>
            <p:cNvGrpSpPr/>
            <p:nvPr/>
          </p:nvGrpSpPr>
          <p:grpSpPr>
            <a:xfrm>
              <a:off x="4387586" y="5582348"/>
              <a:ext cx="602070" cy="223776"/>
              <a:chOff x="621719" y="4712770"/>
              <a:chExt cx="1904166" cy="707737"/>
            </a:xfrm>
          </p:grpSpPr>
          <p:sp>
            <p:nvSpPr>
              <p:cNvPr id="838" name="Can 8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39" name="Can 8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40" name="Can 8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18" name="Group 817"/>
            <p:cNvGrpSpPr/>
            <p:nvPr/>
          </p:nvGrpSpPr>
          <p:grpSpPr>
            <a:xfrm>
              <a:off x="4353433" y="5611941"/>
              <a:ext cx="602070" cy="223776"/>
              <a:chOff x="621719" y="4712770"/>
              <a:chExt cx="1904166" cy="707737"/>
            </a:xfrm>
          </p:grpSpPr>
          <p:sp>
            <p:nvSpPr>
              <p:cNvPr id="835" name="Can 8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36" name="Can 8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37" name="Can 8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19" name="Group 818"/>
            <p:cNvGrpSpPr/>
            <p:nvPr/>
          </p:nvGrpSpPr>
          <p:grpSpPr>
            <a:xfrm>
              <a:off x="4313237" y="5635686"/>
              <a:ext cx="602070" cy="223776"/>
              <a:chOff x="621719" y="4712770"/>
              <a:chExt cx="1904166" cy="707737"/>
            </a:xfrm>
          </p:grpSpPr>
          <p:sp>
            <p:nvSpPr>
              <p:cNvPr id="832" name="Can 8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33" name="Can 8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34" name="Can 8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20" name="Group 819"/>
            <p:cNvGrpSpPr/>
            <p:nvPr/>
          </p:nvGrpSpPr>
          <p:grpSpPr>
            <a:xfrm>
              <a:off x="5017910" y="5582348"/>
              <a:ext cx="602070" cy="223776"/>
              <a:chOff x="621719" y="4712770"/>
              <a:chExt cx="1904166" cy="707737"/>
            </a:xfrm>
          </p:grpSpPr>
          <p:sp>
            <p:nvSpPr>
              <p:cNvPr id="829" name="Can 8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30" name="Can 8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31" name="Can 8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21" name="Group 820"/>
            <p:cNvGrpSpPr/>
            <p:nvPr/>
          </p:nvGrpSpPr>
          <p:grpSpPr>
            <a:xfrm>
              <a:off x="4983757" y="5611941"/>
              <a:ext cx="602070" cy="223776"/>
              <a:chOff x="621719" y="4712770"/>
              <a:chExt cx="1904166" cy="707737"/>
            </a:xfrm>
          </p:grpSpPr>
          <p:sp>
            <p:nvSpPr>
              <p:cNvPr id="826" name="Can 8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27" name="Can 8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28" name="Can 8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22" name="Group 821"/>
            <p:cNvGrpSpPr/>
            <p:nvPr/>
          </p:nvGrpSpPr>
          <p:grpSpPr>
            <a:xfrm>
              <a:off x="4943561" y="5635686"/>
              <a:ext cx="602070" cy="223776"/>
              <a:chOff x="621719" y="4712770"/>
              <a:chExt cx="1904166" cy="707737"/>
            </a:xfrm>
          </p:grpSpPr>
          <p:sp>
            <p:nvSpPr>
              <p:cNvPr id="823" name="Can 8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24" name="Can 8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25" name="Can 8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841" name="Group 840"/>
          <p:cNvGrpSpPr/>
          <p:nvPr/>
        </p:nvGrpSpPr>
        <p:grpSpPr>
          <a:xfrm>
            <a:off x="6408264" y="3992551"/>
            <a:ext cx="960641" cy="203718"/>
            <a:chOff x="4313237" y="5582348"/>
            <a:chExt cx="1306743" cy="277114"/>
          </a:xfrm>
        </p:grpSpPr>
        <p:grpSp>
          <p:nvGrpSpPr>
            <p:cNvPr id="842" name="Group 841"/>
            <p:cNvGrpSpPr/>
            <p:nvPr/>
          </p:nvGrpSpPr>
          <p:grpSpPr>
            <a:xfrm>
              <a:off x="4387586" y="5582348"/>
              <a:ext cx="602070" cy="223776"/>
              <a:chOff x="621719" y="4712770"/>
              <a:chExt cx="1904166" cy="707737"/>
            </a:xfrm>
          </p:grpSpPr>
          <p:sp>
            <p:nvSpPr>
              <p:cNvPr id="863" name="Can 8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64" name="Can 8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65" name="Can 8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43" name="Group 842"/>
            <p:cNvGrpSpPr/>
            <p:nvPr/>
          </p:nvGrpSpPr>
          <p:grpSpPr>
            <a:xfrm>
              <a:off x="4353433" y="5611941"/>
              <a:ext cx="602070" cy="223776"/>
              <a:chOff x="621719" y="4712770"/>
              <a:chExt cx="1904166" cy="707737"/>
            </a:xfrm>
          </p:grpSpPr>
          <p:sp>
            <p:nvSpPr>
              <p:cNvPr id="860" name="Can 8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61" name="Can 8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62" name="Can 8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44" name="Group 843"/>
            <p:cNvGrpSpPr/>
            <p:nvPr/>
          </p:nvGrpSpPr>
          <p:grpSpPr>
            <a:xfrm>
              <a:off x="4313237" y="5635686"/>
              <a:ext cx="602070" cy="223776"/>
              <a:chOff x="621719" y="4712770"/>
              <a:chExt cx="1904166" cy="707737"/>
            </a:xfrm>
          </p:grpSpPr>
          <p:sp>
            <p:nvSpPr>
              <p:cNvPr id="857" name="Can 8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58" name="Can 8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59" name="Can 8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45" name="Group 844"/>
            <p:cNvGrpSpPr/>
            <p:nvPr/>
          </p:nvGrpSpPr>
          <p:grpSpPr>
            <a:xfrm>
              <a:off x="5017910" y="5582348"/>
              <a:ext cx="602070" cy="223776"/>
              <a:chOff x="621719" y="4712770"/>
              <a:chExt cx="1904166" cy="707737"/>
            </a:xfrm>
          </p:grpSpPr>
          <p:sp>
            <p:nvSpPr>
              <p:cNvPr id="854" name="Can 8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55" name="Can 8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56" name="Can 8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46" name="Group 845"/>
            <p:cNvGrpSpPr/>
            <p:nvPr/>
          </p:nvGrpSpPr>
          <p:grpSpPr>
            <a:xfrm>
              <a:off x="4983757" y="5611941"/>
              <a:ext cx="602070" cy="223776"/>
              <a:chOff x="621719" y="4712770"/>
              <a:chExt cx="1904166" cy="707737"/>
            </a:xfrm>
          </p:grpSpPr>
          <p:sp>
            <p:nvSpPr>
              <p:cNvPr id="851" name="Can 8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52" name="Can 8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53" name="Can 8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47" name="Group 846"/>
            <p:cNvGrpSpPr/>
            <p:nvPr/>
          </p:nvGrpSpPr>
          <p:grpSpPr>
            <a:xfrm>
              <a:off x="4943561" y="5635686"/>
              <a:ext cx="602070" cy="223776"/>
              <a:chOff x="621719" y="4712770"/>
              <a:chExt cx="1904166" cy="707737"/>
            </a:xfrm>
          </p:grpSpPr>
          <p:sp>
            <p:nvSpPr>
              <p:cNvPr id="848" name="Can 8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49" name="Can 8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50" name="Can 8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866" name="Group 865"/>
          <p:cNvGrpSpPr/>
          <p:nvPr/>
        </p:nvGrpSpPr>
        <p:grpSpPr>
          <a:xfrm>
            <a:off x="6408264" y="3820270"/>
            <a:ext cx="960641" cy="203718"/>
            <a:chOff x="4313237" y="5582348"/>
            <a:chExt cx="1306743" cy="277114"/>
          </a:xfrm>
        </p:grpSpPr>
        <p:grpSp>
          <p:nvGrpSpPr>
            <p:cNvPr id="867" name="Group 866"/>
            <p:cNvGrpSpPr/>
            <p:nvPr/>
          </p:nvGrpSpPr>
          <p:grpSpPr>
            <a:xfrm>
              <a:off x="4387586" y="5582348"/>
              <a:ext cx="602070" cy="223776"/>
              <a:chOff x="621719" y="4712770"/>
              <a:chExt cx="1904166" cy="707737"/>
            </a:xfrm>
          </p:grpSpPr>
          <p:sp>
            <p:nvSpPr>
              <p:cNvPr id="888" name="Can 8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89" name="Can 8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90" name="Can 8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68" name="Group 867"/>
            <p:cNvGrpSpPr/>
            <p:nvPr/>
          </p:nvGrpSpPr>
          <p:grpSpPr>
            <a:xfrm>
              <a:off x="4353433" y="5611941"/>
              <a:ext cx="602070" cy="223776"/>
              <a:chOff x="621719" y="4712770"/>
              <a:chExt cx="1904166" cy="707737"/>
            </a:xfrm>
          </p:grpSpPr>
          <p:sp>
            <p:nvSpPr>
              <p:cNvPr id="885" name="Can 8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86" name="Can 8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87" name="Can 8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69" name="Group 868"/>
            <p:cNvGrpSpPr/>
            <p:nvPr/>
          </p:nvGrpSpPr>
          <p:grpSpPr>
            <a:xfrm>
              <a:off x="4313237" y="5635686"/>
              <a:ext cx="602070" cy="223776"/>
              <a:chOff x="621719" y="4712770"/>
              <a:chExt cx="1904166" cy="707737"/>
            </a:xfrm>
          </p:grpSpPr>
          <p:sp>
            <p:nvSpPr>
              <p:cNvPr id="882" name="Can 8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83" name="Can 8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84" name="Can 8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70" name="Group 869"/>
            <p:cNvGrpSpPr/>
            <p:nvPr/>
          </p:nvGrpSpPr>
          <p:grpSpPr>
            <a:xfrm>
              <a:off x="5017910" y="5582348"/>
              <a:ext cx="602070" cy="223776"/>
              <a:chOff x="621719" y="4712770"/>
              <a:chExt cx="1904166" cy="707737"/>
            </a:xfrm>
          </p:grpSpPr>
          <p:sp>
            <p:nvSpPr>
              <p:cNvPr id="879" name="Can 8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80" name="Can 8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81" name="Can 8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71" name="Group 870"/>
            <p:cNvGrpSpPr/>
            <p:nvPr/>
          </p:nvGrpSpPr>
          <p:grpSpPr>
            <a:xfrm>
              <a:off x="4983757" y="5611941"/>
              <a:ext cx="602070" cy="223776"/>
              <a:chOff x="621719" y="4712770"/>
              <a:chExt cx="1904166" cy="707737"/>
            </a:xfrm>
          </p:grpSpPr>
          <p:sp>
            <p:nvSpPr>
              <p:cNvPr id="876" name="Can 8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77" name="Can 8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78" name="Can 8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72" name="Group 871"/>
            <p:cNvGrpSpPr/>
            <p:nvPr/>
          </p:nvGrpSpPr>
          <p:grpSpPr>
            <a:xfrm>
              <a:off x="4943561" y="5635686"/>
              <a:ext cx="602070" cy="223776"/>
              <a:chOff x="621719" y="4712770"/>
              <a:chExt cx="1904166" cy="707737"/>
            </a:xfrm>
          </p:grpSpPr>
          <p:sp>
            <p:nvSpPr>
              <p:cNvPr id="873" name="Can 8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74" name="Can 8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75" name="Can 8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891" name="Group 890"/>
          <p:cNvGrpSpPr/>
          <p:nvPr/>
        </p:nvGrpSpPr>
        <p:grpSpPr>
          <a:xfrm>
            <a:off x="6408264" y="3655763"/>
            <a:ext cx="960641" cy="203718"/>
            <a:chOff x="4313237" y="5582348"/>
            <a:chExt cx="1306743" cy="277114"/>
          </a:xfrm>
        </p:grpSpPr>
        <p:grpSp>
          <p:nvGrpSpPr>
            <p:cNvPr id="892" name="Group 891"/>
            <p:cNvGrpSpPr/>
            <p:nvPr/>
          </p:nvGrpSpPr>
          <p:grpSpPr>
            <a:xfrm>
              <a:off x="4387586" y="5582348"/>
              <a:ext cx="602070" cy="223776"/>
              <a:chOff x="621719" y="4712770"/>
              <a:chExt cx="1904166" cy="707737"/>
            </a:xfrm>
          </p:grpSpPr>
          <p:sp>
            <p:nvSpPr>
              <p:cNvPr id="913" name="Can 9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14" name="Can 9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15" name="Can 9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93" name="Group 892"/>
            <p:cNvGrpSpPr/>
            <p:nvPr/>
          </p:nvGrpSpPr>
          <p:grpSpPr>
            <a:xfrm>
              <a:off x="4353433" y="5611941"/>
              <a:ext cx="602070" cy="223776"/>
              <a:chOff x="621719" y="4712770"/>
              <a:chExt cx="1904166" cy="707737"/>
            </a:xfrm>
          </p:grpSpPr>
          <p:sp>
            <p:nvSpPr>
              <p:cNvPr id="910" name="Can 9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11" name="Can 9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12" name="Can 9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94" name="Group 893"/>
            <p:cNvGrpSpPr/>
            <p:nvPr/>
          </p:nvGrpSpPr>
          <p:grpSpPr>
            <a:xfrm>
              <a:off x="4313237" y="5635686"/>
              <a:ext cx="602070" cy="223776"/>
              <a:chOff x="621719" y="4712770"/>
              <a:chExt cx="1904166" cy="707737"/>
            </a:xfrm>
          </p:grpSpPr>
          <p:sp>
            <p:nvSpPr>
              <p:cNvPr id="907" name="Can 9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08" name="Can 9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09" name="Can 9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95" name="Group 894"/>
            <p:cNvGrpSpPr/>
            <p:nvPr/>
          </p:nvGrpSpPr>
          <p:grpSpPr>
            <a:xfrm>
              <a:off x="5017910" y="5582348"/>
              <a:ext cx="602070" cy="223776"/>
              <a:chOff x="621719" y="4712770"/>
              <a:chExt cx="1904166" cy="707737"/>
            </a:xfrm>
          </p:grpSpPr>
          <p:sp>
            <p:nvSpPr>
              <p:cNvPr id="904" name="Can 9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05" name="Can 9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06" name="Can 9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96" name="Group 895"/>
            <p:cNvGrpSpPr/>
            <p:nvPr/>
          </p:nvGrpSpPr>
          <p:grpSpPr>
            <a:xfrm>
              <a:off x="4983757" y="5611941"/>
              <a:ext cx="602070" cy="223776"/>
              <a:chOff x="621719" y="4712770"/>
              <a:chExt cx="1904166" cy="707737"/>
            </a:xfrm>
          </p:grpSpPr>
          <p:sp>
            <p:nvSpPr>
              <p:cNvPr id="901" name="Can 9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02" name="Can 9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03" name="Can 9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97" name="Group 896"/>
            <p:cNvGrpSpPr/>
            <p:nvPr/>
          </p:nvGrpSpPr>
          <p:grpSpPr>
            <a:xfrm>
              <a:off x="4943561" y="5635686"/>
              <a:ext cx="602070" cy="223776"/>
              <a:chOff x="621719" y="4712770"/>
              <a:chExt cx="1904166" cy="707737"/>
            </a:xfrm>
          </p:grpSpPr>
          <p:sp>
            <p:nvSpPr>
              <p:cNvPr id="898" name="Can 8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899" name="Can 8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00" name="Can 8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916" name="Group 915"/>
          <p:cNvGrpSpPr/>
          <p:nvPr/>
        </p:nvGrpSpPr>
        <p:grpSpPr>
          <a:xfrm>
            <a:off x="6408264" y="3488392"/>
            <a:ext cx="960641" cy="203718"/>
            <a:chOff x="4313237" y="5582348"/>
            <a:chExt cx="1306743" cy="277114"/>
          </a:xfrm>
        </p:grpSpPr>
        <p:grpSp>
          <p:nvGrpSpPr>
            <p:cNvPr id="917" name="Group 916"/>
            <p:cNvGrpSpPr/>
            <p:nvPr/>
          </p:nvGrpSpPr>
          <p:grpSpPr>
            <a:xfrm>
              <a:off x="4387586" y="5582348"/>
              <a:ext cx="602070" cy="223776"/>
              <a:chOff x="621719" y="4712770"/>
              <a:chExt cx="1904166" cy="707737"/>
            </a:xfrm>
          </p:grpSpPr>
          <p:sp>
            <p:nvSpPr>
              <p:cNvPr id="938" name="Can 9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39" name="Can 9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40" name="Can 9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18" name="Group 917"/>
            <p:cNvGrpSpPr/>
            <p:nvPr/>
          </p:nvGrpSpPr>
          <p:grpSpPr>
            <a:xfrm>
              <a:off x="4353433" y="5611941"/>
              <a:ext cx="602070" cy="223776"/>
              <a:chOff x="621719" y="4712770"/>
              <a:chExt cx="1904166" cy="707737"/>
            </a:xfrm>
          </p:grpSpPr>
          <p:sp>
            <p:nvSpPr>
              <p:cNvPr id="935" name="Can 9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36" name="Can 9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37" name="Can 9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19" name="Group 918"/>
            <p:cNvGrpSpPr/>
            <p:nvPr/>
          </p:nvGrpSpPr>
          <p:grpSpPr>
            <a:xfrm>
              <a:off x="4313237" y="5635686"/>
              <a:ext cx="602070" cy="223776"/>
              <a:chOff x="621719" y="4712770"/>
              <a:chExt cx="1904166" cy="707737"/>
            </a:xfrm>
          </p:grpSpPr>
          <p:sp>
            <p:nvSpPr>
              <p:cNvPr id="932" name="Can 9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33" name="Can 9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34" name="Can 9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20" name="Group 919"/>
            <p:cNvGrpSpPr/>
            <p:nvPr/>
          </p:nvGrpSpPr>
          <p:grpSpPr>
            <a:xfrm>
              <a:off x="5017910" y="5582348"/>
              <a:ext cx="602070" cy="223776"/>
              <a:chOff x="621719" y="4712770"/>
              <a:chExt cx="1904166" cy="707737"/>
            </a:xfrm>
          </p:grpSpPr>
          <p:sp>
            <p:nvSpPr>
              <p:cNvPr id="929" name="Can 9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30" name="Can 9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31" name="Can 9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21" name="Group 920"/>
            <p:cNvGrpSpPr/>
            <p:nvPr/>
          </p:nvGrpSpPr>
          <p:grpSpPr>
            <a:xfrm>
              <a:off x="4983757" y="5611941"/>
              <a:ext cx="602070" cy="223776"/>
              <a:chOff x="621719" y="4712770"/>
              <a:chExt cx="1904166" cy="707737"/>
            </a:xfrm>
          </p:grpSpPr>
          <p:sp>
            <p:nvSpPr>
              <p:cNvPr id="926" name="Can 9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27" name="Can 9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28" name="Can 9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22" name="Group 921"/>
            <p:cNvGrpSpPr/>
            <p:nvPr/>
          </p:nvGrpSpPr>
          <p:grpSpPr>
            <a:xfrm>
              <a:off x="4943561" y="5635686"/>
              <a:ext cx="602070" cy="223776"/>
              <a:chOff x="621719" y="4712770"/>
              <a:chExt cx="1904166" cy="707737"/>
            </a:xfrm>
          </p:grpSpPr>
          <p:sp>
            <p:nvSpPr>
              <p:cNvPr id="923" name="Can 9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24" name="Can 9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25" name="Can 9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941" name="Group 940"/>
          <p:cNvGrpSpPr/>
          <p:nvPr/>
        </p:nvGrpSpPr>
        <p:grpSpPr>
          <a:xfrm>
            <a:off x="6408264" y="3320338"/>
            <a:ext cx="960641" cy="203718"/>
            <a:chOff x="4313237" y="5582348"/>
            <a:chExt cx="1306743" cy="277114"/>
          </a:xfrm>
        </p:grpSpPr>
        <p:grpSp>
          <p:nvGrpSpPr>
            <p:cNvPr id="942" name="Group 941"/>
            <p:cNvGrpSpPr/>
            <p:nvPr/>
          </p:nvGrpSpPr>
          <p:grpSpPr>
            <a:xfrm>
              <a:off x="4387586" y="5582348"/>
              <a:ext cx="602070" cy="223776"/>
              <a:chOff x="621719" y="4712770"/>
              <a:chExt cx="1904166" cy="707737"/>
            </a:xfrm>
          </p:grpSpPr>
          <p:sp>
            <p:nvSpPr>
              <p:cNvPr id="963" name="Can 9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64" name="Can 9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65" name="Can 9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43" name="Group 942"/>
            <p:cNvGrpSpPr/>
            <p:nvPr/>
          </p:nvGrpSpPr>
          <p:grpSpPr>
            <a:xfrm>
              <a:off x="4353433" y="5611941"/>
              <a:ext cx="602070" cy="223776"/>
              <a:chOff x="621719" y="4712770"/>
              <a:chExt cx="1904166" cy="707737"/>
            </a:xfrm>
          </p:grpSpPr>
          <p:sp>
            <p:nvSpPr>
              <p:cNvPr id="960" name="Can 9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61" name="Can 9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62" name="Can 9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44" name="Group 943"/>
            <p:cNvGrpSpPr/>
            <p:nvPr/>
          </p:nvGrpSpPr>
          <p:grpSpPr>
            <a:xfrm>
              <a:off x="4313237" y="5635686"/>
              <a:ext cx="602070" cy="223776"/>
              <a:chOff x="621719" y="4712770"/>
              <a:chExt cx="1904166" cy="707737"/>
            </a:xfrm>
          </p:grpSpPr>
          <p:sp>
            <p:nvSpPr>
              <p:cNvPr id="957" name="Can 9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58" name="Can 9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59" name="Can 9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45" name="Group 944"/>
            <p:cNvGrpSpPr/>
            <p:nvPr/>
          </p:nvGrpSpPr>
          <p:grpSpPr>
            <a:xfrm>
              <a:off x="5017910" y="5582348"/>
              <a:ext cx="602070" cy="223776"/>
              <a:chOff x="621719" y="4712770"/>
              <a:chExt cx="1904166" cy="707737"/>
            </a:xfrm>
          </p:grpSpPr>
          <p:sp>
            <p:nvSpPr>
              <p:cNvPr id="954" name="Can 9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55" name="Can 9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56" name="Can 9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46" name="Group 945"/>
            <p:cNvGrpSpPr/>
            <p:nvPr/>
          </p:nvGrpSpPr>
          <p:grpSpPr>
            <a:xfrm>
              <a:off x="4983757" y="5611941"/>
              <a:ext cx="602070" cy="223776"/>
              <a:chOff x="621719" y="4712770"/>
              <a:chExt cx="1904166" cy="707737"/>
            </a:xfrm>
          </p:grpSpPr>
          <p:sp>
            <p:nvSpPr>
              <p:cNvPr id="951" name="Can 9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52" name="Can 9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53" name="Can 9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47" name="Group 946"/>
            <p:cNvGrpSpPr/>
            <p:nvPr/>
          </p:nvGrpSpPr>
          <p:grpSpPr>
            <a:xfrm>
              <a:off x="4943561" y="5635686"/>
              <a:ext cx="602070" cy="223776"/>
              <a:chOff x="621719" y="4712770"/>
              <a:chExt cx="1904166" cy="707737"/>
            </a:xfrm>
          </p:grpSpPr>
          <p:sp>
            <p:nvSpPr>
              <p:cNvPr id="948" name="Can 9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49" name="Can 9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50" name="Can 9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966" name="Group 965"/>
          <p:cNvGrpSpPr/>
          <p:nvPr/>
        </p:nvGrpSpPr>
        <p:grpSpPr>
          <a:xfrm>
            <a:off x="6408264" y="3160328"/>
            <a:ext cx="960641" cy="203718"/>
            <a:chOff x="4313237" y="5582348"/>
            <a:chExt cx="1306743" cy="277114"/>
          </a:xfrm>
        </p:grpSpPr>
        <p:grpSp>
          <p:nvGrpSpPr>
            <p:cNvPr id="967" name="Group 966"/>
            <p:cNvGrpSpPr/>
            <p:nvPr/>
          </p:nvGrpSpPr>
          <p:grpSpPr>
            <a:xfrm>
              <a:off x="4387586" y="5582348"/>
              <a:ext cx="602070" cy="223776"/>
              <a:chOff x="621719" y="4712770"/>
              <a:chExt cx="1904166" cy="707737"/>
            </a:xfrm>
          </p:grpSpPr>
          <p:sp>
            <p:nvSpPr>
              <p:cNvPr id="988" name="Can 9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89" name="Can 9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90" name="Can 9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68" name="Group 967"/>
            <p:cNvGrpSpPr/>
            <p:nvPr/>
          </p:nvGrpSpPr>
          <p:grpSpPr>
            <a:xfrm>
              <a:off x="4353433" y="5611941"/>
              <a:ext cx="602070" cy="223776"/>
              <a:chOff x="621719" y="4712770"/>
              <a:chExt cx="1904166" cy="707737"/>
            </a:xfrm>
          </p:grpSpPr>
          <p:sp>
            <p:nvSpPr>
              <p:cNvPr id="985" name="Can 9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86" name="Can 9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87" name="Can 9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69" name="Group 968"/>
            <p:cNvGrpSpPr/>
            <p:nvPr/>
          </p:nvGrpSpPr>
          <p:grpSpPr>
            <a:xfrm>
              <a:off x="4313237" y="5635686"/>
              <a:ext cx="602070" cy="223776"/>
              <a:chOff x="621719" y="4712770"/>
              <a:chExt cx="1904166" cy="707737"/>
            </a:xfrm>
          </p:grpSpPr>
          <p:sp>
            <p:nvSpPr>
              <p:cNvPr id="982" name="Can 9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83" name="Can 9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84" name="Can 9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70" name="Group 969"/>
            <p:cNvGrpSpPr/>
            <p:nvPr/>
          </p:nvGrpSpPr>
          <p:grpSpPr>
            <a:xfrm>
              <a:off x="5017910" y="5582348"/>
              <a:ext cx="602070" cy="223776"/>
              <a:chOff x="621719" y="4712770"/>
              <a:chExt cx="1904166" cy="707737"/>
            </a:xfrm>
          </p:grpSpPr>
          <p:sp>
            <p:nvSpPr>
              <p:cNvPr id="979" name="Can 9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80" name="Can 9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81" name="Can 9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71" name="Group 970"/>
            <p:cNvGrpSpPr/>
            <p:nvPr/>
          </p:nvGrpSpPr>
          <p:grpSpPr>
            <a:xfrm>
              <a:off x="4983757" y="5611941"/>
              <a:ext cx="602070" cy="223776"/>
              <a:chOff x="621719" y="4712770"/>
              <a:chExt cx="1904166" cy="707737"/>
            </a:xfrm>
          </p:grpSpPr>
          <p:sp>
            <p:nvSpPr>
              <p:cNvPr id="976" name="Can 9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77" name="Can 9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78" name="Can 9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72" name="Group 971"/>
            <p:cNvGrpSpPr/>
            <p:nvPr/>
          </p:nvGrpSpPr>
          <p:grpSpPr>
            <a:xfrm>
              <a:off x="4943561" y="5635686"/>
              <a:ext cx="602070" cy="223776"/>
              <a:chOff x="621719" y="4712770"/>
              <a:chExt cx="1904166" cy="707737"/>
            </a:xfrm>
          </p:grpSpPr>
          <p:sp>
            <p:nvSpPr>
              <p:cNvPr id="973" name="Can 9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74" name="Can 9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75" name="Can 9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991" name="Group 990"/>
          <p:cNvGrpSpPr/>
          <p:nvPr/>
        </p:nvGrpSpPr>
        <p:grpSpPr>
          <a:xfrm>
            <a:off x="6408264" y="2988046"/>
            <a:ext cx="960641" cy="203718"/>
            <a:chOff x="4313237" y="5582348"/>
            <a:chExt cx="1306743" cy="277114"/>
          </a:xfrm>
        </p:grpSpPr>
        <p:grpSp>
          <p:nvGrpSpPr>
            <p:cNvPr id="992" name="Group 991"/>
            <p:cNvGrpSpPr/>
            <p:nvPr/>
          </p:nvGrpSpPr>
          <p:grpSpPr>
            <a:xfrm>
              <a:off x="4387586" y="5582348"/>
              <a:ext cx="602070" cy="223776"/>
              <a:chOff x="621719" y="4712770"/>
              <a:chExt cx="1904166" cy="707737"/>
            </a:xfrm>
          </p:grpSpPr>
          <p:sp>
            <p:nvSpPr>
              <p:cNvPr id="1013" name="Can 10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14" name="Can 10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15" name="Can 10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93" name="Group 992"/>
            <p:cNvGrpSpPr/>
            <p:nvPr/>
          </p:nvGrpSpPr>
          <p:grpSpPr>
            <a:xfrm>
              <a:off x="4353433" y="5611941"/>
              <a:ext cx="602070" cy="223776"/>
              <a:chOff x="621719" y="4712770"/>
              <a:chExt cx="1904166" cy="707737"/>
            </a:xfrm>
          </p:grpSpPr>
          <p:sp>
            <p:nvSpPr>
              <p:cNvPr id="1010" name="Can 10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11" name="Can 10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12" name="Can 10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94" name="Group 993"/>
            <p:cNvGrpSpPr/>
            <p:nvPr/>
          </p:nvGrpSpPr>
          <p:grpSpPr>
            <a:xfrm>
              <a:off x="4313237" y="5635686"/>
              <a:ext cx="602070" cy="223776"/>
              <a:chOff x="621719" y="4712770"/>
              <a:chExt cx="1904166" cy="707737"/>
            </a:xfrm>
          </p:grpSpPr>
          <p:sp>
            <p:nvSpPr>
              <p:cNvPr id="1007" name="Can 10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08" name="Can 10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09" name="Can 10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95" name="Group 994"/>
            <p:cNvGrpSpPr/>
            <p:nvPr/>
          </p:nvGrpSpPr>
          <p:grpSpPr>
            <a:xfrm>
              <a:off x="5017910" y="5582348"/>
              <a:ext cx="602070" cy="223776"/>
              <a:chOff x="621719" y="4712770"/>
              <a:chExt cx="1904166" cy="707737"/>
            </a:xfrm>
          </p:grpSpPr>
          <p:sp>
            <p:nvSpPr>
              <p:cNvPr id="1004" name="Can 10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05" name="Can 10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06" name="Can 10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96" name="Group 995"/>
            <p:cNvGrpSpPr/>
            <p:nvPr/>
          </p:nvGrpSpPr>
          <p:grpSpPr>
            <a:xfrm>
              <a:off x="4983757" y="5611941"/>
              <a:ext cx="602070" cy="223776"/>
              <a:chOff x="621719" y="4712770"/>
              <a:chExt cx="1904166" cy="707737"/>
            </a:xfrm>
          </p:grpSpPr>
          <p:sp>
            <p:nvSpPr>
              <p:cNvPr id="1001" name="Can 10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02" name="Can 10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03" name="Can 10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97" name="Group 996"/>
            <p:cNvGrpSpPr/>
            <p:nvPr/>
          </p:nvGrpSpPr>
          <p:grpSpPr>
            <a:xfrm>
              <a:off x="4943561" y="5635686"/>
              <a:ext cx="602070" cy="223776"/>
              <a:chOff x="621719" y="4712770"/>
              <a:chExt cx="1904166" cy="707737"/>
            </a:xfrm>
          </p:grpSpPr>
          <p:sp>
            <p:nvSpPr>
              <p:cNvPr id="998" name="Can 9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999" name="Can 9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00" name="Can 9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016" name="Group 1015"/>
          <p:cNvGrpSpPr/>
          <p:nvPr/>
        </p:nvGrpSpPr>
        <p:grpSpPr>
          <a:xfrm>
            <a:off x="7870783" y="4156922"/>
            <a:ext cx="960641" cy="203718"/>
            <a:chOff x="4313237" y="5582348"/>
            <a:chExt cx="1306743" cy="277114"/>
          </a:xfrm>
        </p:grpSpPr>
        <p:grpSp>
          <p:nvGrpSpPr>
            <p:cNvPr id="1017" name="Group 1016"/>
            <p:cNvGrpSpPr/>
            <p:nvPr/>
          </p:nvGrpSpPr>
          <p:grpSpPr>
            <a:xfrm>
              <a:off x="4387586" y="5582348"/>
              <a:ext cx="602070" cy="223776"/>
              <a:chOff x="621719" y="4712770"/>
              <a:chExt cx="1904166" cy="707737"/>
            </a:xfrm>
          </p:grpSpPr>
          <p:sp>
            <p:nvSpPr>
              <p:cNvPr id="1038" name="Can 10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39" name="Can 10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40" name="Can 10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18" name="Group 1017"/>
            <p:cNvGrpSpPr/>
            <p:nvPr/>
          </p:nvGrpSpPr>
          <p:grpSpPr>
            <a:xfrm>
              <a:off x="4353433" y="5611941"/>
              <a:ext cx="602070" cy="223776"/>
              <a:chOff x="621719" y="4712770"/>
              <a:chExt cx="1904166" cy="707737"/>
            </a:xfrm>
          </p:grpSpPr>
          <p:sp>
            <p:nvSpPr>
              <p:cNvPr id="1035" name="Can 10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36" name="Can 10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37" name="Can 10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19" name="Group 1018"/>
            <p:cNvGrpSpPr/>
            <p:nvPr/>
          </p:nvGrpSpPr>
          <p:grpSpPr>
            <a:xfrm>
              <a:off x="4313237" y="5635686"/>
              <a:ext cx="602070" cy="223776"/>
              <a:chOff x="621719" y="4712770"/>
              <a:chExt cx="1904166" cy="707737"/>
            </a:xfrm>
          </p:grpSpPr>
          <p:sp>
            <p:nvSpPr>
              <p:cNvPr id="1032" name="Can 10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33" name="Can 10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34" name="Can 10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20" name="Group 1019"/>
            <p:cNvGrpSpPr/>
            <p:nvPr/>
          </p:nvGrpSpPr>
          <p:grpSpPr>
            <a:xfrm>
              <a:off x="5017910" y="5582348"/>
              <a:ext cx="602070" cy="223776"/>
              <a:chOff x="621719" y="4712770"/>
              <a:chExt cx="1904166" cy="707737"/>
            </a:xfrm>
          </p:grpSpPr>
          <p:sp>
            <p:nvSpPr>
              <p:cNvPr id="1029" name="Can 10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30" name="Can 10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31" name="Can 10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21" name="Group 1020"/>
            <p:cNvGrpSpPr/>
            <p:nvPr/>
          </p:nvGrpSpPr>
          <p:grpSpPr>
            <a:xfrm>
              <a:off x="4983757" y="5611941"/>
              <a:ext cx="602070" cy="223776"/>
              <a:chOff x="621719" y="4712770"/>
              <a:chExt cx="1904166" cy="707737"/>
            </a:xfrm>
          </p:grpSpPr>
          <p:sp>
            <p:nvSpPr>
              <p:cNvPr id="1026" name="Can 10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27" name="Can 10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28" name="Can 10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22" name="Group 1021"/>
            <p:cNvGrpSpPr/>
            <p:nvPr/>
          </p:nvGrpSpPr>
          <p:grpSpPr>
            <a:xfrm>
              <a:off x="4943561" y="5635686"/>
              <a:ext cx="602070" cy="223776"/>
              <a:chOff x="621719" y="4712770"/>
              <a:chExt cx="1904166" cy="707737"/>
            </a:xfrm>
          </p:grpSpPr>
          <p:sp>
            <p:nvSpPr>
              <p:cNvPr id="1023" name="Can 10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24" name="Can 10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25" name="Can 10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041" name="Group 1040"/>
          <p:cNvGrpSpPr/>
          <p:nvPr/>
        </p:nvGrpSpPr>
        <p:grpSpPr>
          <a:xfrm>
            <a:off x="7870783" y="3992551"/>
            <a:ext cx="960641" cy="203718"/>
            <a:chOff x="4313237" y="5582348"/>
            <a:chExt cx="1306743" cy="277114"/>
          </a:xfrm>
        </p:grpSpPr>
        <p:grpSp>
          <p:nvGrpSpPr>
            <p:cNvPr id="1042" name="Group 1041"/>
            <p:cNvGrpSpPr/>
            <p:nvPr/>
          </p:nvGrpSpPr>
          <p:grpSpPr>
            <a:xfrm>
              <a:off x="4387586" y="5582348"/>
              <a:ext cx="602070" cy="223776"/>
              <a:chOff x="621719" y="4712770"/>
              <a:chExt cx="1904166" cy="707737"/>
            </a:xfrm>
          </p:grpSpPr>
          <p:sp>
            <p:nvSpPr>
              <p:cNvPr id="1063" name="Can 10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64" name="Can 10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65" name="Can 10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43" name="Group 1042"/>
            <p:cNvGrpSpPr/>
            <p:nvPr/>
          </p:nvGrpSpPr>
          <p:grpSpPr>
            <a:xfrm>
              <a:off x="4353433" y="5611941"/>
              <a:ext cx="602070" cy="223776"/>
              <a:chOff x="621719" y="4712770"/>
              <a:chExt cx="1904166" cy="707737"/>
            </a:xfrm>
          </p:grpSpPr>
          <p:sp>
            <p:nvSpPr>
              <p:cNvPr id="1060" name="Can 10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61" name="Can 10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62" name="Can 10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44" name="Group 1043"/>
            <p:cNvGrpSpPr/>
            <p:nvPr/>
          </p:nvGrpSpPr>
          <p:grpSpPr>
            <a:xfrm>
              <a:off x="4313237" y="5635686"/>
              <a:ext cx="602070" cy="223776"/>
              <a:chOff x="621719" y="4712770"/>
              <a:chExt cx="1904166" cy="707737"/>
            </a:xfrm>
          </p:grpSpPr>
          <p:sp>
            <p:nvSpPr>
              <p:cNvPr id="1057" name="Can 10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58" name="Can 10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59" name="Can 10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45" name="Group 1044"/>
            <p:cNvGrpSpPr/>
            <p:nvPr/>
          </p:nvGrpSpPr>
          <p:grpSpPr>
            <a:xfrm>
              <a:off x="5017910" y="5582348"/>
              <a:ext cx="602070" cy="223776"/>
              <a:chOff x="621719" y="4712770"/>
              <a:chExt cx="1904166" cy="707737"/>
            </a:xfrm>
          </p:grpSpPr>
          <p:sp>
            <p:nvSpPr>
              <p:cNvPr id="1054" name="Can 10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55" name="Can 10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56" name="Can 10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46" name="Group 1045"/>
            <p:cNvGrpSpPr/>
            <p:nvPr/>
          </p:nvGrpSpPr>
          <p:grpSpPr>
            <a:xfrm>
              <a:off x="4983757" y="5611941"/>
              <a:ext cx="602070" cy="223776"/>
              <a:chOff x="621719" y="4712770"/>
              <a:chExt cx="1904166" cy="707737"/>
            </a:xfrm>
          </p:grpSpPr>
          <p:sp>
            <p:nvSpPr>
              <p:cNvPr id="1051" name="Can 10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52" name="Can 10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53" name="Can 10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47" name="Group 1046"/>
            <p:cNvGrpSpPr/>
            <p:nvPr/>
          </p:nvGrpSpPr>
          <p:grpSpPr>
            <a:xfrm>
              <a:off x="4943561" y="5635686"/>
              <a:ext cx="602070" cy="223776"/>
              <a:chOff x="621719" y="4712770"/>
              <a:chExt cx="1904166" cy="707737"/>
            </a:xfrm>
          </p:grpSpPr>
          <p:sp>
            <p:nvSpPr>
              <p:cNvPr id="1048" name="Can 10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49" name="Can 10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50" name="Can 10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066" name="Group 1065"/>
          <p:cNvGrpSpPr/>
          <p:nvPr/>
        </p:nvGrpSpPr>
        <p:grpSpPr>
          <a:xfrm>
            <a:off x="7870783" y="3820270"/>
            <a:ext cx="960641" cy="203718"/>
            <a:chOff x="4313237" y="5582348"/>
            <a:chExt cx="1306743" cy="277114"/>
          </a:xfrm>
        </p:grpSpPr>
        <p:grpSp>
          <p:nvGrpSpPr>
            <p:cNvPr id="1067" name="Group 1066"/>
            <p:cNvGrpSpPr/>
            <p:nvPr/>
          </p:nvGrpSpPr>
          <p:grpSpPr>
            <a:xfrm>
              <a:off x="4387586" y="5582348"/>
              <a:ext cx="602070" cy="223776"/>
              <a:chOff x="621719" y="4712770"/>
              <a:chExt cx="1904166" cy="707737"/>
            </a:xfrm>
          </p:grpSpPr>
          <p:sp>
            <p:nvSpPr>
              <p:cNvPr id="1088" name="Can 10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89" name="Can 10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90" name="Can 10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68" name="Group 1067"/>
            <p:cNvGrpSpPr/>
            <p:nvPr/>
          </p:nvGrpSpPr>
          <p:grpSpPr>
            <a:xfrm>
              <a:off x="4353433" y="5611941"/>
              <a:ext cx="602070" cy="223776"/>
              <a:chOff x="621719" y="4712770"/>
              <a:chExt cx="1904166" cy="707737"/>
            </a:xfrm>
          </p:grpSpPr>
          <p:sp>
            <p:nvSpPr>
              <p:cNvPr id="1085" name="Can 10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86" name="Can 10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87" name="Can 10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69" name="Group 1068"/>
            <p:cNvGrpSpPr/>
            <p:nvPr/>
          </p:nvGrpSpPr>
          <p:grpSpPr>
            <a:xfrm>
              <a:off x="4313237" y="5635686"/>
              <a:ext cx="602070" cy="223776"/>
              <a:chOff x="621719" y="4712770"/>
              <a:chExt cx="1904166" cy="707737"/>
            </a:xfrm>
          </p:grpSpPr>
          <p:sp>
            <p:nvSpPr>
              <p:cNvPr id="1082" name="Can 10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83" name="Can 10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84" name="Can 10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70" name="Group 1069"/>
            <p:cNvGrpSpPr/>
            <p:nvPr/>
          </p:nvGrpSpPr>
          <p:grpSpPr>
            <a:xfrm>
              <a:off x="5017910" y="5582348"/>
              <a:ext cx="602070" cy="223776"/>
              <a:chOff x="621719" y="4712770"/>
              <a:chExt cx="1904166" cy="707737"/>
            </a:xfrm>
          </p:grpSpPr>
          <p:sp>
            <p:nvSpPr>
              <p:cNvPr id="1079" name="Can 10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80" name="Can 10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81" name="Can 10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71" name="Group 1070"/>
            <p:cNvGrpSpPr/>
            <p:nvPr/>
          </p:nvGrpSpPr>
          <p:grpSpPr>
            <a:xfrm>
              <a:off x="4983757" y="5611941"/>
              <a:ext cx="602070" cy="223776"/>
              <a:chOff x="621719" y="4712770"/>
              <a:chExt cx="1904166" cy="707737"/>
            </a:xfrm>
          </p:grpSpPr>
          <p:sp>
            <p:nvSpPr>
              <p:cNvPr id="1076" name="Can 10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77" name="Can 10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78" name="Can 10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72" name="Group 1071"/>
            <p:cNvGrpSpPr/>
            <p:nvPr/>
          </p:nvGrpSpPr>
          <p:grpSpPr>
            <a:xfrm>
              <a:off x="4943561" y="5635686"/>
              <a:ext cx="602070" cy="223776"/>
              <a:chOff x="621719" y="4712770"/>
              <a:chExt cx="1904166" cy="707737"/>
            </a:xfrm>
          </p:grpSpPr>
          <p:sp>
            <p:nvSpPr>
              <p:cNvPr id="1073" name="Can 10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74" name="Can 10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75" name="Can 10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091" name="Group 1090"/>
          <p:cNvGrpSpPr/>
          <p:nvPr/>
        </p:nvGrpSpPr>
        <p:grpSpPr>
          <a:xfrm>
            <a:off x="7870783" y="3655763"/>
            <a:ext cx="960641" cy="203718"/>
            <a:chOff x="4313237" y="5582348"/>
            <a:chExt cx="1306743" cy="277114"/>
          </a:xfrm>
        </p:grpSpPr>
        <p:grpSp>
          <p:nvGrpSpPr>
            <p:cNvPr id="1092" name="Group 1091"/>
            <p:cNvGrpSpPr/>
            <p:nvPr/>
          </p:nvGrpSpPr>
          <p:grpSpPr>
            <a:xfrm>
              <a:off x="4387586" y="5582348"/>
              <a:ext cx="602070" cy="223776"/>
              <a:chOff x="621719" y="4712770"/>
              <a:chExt cx="1904166" cy="707737"/>
            </a:xfrm>
          </p:grpSpPr>
          <p:sp>
            <p:nvSpPr>
              <p:cNvPr id="1113" name="Can 11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14" name="Can 11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15" name="Can 11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93" name="Group 1092"/>
            <p:cNvGrpSpPr/>
            <p:nvPr/>
          </p:nvGrpSpPr>
          <p:grpSpPr>
            <a:xfrm>
              <a:off x="4353433" y="5611941"/>
              <a:ext cx="602070" cy="223776"/>
              <a:chOff x="621719" y="4712770"/>
              <a:chExt cx="1904166" cy="707737"/>
            </a:xfrm>
          </p:grpSpPr>
          <p:sp>
            <p:nvSpPr>
              <p:cNvPr id="1110" name="Can 11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11" name="Can 11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12" name="Can 11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94" name="Group 1093"/>
            <p:cNvGrpSpPr/>
            <p:nvPr/>
          </p:nvGrpSpPr>
          <p:grpSpPr>
            <a:xfrm>
              <a:off x="4313237" y="5635686"/>
              <a:ext cx="602070" cy="223776"/>
              <a:chOff x="621719" y="4712770"/>
              <a:chExt cx="1904166" cy="707737"/>
            </a:xfrm>
          </p:grpSpPr>
          <p:sp>
            <p:nvSpPr>
              <p:cNvPr id="1107" name="Can 11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08" name="Can 11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09" name="Can 11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95" name="Group 1094"/>
            <p:cNvGrpSpPr/>
            <p:nvPr/>
          </p:nvGrpSpPr>
          <p:grpSpPr>
            <a:xfrm>
              <a:off x="5017910" y="5582348"/>
              <a:ext cx="602070" cy="223776"/>
              <a:chOff x="621719" y="4712770"/>
              <a:chExt cx="1904166" cy="707737"/>
            </a:xfrm>
          </p:grpSpPr>
          <p:sp>
            <p:nvSpPr>
              <p:cNvPr id="1104" name="Can 11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05" name="Can 11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06" name="Can 11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96" name="Group 1095"/>
            <p:cNvGrpSpPr/>
            <p:nvPr/>
          </p:nvGrpSpPr>
          <p:grpSpPr>
            <a:xfrm>
              <a:off x="4983757" y="5611941"/>
              <a:ext cx="602070" cy="223776"/>
              <a:chOff x="621719" y="4712770"/>
              <a:chExt cx="1904166" cy="707737"/>
            </a:xfrm>
          </p:grpSpPr>
          <p:sp>
            <p:nvSpPr>
              <p:cNvPr id="1101" name="Can 11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02" name="Can 11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03" name="Can 11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97" name="Group 1096"/>
            <p:cNvGrpSpPr/>
            <p:nvPr/>
          </p:nvGrpSpPr>
          <p:grpSpPr>
            <a:xfrm>
              <a:off x="4943561" y="5635686"/>
              <a:ext cx="602070" cy="223776"/>
              <a:chOff x="621719" y="4712770"/>
              <a:chExt cx="1904166" cy="707737"/>
            </a:xfrm>
          </p:grpSpPr>
          <p:sp>
            <p:nvSpPr>
              <p:cNvPr id="1098" name="Can 10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099" name="Can 10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00" name="Can 10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116" name="Group 1115"/>
          <p:cNvGrpSpPr/>
          <p:nvPr/>
        </p:nvGrpSpPr>
        <p:grpSpPr>
          <a:xfrm>
            <a:off x="7870783" y="3488392"/>
            <a:ext cx="960641" cy="203718"/>
            <a:chOff x="4313237" y="5582348"/>
            <a:chExt cx="1306743" cy="277114"/>
          </a:xfrm>
        </p:grpSpPr>
        <p:grpSp>
          <p:nvGrpSpPr>
            <p:cNvPr id="1117" name="Group 1116"/>
            <p:cNvGrpSpPr/>
            <p:nvPr/>
          </p:nvGrpSpPr>
          <p:grpSpPr>
            <a:xfrm>
              <a:off x="4387586" y="5582348"/>
              <a:ext cx="602070" cy="223776"/>
              <a:chOff x="621719" y="4712770"/>
              <a:chExt cx="1904166" cy="707737"/>
            </a:xfrm>
          </p:grpSpPr>
          <p:sp>
            <p:nvSpPr>
              <p:cNvPr id="1138" name="Can 11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39" name="Can 11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40" name="Can 11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18" name="Group 1117"/>
            <p:cNvGrpSpPr/>
            <p:nvPr/>
          </p:nvGrpSpPr>
          <p:grpSpPr>
            <a:xfrm>
              <a:off x="4353433" y="5611941"/>
              <a:ext cx="602070" cy="223776"/>
              <a:chOff x="621719" y="4712770"/>
              <a:chExt cx="1904166" cy="707737"/>
            </a:xfrm>
          </p:grpSpPr>
          <p:sp>
            <p:nvSpPr>
              <p:cNvPr id="1135" name="Can 11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36" name="Can 11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37" name="Can 11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19" name="Group 1118"/>
            <p:cNvGrpSpPr/>
            <p:nvPr/>
          </p:nvGrpSpPr>
          <p:grpSpPr>
            <a:xfrm>
              <a:off x="4313237" y="5635686"/>
              <a:ext cx="602070" cy="223776"/>
              <a:chOff x="621719" y="4712770"/>
              <a:chExt cx="1904166" cy="707737"/>
            </a:xfrm>
          </p:grpSpPr>
          <p:sp>
            <p:nvSpPr>
              <p:cNvPr id="1132" name="Can 11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33" name="Can 11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34" name="Can 11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20" name="Group 1119"/>
            <p:cNvGrpSpPr/>
            <p:nvPr/>
          </p:nvGrpSpPr>
          <p:grpSpPr>
            <a:xfrm>
              <a:off x="5017910" y="5582348"/>
              <a:ext cx="602070" cy="223776"/>
              <a:chOff x="621719" y="4712770"/>
              <a:chExt cx="1904166" cy="707737"/>
            </a:xfrm>
          </p:grpSpPr>
          <p:sp>
            <p:nvSpPr>
              <p:cNvPr id="1129" name="Can 11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30" name="Can 11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31" name="Can 11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21" name="Group 1120"/>
            <p:cNvGrpSpPr/>
            <p:nvPr/>
          </p:nvGrpSpPr>
          <p:grpSpPr>
            <a:xfrm>
              <a:off x="4983757" y="5611941"/>
              <a:ext cx="602070" cy="223776"/>
              <a:chOff x="621719" y="4712770"/>
              <a:chExt cx="1904166" cy="707737"/>
            </a:xfrm>
          </p:grpSpPr>
          <p:sp>
            <p:nvSpPr>
              <p:cNvPr id="1126" name="Can 11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27" name="Can 11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28" name="Can 11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22" name="Group 1121"/>
            <p:cNvGrpSpPr/>
            <p:nvPr/>
          </p:nvGrpSpPr>
          <p:grpSpPr>
            <a:xfrm>
              <a:off x="4943561" y="5635686"/>
              <a:ext cx="602070" cy="223776"/>
              <a:chOff x="621719" y="4712770"/>
              <a:chExt cx="1904166" cy="707737"/>
            </a:xfrm>
          </p:grpSpPr>
          <p:sp>
            <p:nvSpPr>
              <p:cNvPr id="1123" name="Can 11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24" name="Can 11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25" name="Can 11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141" name="Group 1140"/>
          <p:cNvGrpSpPr/>
          <p:nvPr/>
        </p:nvGrpSpPr>
        <p:grpSpPr>
          <a:xfrm>
            <a:off x="7870783" y="3320338"/>
            <a:ext cx="960641" cy="203718"/>
            <a:chOff x="4313237" y="5582348"/>
            <a:chExt cx="1306743" cy="277114"/>
          </a:xfrm>
        </p:grpSpPr>
        <p:grpSp>
          <p:nvGrpSpPr>
            <p:cNvPr id="1142" name="Group 1141"/>
            <p:cNvGrpSpPr/>
            <p:nvPr/>
          </p:nvGrpSpPr>
          <p:grpSpPr>
            <a:xfrm>
              <a:off x="4387586" y="5582348"/>
              <a:ext cx="602070" cy="223776"/>
              <a:chOff x="621719" y="4712770"/>
              <a:chExt cx="1904166" cy="707737"/>
            </a:xfrm>
          </p:grpSpPr>
          <p:sp>
            <p:nvSpPr>
              <p:cNvPr id="1163" name="Can 11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64" name="Can 11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65" name="Can 11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43" name="Group 1142"/>
            <p:cNvGrpSpPr/>
            <p:nvPr/>
          </p:nvGrpSpPr>
          <p:grpSpPr>
            <a:xfrm>
              <a:off x="4353433" y="5611941"/>
              <a:ext cx="602070" cy="223776"/>
              <a:chOff x="621719" y="4712770"/>
              <a:chExt cx="1904166" cy="707737"/>
            </a:xfrm>
          </p:grpSpPr>
          <p:sp>
            <p:nvSpPr>
              <p:cNvPr id="1160" name="Can 11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61" name="Can 11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62" name="Can 11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44" name="Group 1143"/>
            <p:cNvGrpSpPr/>
            <p:nvPr/>
          </p:nvGrpSpPr>
          <p:grpSpPr>
            <a:xfrm>
              <a:off x="4313237" y="5635686"/>
              <a:ext cx="602070" cy="223776"/>
              <a:chOff x="621719" y="4712770"/>
              <a:chExt cx="1904166" cy="707737"/>
            </a:xfrm>
          </p:grpSpPr>
          <p:sp>
            <p:nvSpPr>
              <p:cNvPr id="1157" name="Can 11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58" name="Can 11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59" name="Can 11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45" name="Group 1144"/>
            <p:cNvGrpSpPr/>
            <p:nvPr/>
          </p:nvGrpSpPr>
          <p:grpSpPr>
            <a:xfrm>
              <a:off x="5017910" y="5582348"/>
              <a:ext cx="602070" cy="223776"/>
              <a:chOff x="621719" y="4712770"/>
              <a:chExt cx="1904166" cy="707737"/>
            </a:xfrm>
          </p:grpSpPr>
          <p:sp>
            <p:nvSpPr>
              <p:cNvPr id="1154" name="Can 11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55" name="Can 11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56" name="Can 11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46" name="Group 1145"/>
            <p:cNvGrpSpPr/>
            <p:nvPr/>
          </p:nvGrpSpPr>
          <p:grpSpPr>
            <a:xfrm>
              <a:off x="4983757" y="5611941"/>
              <a:ext cx="602070" cy="223776"/>
              <a:chOff x="621719" y="4712770"/>
              <a:chExt cx="1904166" cy="707737"/>
            </a:xfrm>
          </p:grpSpPr>
          <p:sp>
            <p:nvSpPr>
              <p:cNvPr id="1151" name="Can 11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52" name="Can 11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53" name="Can 11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47" name="Group 1146"/>
            <p:cNvGrpSpPr/>
            <p:nvPr/>
          </p:nvGrpSpPr>
          <p:grpSpPr>
            <a:xfrm>
              <a:off x="4943561" y="5635686"/>
              <a:ext cx="602070" cy="223776"/>
              <a:chOff x="621719" y="4712770"/>
              <a:chExt cx="1904166" cy="707737"/>
            </a:xfrm>
          </p:grpSpPr>
          <p:sp>
            <p:nvSpPr>
              <p:cNvPr id="1148" name="Can 11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49" name="Can 11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50" name="Can 11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166" name="Group 1165"/>
          <p:cNvGrpSpPr/>
          <p:nvPr/>
        </p:nvGrpSpPr>
        <p:grpSpPr>
          <a:xfrm>
            <a:off x="7870783" y="3160328"/>
            <a:ext cx="960641" cy="203718"/>
            <a:chOff x="4313237" y="5582348"/>
            <a:chExt cx="1306743" cy="277114"/>
          </a:xfrm>
        </p:grpSpPr>
        <p:grpSp>
          <p:nvGrpSpPr>
            <p:cNvPr id="1167" name="Group 1166"/>
            <p:cNvGrpSpPr/>
            <p:nvPr/>
          </p:nvGrpSpPr>
          <p:grpSpPr>
            <a:xfrm>
              <a:off x="4387586" y="5582348"/>
              <a:ext cx="602070" cy="223776"/>
              <a:chOff x="621719" y="4712770"/>
              <a:chExt cx="1904166" cy="707737"/>
            </a:xfrm>
          </p:grpSpPr>
          <p:sp>
            <p:nvSpPr>
              <p:cNvPr id="1188" name="Can 11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89" name="Can 11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90" name="Can 11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68" name="Group 1167"/>
            <p:cNvGrpSpPr/>
            <p:nvPr/>
          </p:nvGrpSpPr>
          <p:grpSpPr>
            <a:xfrm>
              <a:off x="4353433" y="5611941"/>
              <a:ext cx="602070" cy="223776"/>
              <a:chOff x="621719" y="4712770"/>
              <a:chExt cx="1904166" cy="707737"/>
            </a:xfrm>
          </p:grpSpPr>
          <p:sp>
            <p:nvSpPr>
              <p:cNvPr id="1185" name="Can 11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86" name="Can 11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87" name="Can 11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69" name="Group 1168"/>
            <p:cNvGrpSpPr/>
            <p:nvPr/>
          </p:nvGrpSpPr>
          <p:grpSpPr>
            <a:xfrm>
              <a:off x="4313237" y="5635686"/>
              <a:ext cx="602070" cy="223776"/>
              <a:chOff x="621719" y="4712770"/>
              <a:chExt cx="1904166" cy="707737"/>
            </a:xfrm>
          </p:grpSpPr>
          <p:sp>
            <p:nvSpPr>
              <p:cNvPr id="1182" name="Can 11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83" name="Can 11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84" name="Can 11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70" name="Group 1169"/>
            <p:cNvGrpSpPr/>
            <p:nvPr/>
          </p:nvGrpSpPr>
          <p:grpSpPr>
            <a:xfrm>
              <a:off x="5017910" y="5582348"/>
              <a:ext cx="602070" cy="223776"/>
              <a:chOff x="621719" y="4712770"/>
              <a:chExt cx="1904166" cy="707737"/>
            </a:xfrm>
          </p:grpSpPr>
          <p:sp>
            <p:nvSpPr>
              <p:cNvPr id="1179" name="Can 11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80" name="Can 11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81" name="Can 11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71" name="Group 1170"/>
            <p:cNvGrpSpPr/>
            <p:nvPr/>
          </p:nvGrpSpPr>
          <p:grpSpPr>
            <a:xfrm>
              <a:off x="4983757" y="5611941"/>
              <a:ext cx="602070" cy="223776"/>
              <a:chOff x="621719" y="4712770"/>
              <a:chExt cx="1904166" cy="707737"/>
            </a:xfrm>
          </p:grpSpPr>
          <p:sp>
            <p:nvSpPr>
              <p:cNvPr id="1176" name="Can 11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77" name="Can 11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78" name="Can 11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72" name="Group 1171"/>
            <p:cNvGrpSpPr/>
            <p:nvPr/>
          </p:nvGrpSpPr>
          <p:grpSpPr>
            <a:xfrm>
              <a:off x="4943561" y="5635686"/>
              <a:ext cx="602070" cy="223776"/>
              <a:chOff x="621719" y="4712770"/>
              <a:chExt cx="1904166" cy="707737"/>
            </a:xfrm>
          </p:grpSpPr>
          <p:sp>
            <p:nvSpPr>
              <p:cNvPr id="1173" name="Can 11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74" name="Can 11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75" name="Can 11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191" name="Group 1190"/>
          <p:cNvGrpSpPr/>
          <p:nvPr/>
        </p:nvGrpSpPr>
        <p:grpSpPr>
          <a:xfrm>
            <a:off x="7870783" y="2988046"/>
            <a:ext cx="960641" cy="203718"/>
            <a:chOff x="4313237" y="5582348"/>
            <a:chExt cx="1306743" cy="277114"/>
          </a:xfrm>
        </p:grpSpPr>
        <p:grpSp>
          <p:nvGrpSpPr>
            <p:cNvPr id="1192" name="Group 1191"/>
            <p:cNvGrpSpPr/>
            <p:nvPr/>
          </p:nvGrpSpPr>
          <p:grpSpPr>
            <a:xfrm>
              <a:off x="4387586" y="5582348"/>
              <a:ext cx="602070" cy="223776"/>
              <a:chOff x="621719" y="4712770"/>
              <a:chExt cx="1904166" cy="707737"/>
            </a:xfrm>
          </p:grpSpPr>
          <p:sp>
            <p:nvSpPr>
              <p:cNvPr id="1213" name="Can 12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14" name="Can 12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15" name="Can 12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93" name="Group 1192"/>
            <p:cNvGrpSpPr/>
            <p:nvPr/>
          </p:nvGrpSpPr>
          <p:grpSpPr>
            <a:xfrm>
              <a:off x="4353433" y="5611941"/>
              <a:ext cx="602070" cy="223776"/>
              <a:chOff x="621719" y="4712770"/>
              <a:chExt cx="1904166" cy="707737"/>
            </a:xfrm>
          </p:grpSpPr>
          <p:sp>
            <p:nvSpPr>
              <p:cNvPr id="1210" name="Can 12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11" name="Can 12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12" name="Can 12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94" name="Group 1193"/>
            <p:cNvGrpSpPr/>
            <p:nvPr/>
          </p:nvGrpSpPr>
          <p:grpSpPr>
            <a:xfrm>
              <a:off x="4313237" y="5635686"/>
              <a:ext cx="602070" cy="223776"/>
              <a:chOff x="621719" y="4712770"/>
              <a:chExt cx="1904166" cy="707737"/>
            </a:xfrm>
          </p:grpSpPr>
          <p:sp>
            <p:nvSpPr>
              <p:cNvPr id="1207" name="Can 12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08" name="Can 12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09" name="Can 12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95" name="Group 1194"/>
            <p:cNvGrpSpPr/>
            <p:nvPr/>
          </p:nvGrpSpPr>
          <p:grpSpPr>
            <a:xfrm>
              <a:off x="5017910" y="5582348"/>
              <a:ext cx="602070" cy="223776"/>
              <a:chOff x="621719" y="4712770"/>
              <a:chExt cx="1904166" cy="707737"/>
            </a:xfrm>
          </p:grpSpPr>
          <p:sp>
            <p:nvSpPr>
              <p:cNvPr id="1204" name="Can 12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05" name="Can 12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06" name="Can 12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96" name="Group 1195"/>
            <p:cNvGrpSpPr/>
            <p:nvPr/>
          </p:nvGrpSpPr>
          <p:grpSpPr>
            <a:xfrm>
              <a:off x="4983757" y="5611941"/>
              <a:ext cx="602070" cy="223776"/>
              <a:chOff x="621719" y="4712770"/>
              <a:chExt cx="1904166" cy="707737"/>
            </a:xfrm>
          </p:grpSpPr>
          <p:sp>
            <p:nvSpPr>
              <p:cNvPr id="1201" name="Can 12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02" name="Can 12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03" name="Can 12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197" name="Group 1196"/>
            <p:cNvGrpSpPr/>
            <p:nvPr/>
          </p:nvGrpSpPr>
          <p:grpSpPr>
            <a:xfrm>
              <a:off x="4943561" y="5635686"/>
              <a:ext cx="602070" cy="223776"/>
              <a:chOff x="621719" y="4712770"/>
              <a:chExt cx="1904166" cy="707737"/>
            </a:xfrm>
          </p:grpSpPr>
          <p:sp>
            <p:nvSpPr>
              <p:cNvPr id="1198" name="Can 11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199" name="Can 11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00" name="Can 11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216" name="Group 1215"/>
          <p:cNvGrpSpPr/>
          <p:nvPr/>
        </p:nvGrpSpPr>
        <p:grpSpPr>
          <a:xfrm>
            <a:off x="7870783" y="2812445"/>
            <a:ext cx="960641" cy="203718"/>
            <a:chOff x="4313237" y="5582348"/>
            <a:chExt cx="1306743" cy="277114"/>
          </a:xfrm>
        </p:grpSpPr>
        <p:grpSp>
          <p:nvGrpSpPr>
            <p:cNvPr id="1217" name="Group 1216"/>
            <p:cNvGrpSpPr/>
            <p:nvPr/>
          </p:nvGrpSpPr>
          <p:grpSpPr>
            <a:xfrm>
              <a:off x="4387586" y="5582348"/>
              <a:ext cx="602070" cy="223776"/>
              <a:chOff x="621719" y="4712770"/>
              <a:chExt cx="1904166" cy="707737"/>
            </a:xfrm>
          </p:grpSpPr>
          <p:sp>
            <p:nvSpPr>
              <p:cNvPr id="1238" name="Can 12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39" name="Can 12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40" name="Can 12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18" name="Group 1217"/>
            <p:cNvGrpSpPr/>
            <p:nvPr/>
          </p:nvGrpSpPr>
          <p:grpSpPr>
            <a:xfrm>
              <a:off x="4353433" y="5611941"/>
              <a:ext cx="602070" cy="223776"/>
              <a:chOff x="621719" y="4712770"/>
              <a:chExt cx="1904166" cy="707737"/>
            </a:xfrm>
          </p:grpSpPr>
          <p:sp>
            <p:nvSpPr>
              <p:cNvPr id="1235" name="Can 12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36" name="Can 12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37" name="Can 12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19" name="Group 1218"/>
            <p:cNvGrpSpPr/>
            <p:nvPr/>
          </p:nvGrpSpPr>
          <p:grpSpPr>
            <a:xfrm>
              <a:off x="4313237" y="5635686"/>
              <a:ext cx="602070" cy="223776"/>
              <a:chOff x="621719" y="4712770"/>
              <a:chExt cx="1904166" cy="707737"/>
            </a:xfrm>
          </p:grpSpPr>
          <p:sp>
            <p:nvSpPr>
              <p:cNvPr id="1232" name="Can 12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33" name="Can 12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34" name="Can 12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20" name="Group 1219"/>
            <p:cNvGrpSpPr/>
            <p:nvPr/>
          </p:nvGrpSpPr>
          <p:grpSpPr>
            <a:xfrm>
              <a:off x="5017910" y="5582348"/>
              <a:ext cx="602070" cy="223776"/>
              <a:chOff x="621719" y="4712770"/>
              <a:chExt cx="1904166" cy="707737"/>
            </a:xfrm>
          </p:grpSpPr>
          <p:sp>
            <p:nvSpPr>
              <p:cNvPr id="1229" name="Can 12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30" name="Can 12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31" name="Can 12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21" name="Group 1220"/>
            <p:cNvGrpSpPr/>
            <p:nvPr/>
          </p:nvGrpSpPr>
          <p:grpSpPr>
            <a:xfrm>
              <a:off x="4983757" y="5611941"/>
              <a:ext cx="602070" cy="223776"/>
              <a:chOff x="621719" y="4712770"/>
              <a:chExt cx="1904166" cy="707737"/>
            </a:xfrm>
          </p:grpSpPr>
          <p:sp>
            <p:nvSpPr>
              <p:cNvPr id="1226" name="Can 12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27" name="Can 12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28" name="Can 12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22" name="Group 1221"/>
            <p:cNvGrpSpPr/>
            <p:nvPr/>
          </p:nvGrpSpPr>
          <p:grpSpPr>
            <a:xfrm>
              <a:off x="4943561" y="5635686"/>
              <a:ext cx="602070" cy="223776"/>
              <a:chOff x="621719" y="4712770"/>
              <a:chExt cx="1904166" cy="707737"/>
            </a:xfrm>
          </p:grpSpPr>
          <p:sp>
            <p:nvSpPr>
              <p:cNvPr id="1223" name="Can 12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24" name="Can 12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25" name="Can 12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241" name="Group 1240"/>
          <p:cNvGrpSpPr/>
          <p:nvPr/>
        </p:nvGrpSpPr>
        <p:grpSpPr>
          <a:xfrm>
            <a:off x="7870783" y="2640164"/>
            <a:ext cx="960641" cy="203718"/>
            <a:chOff x="4313237" y="5582348"/>
            <a:chExt cx="1306743" cy="277114"/>
          </a:xfrm>
        </p:grpSpPr>
        <p:grpSp>
          <p:nvGrpSpPr>
            <p:cNvPr id="1242" name="Group 1241"/>
            <p:cNvGrpSpPr/>
            <p:nvPr/>
          </p:nvGrpSpPr>
          <p:grpSpPr>
            <a:xfrm>
              <a:off x="4387586" y="5582348"/>
              <a:ext cx="602070" cy="223776"/>
              <a:chOff x="621719" y="4712770"/>
              <a:chExt cx="1904166" cy="707737"/>
            </a:xfrm>
          </p:grpSpPr>
          <p:sp>
            <p:nvSpPr>
              <p:cNvPr id="1263" name="Can 12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64" name="Can 12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65" name="Can 12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43" name="Group 1242"/>
            <p:cNvGrpSpPr/>
            <p:nvPr/>
          </p:nvGrpSpPr>
          <p:grpSpPr>
            <a:xfrm>
              <a:off x="4353433" y="5611941"/>
              <a:ext cx="602070" cy="223776"/>
              <a:chOff x="621719" y="4712770"/>
              <a:chExt cx="1904166" cy="707737"/>
            </a:xfrm>
          </p:grpSpPr>
          <p:sp>
            <p:nvSpPr>
              <p:cNvPr id="1260" name="Can 12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61" name="Can 12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62" name="Can 12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44" name="Group 1243"/>
            <p:cNvGrpSpPr/>
            <p:nvPr/>
          </p:nvGrpSpPr>
          <p:grpSpPr>
            <a:xfrm>
              <a:off x="4313237" y="5635686"/>
              <a:ext cx="602070" cy="223776"/>
              <a:chOff x="621719" y="4712770"/>
              <a:chExt cx="1904166" cy="707737"/>
            </a:xfrm>
          </p:grpSpPr>
          <p:sp>
            <p:nvSpPr>
              <p:cNvPr id="1257" name="Can 12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58" name="Can 12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59" name="Can 12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45" name="Group 1244"/>
            <p:cNvGrpSpPr/>
            <p:nvPr/>
          </p:nvGrpSpPr>
          <p:grpSpPr>
            <a:xfrm>
              <a:off x="5017910" y="5582348"/>
              <a:ext cx="602070" cy="223776"/>
              <a:chOff x="621719" y="4712770"/>
              <a:chExt cx="1904166" cy="707737"/>
            </a:xfrm>
          </p:grpSpPr>
          <p:sp>
            <p:nvSpPr>
              <p:cNvPr id="1254" name="Can 12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55" name="Can 12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56" name="Can 12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46" name="Group 1245"/>
            <p:cNvGrpSpPr/>
            <p:nvPr/>
          </p:nvGrpSpPr>
          <p:grpSpPr>
            <a:xfrm>
              <a:off x="4983757" y="5611941"/>
              <a:ext cx="602070" cy="223776"/>
              <a:chOff x="621719" y="4712770"/>
              <a:chExt cx="1904166" cy="707737"/>
            </a:xfrm>
          </p:grpSpPr>
          <p:sp>
            <p:nvSpPr>
              <p:cNvPr id="1251" name="Can 12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52" name="Can 12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53" name="Can 12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47" name="Group 1246"/>
            <p:cNvGrpSpPr/>
            <p:nvPr/>
          </p:nvGrpSpPr>
          <p:grpSpPr>
            <a:xfrm>
              <a:off x="4943561" y="5635686"/>
              <a:ext cx="602070" cy="223776"/>
              <a:chOff x="621719" y="4712770"/>
              <a:chExt cx="1904166" cy="707737"/>
            </a:xfrm>
          </p:grpSpPr>
          <p:sp>
            <p:nvSpPr>
              <p:cNvPr id="1248" name="Can 12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49" name="Can 12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50" name="Can 12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266" name="Group 1265"/>
          <p:cNvGrpSpPr/>
          <p:nvPr/>
        </p:nvGrpSpPr>
        <p:grpSpPr>
          <a:xfrm>
            <a:off x="7870783" y="2480154"/>
            <a:ext cx="960641" cy="203718"/>
            <a:chOff x="4313237" y="5582348"/>
            <a:chExt cx="1306743" cy="277114"/>
          </a:xfrm>
        </p:grpSpPr>
        <p:grpSp>
          <p:nvGrpSpPr>
            <p:cNvPr id="1267" name="Group 1266"/>
            <p:cNvGrpSpPr/>
            <p:nvPr/>
          </p:nvGrpSpPr>
          <p:grpSpPr>
            <a:xfrm>
              <a:off x="4387586" y="5582348"/>
              <a:ext cx="602070" cy="223776"/>
              <a:chOff x="621719" y="4712770"/>
              <a:chExt cx="1904166" cy="707737"/>
            </a:xfrm>
          </p:grpSpPr>
          <p:sp>
            <p:nvSpPr>
              <p:cNvPr id="1288" name="Can 12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89" name="Can 12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90" name="Can 12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68" name="Group 1267"/>
            <p:cNvGrpSpPr/>
            <p:nvPr/>
          </p:nvGrpSpPr>
          <p:grpSpPr>
            <a:xfrm>
              <a:off x="4353433" y="5611941"/>
              <a:ext cx="602070" cy="223776"/>
              <a:chOff x="621719" y="4712770"/>
              <a:chExt cx="1904166" cy="707737"/>
            </a:xfrm>
          </p:grpSpPr>
          <p:sp>
            <p:nvSpPr>
              <p:cNvPr id="1285" name="Can 12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86" name="Can 12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87" name="Can 12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69" name="Group 1268"/>
            <p:cNvGrpSpPr/>
            <p:nvPr/>
          </p:nvGrpSpPr>
          <p:grpSpPr>
            <a:xfrm>
              <a:off x="4313237" y="5635686"/>
              <a:ext cx="602070" cy="223776"/>
              <a:chOff x="621719" y="4712770"/>
              <a:chExt cx="1904166" cy="707737"/>
            </a:xfrm>
          </p:grpSpPr>
          <p:sp>
            <p:nvSpPr>
              <p:cNvPr id="1282" name="Can 12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83" name="Can 12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84" name="Can 12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70" name="Group 1269"/>
            <p:cNvGrpSpPr/>
            <p:nvPr/>
          </p:nvGrpSpPr>
          <p:grpSpPr>
            <a:xfrm>
              <a:off x="5017910" y="5582348"/>
              <a:ext cx="602070" cy="223776"/>
              <a:chOff x="621719" y="4712770"/>
              <a:chExt cx="1904166" cy="707737"/>
            </a:xfrm>
          </p:grpSpPr>
          <p:sp>
            <p:nvSpPr>
              <p:cNvPr id="1279" name="Can 12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80" name="Can 12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81" name="Can 12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71" name="Group 1270"/>
            <p:cNvGrpSpPr/>
            <p:nvPr/>
          </p:nvGrpSpPr>
          <p:grpSpPr>
            <a:xfrm>
              <a:off x="4983757" y="5611941"/>
              <a:ext cx="602070" cy="223776"/>
              <a:chOff x="621719" y="4712770"/>
              <a:chExt cx="1904166" cy="707737"/>
            </a:xfrm>
          </p:grpSpPr>
          <p:sp>
            <p:nvSpPr>
              <p:cNvPr id="1276" name="Can 12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77" name="Can 12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78" name="Can 12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72" name="Group 1271"/>
            <p:cNvGrpSpPr/>
            <p:nvPr/>
          </p:nvGrpSpPr>
          <p:grpSpPr>
            <a:xfrm>
              <a:off x="4943561" y="5635686"/>
              <a:ext cx="602070" cy="223776"/>
              <a:chOff x="621719" y="4712770"/>
              <a:chExt cx="1904166" cy="707737"/>
            </a:xfrm>
          </p:grpSpPr>
          <p:sp>
            <p:nvSpPr>
              <p:cNvPr id="1273" name="Can 12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74" name="Can 12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75" name="Can 12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291" name="Group 1290"/>
          <p:cNvGrpSpPr/>
          <p:nvPr/>
        </p:nvGrpSpPr>
        <p:grpSpPr>
          <a:xfrm>
            <a:off x="7870783" y="2307873"/>
            <a:ext cx="960641" cy="203718"/>
            <a:chOff x="4313237" y="5582348"/>
            <a:chExt cx="1306743" cy="277114"/>
          </a:xfrm>
        </p:grpSpPr>
        <p:grpSp>
          <p:nvGrpSpPr>
            <p:cNvPr id="1292" name="Group 1291"/>
            <p:cNvGrpSpPr/>
            <p:nvPr/>
          </p:nvGrpSpPr>
          <p:grpSpPr>
            <a:xfrm>
              <a:off x="4387586" y="5582348"/>
              <a:ext cx="602070" cy="223776"/>
              <a:chOff x="621719" y="4712770"/>
              <a:chExt cx="1904166" cy="707737"/>
            </a:xfrm>
          </p:grpSpPr>
          <p:sp>
            <p:nvSpPr>
              <p:cNvPr id="1313" name="Can 13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14" name="Can 13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15" name="Can 13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93" name="Group 1292"/>
            <p:cNvGrpSpPr/>
            <p:nvPr/>
          </p:nvGrpSpPr>
          <p:grpSpPr>
            <a:xfrm>
              <a:off x="4353433" y="5611941"/>
              <a:ext cx="602070" cy="223776"/>
              <a:chOff x="621719" y="4712770"/>
              <a:chExt cx="1904166" cy="707737"/>
            </a:xfrm>
          </p:grpSpPr>
          <p:sp>
            <p:nvSpPr>
              <p:cNvPr id="1310" name="Can 13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11" name="Can 13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12" name="Can 13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94" name="Group 1293"/>
            <p:cNvGrpSpPr/>
            <p:nvPr/>
          </p:nvGrpSpPr>
          <p:grpSpPr>
            <a:xfrm>
              <a:off x="4313237" y="5635686"/>
              <a:ext cx="602070" cy="223776"/>
              <a:chOff x="621719" y="4712770"/>
              <a:chExt cx="1904166" cy="707737"/>
            </a:xfrm>
          </p:grpSpPr>
          <p:sp>
            <p:nvSpPr>
              <p:cNvPr id="1307" name="Can 13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08" name="Can 13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09" name="Can 13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95" name="Group 1294"/>
            <p:cNvGrpSpPr/>
            <p:nvPr/>
          </p:nvGrpSpPr>
          <p:grpSpPr>
            <a:xfrm>
              <a:off x="5017910" y="5582348"/>
              <a:ext cx="602070" cy="223776"/>
              <a:chOff x="621719" y="4712770"/>
              <a:chExt cx="1904166" cy="707737"/>
            </a:xfrm>
          </p:grpSpPr>
          <p:sp>
            <p:nvSpPr>
              <p:cNvPr id="1304" name="Can 13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05" name="Can 13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06" name="Can 13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96" name="Group 1295"/>
            <p:cNvGrpSpPr/>
            <p:nvPr/>
          </p:nvGrpSpPr>
          <p:grpSpPr>
            <a:xfrm>
              <a:off x="4983757" y="5611941"/>
              <a:ext cx="602070" cy="223776"/>
              <a:chOff x="621719" y="4712770"/>
              <a:chExt cx="1904166" cy="707737"/>
            </a:xfrm>
          </p:grpSpPr>
          <p:sp>
            <p:nvSpPr>
              <p:cNvPr id="1301" name="Can 13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02" name="Can 13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03" name="Can 13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297" name="Group 1296"/>
            <p:cNvGrpSpPr/>
            <p:nvPr/>
          </p:nvGrpSpPr>
          <p:grpSpPr>
            <a:xfrm>
              <a:off x="4943561" y="5635686"/>
              <a:ext cx="602070" cy="223776"/>
              <a:chOff x="621719" y="4712770"/>
              <a:chExt cx="1904166" cy="707737"/>
            </a:xfrm>
          </p:grpSpPr>
          <p:sp>
            <p:nvSpPr>
              <p:cNvPr id="1298" name="Can 12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299" name="Can 12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00" name="Can 12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316" name="Group 1315"/>
          <p:cNvGrpSpPr/>
          <p:nvPr/>
        </p:nvGrpSpPr>
        <p:grpSpPr>
          <a:xfrm>
            <a:off x="7870783" y="2137476"/>
            <a:ext cx="960641" cy="203718"/>
            <a:chOff x="4313237" y="5582348"/>
            <a:chExt cx="1306743" cy="277114"/>
          </a:xfrm>
        </p:grpSpPr>
        <p:grpSp>
          <p:nvGrpSpPr>
            <p:cNvPr id="1317" name="Group 1316"/>
            <p:cNvGrpSpPr/>
            <p:nvPr/>
          </p:nvGrpSpPr>
          <p:grpSpPr>
            <a:xfrm>
              <a:off x="4387586" y="5582348"/>
              <a:ext cx="602070" cy="223776"/>
              <a:chOff x="621719" y="4712770"/>
              <a:chExt cx="1904166" cy="707737"/>
            </a:xfrm>
          </p:grpSpPr>
          <p:sp>
            <p:nvSpPr>
              <p:cNvPr id="1338" name="Can 13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39" name="Can 13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40" name="Can 13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18" name="Group 1317"/>
            <p:cNvGrpSpPr/>
            <p:nvPr/>
          </p:nvGrpSpPr>
          <p:grpSpPr>
            <a:xfrm>
              <a:off x="4353433" y="5611941"/>
              <a:ext cx="602070" cy="223776"/>
              <a:chOff x="621719" y="4712770"/>
              <a:chExt cx="1904166" cy="707737"/>
            </a:xfrm>
          </p:grpSpPr>
          <p:sp>
            <p:nvSpPr>
              <p:cNvPr id="1335" name="Can 13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36" name="Can 13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37" name="Can 13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19" name="Group 1318"/>
            <p:cNvGrpSpPr/>
            <p:nvPr/>
          </p:nvGrpSpPr>
          <p:grpSpPr>
            <a:xfrm>
              <a:off x="4313237" y="5635686"/>
              <a:ext cx="602070" cy="223776"/>
              <a:chOff x="621719" y="4712770"/>
              <a:chExt cx="1904166" cy="707737"/>
            </a:xfrm>
          </p:grpSpPr>
          <p:sp>
            <p:nvSpPr>
              <p:cNvPr id="1332" name="Can 13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33" name="Can 13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34" name="Can 13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20" name="Group 1319"/>
            <p:cNvGrpSpPr/>
            <p:nvPr/>
          </p:nvGrpSpPr>
          <p:grpSpPr>
            <a:xfrm>
              <a:off x="5017910" y="5582348"/>
              <a:ext cx="602070" cy="223776"/>
              <a:chOff x="621719" y="4712770"/>
              <a:chExt cx="1904166" cy="707737"/>
            </a:xfrm>
          </p:grpSpPr>
          <p:sp>
            <p:nvSpPr>
              <p:cNvPr id="1329" name="Can 13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30" name="Can 13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31" name="Can 13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21" name="Group 1320"/>
            <p:cNvGrpSpPr/>
            <p:nvPr/>
          </p:nvGrpSpPr>
          <p:grpSpPr>
            <a:xfrm>
              <a:off x="4983757" y="5611941"/>
              <a:ext cx="602070" cy="223776"/>
              <a:chOff x="621719" y="4712770"/>
              <a:chExt cx="1904166" cy="707737"/>
            </a:xfrm>
          </p:grpSpPr>
          <p:sp>
            <p:nvSpPr>
              <p:cNvPr id="1326" name="Can 13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27" name="Can 13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28" name="Can 13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22" name="Group 1321"/>
            <p:cNvGrpSpPr/>
            <p:nvPr/>
          </p:nvGrpSpPr>
          <p:grpSpPr>
            <a:xfrm>
              <a:off x="4943561" y="5635686"/>
              <a:ext cx="602070" cy="223776"/>
              <a:chOff x="621719" y="4712770"/>
              <a:chExt cx="1904166" cy="707737"/>
            </a:xfrm>
          </p:grpSpPr>
          <p:sp>
            <p:nvSpPr>
              <p:cNvPr id="1323" name="Can 13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24" name="Can 13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25" name="Can 13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341" name="Group 1340"/>
          <p:cNvGrpSpPr/>
          <p:nvPr/>
        </p:nvGrpSpPr>
        <p:grpSpPr>
          <a:xfrm>
            <a:off x="7870783" y="1975081"/>
            <a:ext cx="960641" cy="203718"/>
            <a:chOff x="4313237" y="5582348"/>
            <a:chExt cx="1306743" cy="277114"/>
          </a:xfrm>
        </p:grpSpPr>
        <p:grpSp>
          <p:nvGrpSpPr>
            <p:cNvPr id="1342" name="Group 1341"/>
            <p:cNvGrpSpPr/>
            <p:nvPr/>
          </p:nvGrpSpPr>
          <p:grpSpPr>
            <a:xfrm>
              <a:off x="4387586" y="5582348"/>
              <a:ext cx="602070" cy="223776"/>
              <a:chOff x="621719" y="4712770"/>
              <a:chExt cx="1904166" cy="707737"/>
            </a:xfrm>
          </p:grpSpPr>
          <p:sp>
            <p:nvSpPr>
              <p:cNvPr id="1363" name="Can 13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64" name="Can 13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65" name="Can 13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43" name="Group 1342"/>
            <p:cNvGrpSpPr/>
            <p:nvPr/>
          </p:nvGrpSpPr>
          <p:grpSpPr>
            <a:xfrm>
              <a:off x="4353433" y="5611941"/>
              <a:ext cx="602070" cy="223776"/>
              <a:chOff x="621719" y="4712770"/>
              <a:chExt cx="1904166" cy="707737"/>
            </a:xfrm>
          </p:grpSpPr>
          <p:sp>
            <p:nvSpPr>
              <p:cNvPr id="1360" name="Can 13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61" name="Can 13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62" name="Can 13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44" name="Group 1343"/>
            <p:cNvGrpSpPr/>
            <p:nvPr/>
          </p:nvGrpSpPr>
          <p:grpSpPr>
            <a:xfrm>
              <a:off x="4313237" y="5635686"/>
              <a:ext cx="602070" cy="223776"/>
              <a:chOff x="621719" y="4712770"/>
              <a:chExt cx="1904166" cy="707737"/>
            </a:xfrm>
          </p:grpSpPr>
          <p:sp>
            <p:nvSpPr>
              <p:cNvPr id="1357" name="Can 13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58" name="Can 13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59" name="Can 13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45" name="Group 1344"/>
            <p:cNvGrpSpPr/>
            <p:nvPr/>
          </p:nvGrpSpPr>
          <p:grpSpPr>
            <a:xfrm>
              <a:off x="5017910" y="5582348"/>
              <a:ext cx="602070" cy="223776"/>
              <a:chOff x="621719" y="4712770"/>
              <a:chExt cx="1904166" cy="707737"/>
            </a:xfrm>
          </p:grpSpPr>
          <p:sp>
            <p:nvSpPr>
              <p:cNvPr id="1354" name="Can 13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55" name="Can 13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56" name="Can 13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46" name="Group 1345"/>
            <p:cNvGrpSpPr/>
            <p:nvPr/>
          </p:nvGrpSpPr>
          <p:grpSpPr>
            <a:xfrm>
              <a:off x="4983757" y="5611941"/>
              <a:ext cx="602070" cy="223776"/>
              <a:chOff x="621719" y="4712770"/>
              <a:chExt cx="1904166" cy="707737"/>
            </a:xfrm>
          </p:grpSpPr>
          <p:sp>
            <p:nvSpPr>
              <p:cNvPr id="1351" name="Can 13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52" name="Can 13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53" name="Can 13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47" name="Group 1346"/>
            <p:cNvGrpSpPr/>
            <p:nvPr/>
          </p:nvGrpSpPr>
          <p:grpSpPr>
            <a:xfrm>
              <a:off x="4943561" y="5635686"/>
              <a:ext cx="602070" cy="223776"/>
              <a:chOff x="621719" y="4712770"/>
              <a:chExt cx="1904166" cy="707737"/>
            </a:xfrm>
          </p:grpSpPr>
          <p:sp>
            <p:nvSpPr>
              <p:cNvPr id="1348" name="Can 13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49" name="Can 13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50" name="Can 13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366" name="Group 1365"/>
          <p:cNvGrpSpPr/>
          <p:nvPr/>
        </p:nvGrpSpPr>
        <p:grpSpPr>
          <a:xfrm>
            <a:off x="750466" y="4118979"/>
            <a:ext cx="2524881" cy="296107"/>
            <a:chOff x="655637" y="5525725"/>
            <a:chExt cx="3434549" cy="402789"/>
          </a:xfrm>
        </p:grpSpPr>
        <p:sp>
          <p:nvSpPr>
            <p:cNvPr id="1367" name="Right Arrow 1366"/>
            <p:cNvSpPr/>
            <p:nvPr/>
          </p:nvSpPr>
          <p:spPr bwMode="auto">
            <a:xfrm>
              <a:off x="3785386" y="5630675"/>
              <a:ext cx="304800" cy="223776"/>
            </a:xfrm>
            <a:prstGeom prst="rightArrow">
              <a:avLst/>
            </a:prstGeom>
            <a:solidFill>
              <a:srgbClr val="0078D7"/>
            </a:solidFill>
            <a:ln w="9525" cap="flat" cmpd="sng" algn="ctr">
              <a:noFill/>
              <a:prstDash val="solid"/>
              <a:headEnd type="none" w="med" len="med"/>
              <a:tailEnd type="none" w="med" len="med"/>
            </a:ln>
            <a:effectLst/>
          </p:spPr>
          <p:txBody>
            <a:bodyPr lIns="67221" tIns="67221" rIns="25211" bIns="25211" rtlCol="0" anchor="b" anchorCtr="0"/>
            <a:lstStyle/>
            <a:p>
              <a:pPr marL="0" marR="0" lvl="0" indent="0" algn="ctr" defTabSz="685428" rtl="0" eaLnBrk="1" fontAlgn="auto" latinLnBrk="0" hangingPunct="1">
                <a:lnSpc>
                  <a:spcPct val="100000"/>
                </a:lnSpc>
                <a:spcBef>
                  <a:spcPts val="0"/>
                </a:spcBef>
                <a:spcAft>
                  <a:spcPts val="0"/>
                </a:spcAft>
                <a:buClrTx/>
                <a:buSzTx/>
                <a:buFontTx/>
                <a:buNone/>
                <a:tabLst/>
                <a:defRPr/>
              </a:pPr>
              <a:endParaRPr kumimoji="0" lang="en-US" sz="5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8" name="Rectangle 1367"/>
            <p:cNvSpPr/>
            <p:nvPr/>
          </p:nvSpPr>
          <p:spPr>
            <a:xfrm>
              <a:off x="655637" y="5525725"/>
              <a:ext cx="3208004" cy="402789"/>
            </a:xfrm>
            <a:prstGeom prst="rect">
              <a:avLst/>
            </a:prstGeom>
          </p:spPr>
          <p:txBody>
            <a:bodyPr wrap="none">
              <a:spAutoFit/>
            </a:bodyPr>
            <a:lstStyle/>
            <a:p>
              <a:pPr marL="0" marR="0" lvl="0" indent="0" algn="l" defTabSz="672192" rtl="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srgbClr val="FFFFFF"/>
                  </a:solidFill>
                  <a:effectLst/>
                  <a:uLnTx/>
                  <a:uFillTx/>
                  <a:latin typeface="Segoe UI"/>
                  <a:ea typeface="+mn-ea"/>
                  <a:cs typeface="+mn-cs"/>
                </a:rPr>
                <a:t>Max per-database burst level</a:t>
              </a:r>
            </a:p>
          </p:txBody>
        </p:sp>
      </p:grpSp>
      <p:grpSp>
        <p:nvGrpSpPr>
          <p:cNvPr id="1369" name="Group 1368"/>
          <p:cNvGrpSpPr/>
          <p:nvPr/>
        </p:nvGrpSpPr>
        <p:grpSpPr>
          <a:xfrm>
            <a:off x="7869744" y="1814044"/>
            <a:ext cx="960641" cy="203718"/>
            <a:chOff x="4313237" y="5582348"/>
            <a:chExt cx="1306743" cy="277114"/>
          </a:xfrm>
        </p:grpSpPr>
        <p:grpSp>
          <p:nvGrpSpPr>
            <p:cNvPr id="1370" name="Group 1369"/>
            <p:cNvGrpSpPr/>
            <p:nvPr/>
          </p:nvGrpSpPr>
          <p:grpSpPr>
            <a:xfrm>
              <a:off x="4387586" y="5582348"/>
              <a:ext cx="602070" cy="223776"/>
              <a:chOff x="621719" y="4712770"/>
              <a:chExt cx="1904166" cy="707737"/>
            </a:xfrm>
          </p:grpSpPr>
          <p:sp>
            <p:nvSpPr>
              <p:cNvPr id="1391" name="Can 13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92" name="Can 13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93" name="Can 13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71" name="Group 1370"/>
            <p:cNvGrpSpPr/>
            <p:nvPr/>
          </p:nvGrpSpPr>
          <p:grpSpPr>
            <a:xfrm>
              <a:off x="4353433" y="5611941"/>
              <a:ext cx="602070" cy="223776"/>
              <a:chOff x="621719" y="4712770"/>
              <a:chExt cx="1904166" cy="707737"/>
            </a:xfrm>
          </p:grpSpPr>
          <p:sp>
            <p:nvSpPr>
              <p:cNvPr id="1388" name="Can 13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89" name="Can 13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90" name="Can 13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72" name="Group 1371"/>
            <p:cNvGrpSpPr/>
            <p:nvPr/>
          </p:nvGrpSpPr>
          <p:grpSpPr>
            <a:xfrm>
              <a:off x="4313237" y="5635686"/>
              <a:ext cx="602070" cy="223776"/>
              <a:chOff x="621719" y="4712770"/>
              <a:chExt cx="1904166" cy="707737"/>
            </a:xfrm>
          </p:grpSpPr>
          <p:sp>
            <p:nvSpPr>
              <p:cNvPr id="1385" name="Can 13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86" name="Can 13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87" name="Can 13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73" name="Group 1372"/>
            <p:cNvGrpSpPr/>
            <p:nvPr/>
          </p:nvGrpSpPr>
          <p:grpSpPr>
            <a:xfrm>
              <a:off x="5017910" y="5582348"/>
              <a:ext cx="602070" cy="223776"/>
              <a:chOff x="621719" y="4712770"/>
              <a:chExt cx="1904166" cy="707737"/>
            </a:xfrm>
          </p:grpSpPr>
          <p:sp>
            <p:nvSpPr>
              <p:cNvPr id="1382" name="Can 13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83" name="Can 13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84" name="Can 13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74" name="Group 1373"/>
            <p:cNvGrpSpPr/>
            <p:nvPr/>
          </p:nvGrpSpPr>
          <p:grpSpPr>
            <a:xfrm>
              <a:off x="4983757" y="5611941"/>
              <a:ext cx="602070" cy="223776"/>
              <a:chOff x="621719" y="4712770"/>
              <a:chExt cx="1904166" cy="707737"/>
            </a:xfrm>
          </p:grpSpPr>
          <p:sp>
            <p:nvSpPr>
              <p:cNvPr id="1379" name="Can 13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80" name="Can 13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81" name="Can 13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75" name="Group 1374"/>
            <p:cNvGrpSpPr/>
            <p:nvPr/>
          </p:nvGrpSpPr>
          <p:grpSpPr>
            <a:xfrm>
              <a:off x="4943561" y="5635686"/>
              <a:ext cx="602070" cy="223776"/>
              <a:chOff x="621719" y="4712770"/>
              <a:chExt cx="1904166" cy="707737"/>
            </a:xfrm>
          </p:grpSpPr>
          <p:sp>
            <p:nvSpPr>
              <p:cNvPr id="1376" name="Can 13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77" name="Can 13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sp>
            <p:nvSpPr>
              <p:cNvPr id="1378" name="Can 13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marL="0" marR="0" lvl="0" indent="0" algn="ctr" defTabSz="67219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424661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02"/>
                                        </p:tgtEl>
                                        <p:attrNameLst>
                                          <p:attrName>style.visibility</p:attrName>
                                        </p:attrNameLst>
                                      </p:cBhvr>
                                      <p:to>
                                        <p:strVal val="visible"/>
                                      </p:to>
                                    </p:set>
                                    <p:animEffect transition="in" filter="wipe(down)">
                                      <p:cBhvr>
                                        <p:cTn id="7" dur="500"/>
                                        <p:tgtEl>
                                          <p:spTgt spid="702"/>
                                        </p:tgtEl>
                                      </p:cBhvr>
                                    </p:animEffect>
                                  </p:childTnLst>
                                </p:cTn>
                              </p:par>
                            </p:childTnLst>
                          </p:cTn>
                        </p:par>
                        <p:par>
                          <p:cTn id="8" fill="hold">
                            <p:stCondLst>
                              <p:cond delay="500"/>
                            </p:stCondLst>
                            <p:childTnLst>
                              <p:par>
                                <p:cTn id="9" presetID="22" presetClass="entr" presetSubtype="8" fill="hold" nodeType="afterEffect">
                                  <p:stCondLst>
                                    <p:cond delay="250"/>
                                  </p:stCondLst>
                                  <p:childTnLst>
                                    <p:set>
                                      <p:cBhvr>
                                        <p:cTn id="10" dur="1" fill="hold">
                                          <p:stCondLst>
                                            <p:cond delay="0"/>
                                          </p:stCondLst>
                                        </p:cTn>
                                        <p:tgtEl>
                                          <p:spTgt spid="1366"/>
                                        </p:tgtEl>
                                        <p:attrNameLst>
                                          <p:attrName>style.visibility</p:attrName>
                                        </p:attrNameLst>
                                      </p:cBhvr>
                                      <p:to>
                                        <p:strVal val="visible"/>
                                      </p:to>
                                    </p:set>
                                    <p:animEffect transition="in" filter="wipe(left)">
                                      <p:cBhvr>
                                        <p:cTn id="11" dur="500"/>
                                        <p:tgtEl>
                                          <p:spTgt spid="136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nodeType="clickEffect">
                                  <p:stCondLst>
                                    <p:cond delay="0"/>
                                  </p:stCondLst>
                                  <p:childTnLst>
                                    <p:set>
                                      <p:cBhvr>
                                        <p:cTn id="15" dur="1" fill="hold">
                                          <p:stCondLst>
                                            <p:cond delay="0"/>
                                          </p:stCondLst>
                                        </p:cTn>
                                        <p:tgtEl>
                                          <p:spTgt spid="702"/>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1366"/>
                                        </p:tgtEl>
                                        <p:attrNameLst>
                                          <p:attrName>style.visibility</p:attrName>
                                        </p:attrNameLst>
                                      </p:cBhvr>
                                      <p:to>
                                        <p:strVal val="hidden"/>
                                      </p:to>
                                    </p:set>
                                  </p:childTnLst>
                                </p:cTn>
                              </p:par>
                              <p:par>
                                <p:cTn id="18" presetID="42" presetClass="entr" presetSubtype="0" fill="hold" nodeType="withEffect">
                                  <p:stCondLst>
                                    <p:cond delay="0"/>
                                  </p:stCondLst>
                                  <p:childTnLst>
                                    <p:set>
                                      <p:cBhvr>
                                        <p:cTn id="19" dur="1" fill="hold">
                                          <p:stCondLst>
                                            <p:cond delay="0"/>
                                          </p:stCondLst>
                                        </p:cTn>
                                        <p:tgtEl>
                                          <p:spTgt spid="716"/>
                                        </p:tgtEl>
                                        <p:attrNameLst>
                                          <p:attrName>style.visibility</p:attrName>
                                        </p:attrNameLst>
                                      </p:cBhvr>
                                      <p:to>
                                        <p:strVal val="visible"/>
                                      </p:to>
                                    </p:set>
                                    <p:animEffect transition="in" filter="fade">
                                      <p:cBhvr>
                                        <p:cTn id="20" dur="500"/>
                                        <p:tgtEl>
                                          <p:spTgt spid="716"/>
                                        </p:tgtEl>
                                      </p:cBhvr>
                                    </p:animEffect>
                                    <p:anim calcmode="lin" valueType="num">
                                      <p:cBhvr>
                                        <p:cTn id="21" dur="500" fill="hold"/>
                                        <p:tgtEl>
                                          <p:spTgt spid="716"/>
                                        </p:tgtEl>
                                        <p:attrNameLst>
                                          <p:attrName>ppt_x</p:attrName>
                                        </p:attrNameLst>
                                      </p:cBhvr>
                                      <p:tavLst>
                                        <p:tav tm="0">
                                          <p:val>
                                            <p:strVal val="#ppt_x"/>
                                          </p:val>
                                        </p:tav>
                                        <p:tav tm="100000">
                                          <p:val>
                                            <p:strVal val="#ppt_x"/>
                                          </p:val>
                                        </p:tav>
                                      </p:tavLst>
                                    </p:anim>
                                    <p:anim calcmode="lin" valueType="num">
                                      <p:cBhvr>
                                        <p:cTn id="22" dur="500" fill="hold"/>
                                        <p:tgtEl>
                                          <p:spTgt spid="716"/>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741"/>
                                        </p:tgtEl>
                                        <p:attrNameLst>
                                          <p:attrName>style.visibility</p:attrName>
                                        </p:attrNameLst>
                                      </p:cBhvr>
                                      <p:to>
                                        <p:strVal val="visible"/>
                                      </p:to>
                                    </p:set>
                                    <p:animEffect transition="in" filter="fade">
                                      <p:cBhvr>
                                        <p:cTn id="25" dur="500"/>
                                        <p:tgtEl>
                                          <p:spTgt spid="741"/>
                                        </p:tgtEl>
                                      </p:cBhvr>
                                    </p:animEffect>
                                    <p:anim calcmode="lin" valueType="num">
                                      <p:cBhvr>
                                        <p:cTn id="26" dur="500" fill="hold"/>
                                        <p:tgtEl>
                                          <p:spTgt spid="741"/>
                                        </p:tgtEl>
                                        <p:attrNameLst>
                                          <p:attrName>ppt_x</p:attrName>
                                        </p:attrNameLst>
                                      </p:cBhvr>
                                      <p:tavLst>
                                        <p:tav tm="0">
                                          <p:val>
                                            <p:strVal val="#ppt_x"/>
                                          </p:val>
                                        </p:tav>
                                        <p:tav tm="100000">
                                          <p:val>
                                            <p:strVal val="#ppt_x"/>
                                          </p:val>
                                        </p:tav>
                                      </p:tavLst>
                                    </p:anim>
                                    <p:anim calcmode="lin" valueType="num">
                                      <p:cBhvr>
                                        <p:cTn id="27" dur="500" fill="hold"/>
                                        <p:tgtEl>
                                          <p:spTgt spid="741"/>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816"/>
                                        </p:tgtEl>
                                        <p:attrNameLst>
                                          <p:attrName>style.visibility</p:attrName>
                                        </p:attrNameLst>
                                      </p:cBhvr>
                                      <p:to>
                                        <p:strVal val="visible"/>
                                      </p:to>
                                    </p:set>
                                    <p:animEffect transition="in" filter="fade">
                                      <p:cBhvr>
                                        <p:cTn id="30" dur="500"/>
                                        <p:tgtEl>
                                          <p:spTgt spid="816"/>
                                        </p:tgtEl>
                                      </p:cBhvr>
                                    </p:animEffect>
                                    <p:anim calcmode="lin" valueType="num">
                                      <p:cBhvr>
                                        <p:cTn id="31" dur="500" fill="hold"/>
                                        <p:tgtEl>
                                          <p:spTgt spid="816"/>
                                        </p:tgtEl>
                                        <p:attrNameLst>
                                          <p:attrName>ppt_x</p:attrName>
                                        </p:attrNameLst>
                                      </p:cBhvr>
                                      <p:tavLst>
                                        <p:tav tm="0">
                                          <p:val>
                                            <p:strVal val="#ppt_x"/>
                                          </p:val>
                                        </p:tav>
                                        <p:tav tm="100000">
                                          <p:val>
                                            <p:strVal val="#ppt_x"/>
                                          </p:val>
                                        </p:tav>
                                      </p:tavLst>
                                    </p:anim>
                                    <p:anim calcmode="lin" valueType="num">
                                      <p:cBhvr>
                                        <p:cTn id="32" dur="500" fill="hold"/>
                                        <p:tgtEl>
                                          <p:spTgt spid="81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1016"/>
                                        </p:tgtEl>
                                        <p:attrNameLst>
                                          <p:attrName>style.visibility</p:attrName>
                                        </p:attrNameLst>
                                      </p:cBhvr>
                                      <p:to>
                                        <p:strVal val="visible"/>
                                      </p:to>
                                    </p:set>
                                    <p:animEffect transition="in" filter="fade">
                                      <p:cBhvr>
                                        <p:cTn id="35" dur="500"/>
                                        <p:tgtEl>
                                          <p:spTgt spid="1016"/>
                                        </p:tgtEl>
                                      </p:cBhvr>
                                    </p:animEffect>
                                    <p:anim calcmode="lin" valueType="num">
                                      <p:cBhvr>
                                        <p:cTn id="36" dur="500" fill="hold"/>
                                        <p:tgtEl>
                                          <p:spTgt spid="1016"/>
                                        </p:tgtEl>
                                        <p:attrNameLst>
                                          <p:attrName>ppt_x</p:attrName>
                                        </p:attrNameLst>
                                      </p:cBhvr>
                                      <p:tavLst>
                                        <p:tav tm="0">
                                          <p:val>
                                            <p:strVal val="#ppt_x"/>
                                          </p:val>
                                        </p:tav>
                                        <p:tav tm="100000">
                                          <p:val>
                                            <p:strVal val="#ppt_x"/>
                                          </p:val>
                                        </p:tav>
                                      </p:tavLst>
                                    </p:anim>
                                    <p:anim calcmode="lin" valueType="num">
                                      <p:cBhvr>
                                        <p:cTn id="37" dur="500" fill="hold"/>
                                        <p:tgtEl>
                                          <p:spTgt spid="1016"/>
                                        </p:tgtEl>
                                        <p:attrNameLst>
                                          <p:attrName>ppt_y</p:attrName>
                                        </p:attrNameLst>
                                      </p:cBhvr>
                                      <p:tavLst>
                                        <p:tav tm="0">
                                          <p:val>
                                            <p:strVal val="#ppt_y+.1"/>
                                          </p:val>
                                        </p:tav>
                                        <p:tav tm="100000">
                                          <p:val>
                                            <p:strVal val="#ppt_y"/>
                                          </p:val>
                                        </p:tav>
                                      </p:tavLst>
                                    </p:anim>
                                  </p:childTnLst>
                                </p:cTn>
                              </p:par>
                            </p:childTnLst>
                          </p:cTn>
                        </p:par>
                        <p:par>
                          <p:cTn id="38" fill="hold">
                            <p:stCondLst>
                              <p:cond delay="500"/>
                            </p:stCondLst>
                            <p:childTnLst>
                              <p:par>
                                <p:cTn id="39" presetID="42" presetClass="entr" presetSubtype="0" fill="hold" nodeType="afterEffect">
                                  <p:stCondLst>
                                    <p:cond delay="0"/>
                                  </p:stCondLst>
                                  <p:childTnLst>
                                    <p:set>
                                      <p:cBhvr>
                                        <p:cTn id="40" dur="1" fill="hold">
                                          <p:stCondLst>
                                            <p:cond delay="0"/>
                                          </p:stCondLst>
                                        </p:cTn>
                                        <p:tgtEl>
                                          <p:spTgt spid="766"/>
                                        </p:tgtEl>
                                        <p:attrNameLst>
                                          <p:attrName>style.visibility</p:attrName>
                                        </p:attrNameLst>
                                      </p:cBhvr>
                                      <p:to>
                                        <p:strVal val="visible"/>
                                      </p:to>
                                    </p:set>
                                    <p:animEffect transition="in" filter="fade">
                                      <p:cBhvr>
                                        <p:cTn id="41" dur="500"/>
                                        <p:tgtEl>
                                          <p:spTgt spid="766"/>
                                        </p:tgtEl>
                                      </p:cBhvr>
                                    </p:animEffect>
                                    <p:anim calcmode="lin" valueType="num">
                                      <p:cBhvr>
                                        <p:cTn id="42" dur="500" fill="hold"/>
                                        <p:tgtEl>
                                          <p:spTgt spid="766"/>
                                        </p:tgtEl>
                                        <p:attrNameLst>
                                          <p:attrName>ppt_x</p:attrName>
                                        </p:attrNameLst>
                                      </p:cBhvr>
                                      <p:tavLst>
                                        <p:tav tm="0">
                                          <p:val>
                                            <p:strVal val="#ppt_x"/>
                                          </p:val>
                                        </p:tav>
                                        <p:tav tm="100000">
                                          <p:val>
                                            <p:strVal val="#ppt_x"/>
                                          </p:val>
                                        </p:tav>
                                      </p:tavLst>
                                    </p:anim>
                                    <p:anim calcmode="lin" valueType="num">
                                      <p:cBhvr>
                                        <p:cTn id="43" dur="500" fill="hold"/>
                                        <p:tgtEl>
                                          <p:spTgt spid="766"/>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841"/>
                                        </p:tgtEl>
                                        <p:attrNameLst>
                                          <p:attrName>style.visibility</p:attrName>
                                        </p:attrNameLst>
                                      </p:cBhvr>
                                      <p:to>
                                        <p:strVal val="visible"/>
                                      </p:to>
                                    </p:set>
                                    <p:animEffect transition="in" filter="fade">
                                      <p:cBhvr>
                                        <p:cTn id="46" dur="500"/>
                                        <p:tgtEl>
                                          <p:spTgt spid="841"/>
                                        </p:tgtEl>
                                      </p:cBhvr>
                                    </p:animEffect>
                                    <p:anim calcmode="lin" valueType="num">
                                      <p:cBhvr>
                                        <p:cTn id="47" dur="500" fill="hold"/>
                                        <p:tgtEl>
                                          <p:spTgt spid="841"/>
                                        </p:tgtEl>
                                        <p:attrNameLst>
                                          <p:attrName>ppt_x</p:attrName>
                                        </p:attrNameLst>
                                      </p:cBhvr>
                                      <p:tavLst>
                                        <p:tav tm="0">
                                          <p:val>
                                            <p:strVal val="#ppt_x"/>
                                          </p:val>
                                        </p:tav>
                                        <p:tav tm="100000">
                                          <p:val>
                                            <p:strVal val="#ppt_x"/>
                                          </p:val>
                                        </p:tav>
                                      </p:tavLst>
                                    </p:anim>
                                    <p:anim calcmode="lin" valueType="num">
                                      <p:cBhvr>
                                        <p:cTn id="48" dur="500" fill="hold"/>
                                        <p:tgtEl>
                                          <p:spTgt spid="841"/>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041"/>
                                        </p:tgtEl>
                                        <p:attrNameLst>
                                          <p:attrName>style.visibility</p:attrName>
                                        </p:attrNameLst>
                                      </p:cBhvr>
                                      <p:to>
                                        <p:strVal val="visible"/>
                                      </p:to>
                                    </p:set>
                                    <p:animEffect transition="in" filter="fade">
                                      <p:cBhvr>
                                        <p:cTn id="51" dur="500"/>
                                        <p:tgtEl>
                                          <p:spTgt spid="1041"/>
                                        </p:tgtEl>
                                      </p:cBhvr>
                                    </p:animEffect>
                                    <p:anim calcmode="lin" valueType="num">
                                      <p:cBhvr>
                                        <p:cTn id="52" dur="500" fill="hold"/>
                                        <p:tgtEl>
                                          <p:spTgt spid="1041"/>
                                        </p:tgtEl>
                                        <p:attrNameLst>
                                          <p:attrName>ppt_x</p:attrName>
                                        </p:attrNameLst>
                                      </p:cBhvr>
                                      <p:tavLst>
                                        <p:tav tm="0">
                                          <p:val>
                                            <p:strVal val="#ppt_x"/>
                                          </p:val>
                                        </p:tav>
                                        <p:tav tm="100000">
                                          <p:val>
                                            <p:strVal val="#ppt_x"/>
                                          </p:val>
                                        </p:tav>
                                      </p:tavLst>
                                    </p:anim>
                                    <p:anim calcmode="lin" valueType="num">
                                      <p:cBhvr>
                                        <p:cTn id="53" dur="500" fill="hold"/>
                                        <p:tgtEl>
                                          <p:spTgt spid="1041"/>
                                        </p:tgtEl>
                                        <p:attrNameLst>
                                          <p:attrName>ppt_y</p:attrName>
                                        </p:attrNameLst>
                                      </p:cBhvr>
                                      <p:tavLst>
                                        <p:tav tm="0">
                                          <p:val>
                                            <p:strVal val="#ppt_y+.1"/>
                                          </p:val>
                                        </p:tav>
                                        <p:tav tm="100000">
                                          <p:val>
                                            <p:strVal val="#ppt_y"/>
                                          </p:val>
                                        </p:tav>
                                      </p:tavLst>
                                    </p:anim>
                                  </p:childTnLst>
                                </p:cTn>
                              </p:par>
                            </p:childTnLst>
                          </p:cTn>
                        </p:par>
                        <p:par>
                          <p:cTn id="54" fill="hold">
                            <p:stCondLst>
                              <p:cond delay="1000"/>
                            </p:stCondLst>
                            <p:childTnLst>
                              <p:par>
                                <p:cTn id="55" presetID="42" presetClass="entr" presetSubtype="0" fill="hold" nodeType="afterEffect">
                                  <p:stCondLst>
                                    <p:cond delay="0"/>
                                  </p:stCondLst>
                                  <p:childTnLst>
                                    <p:set>
                                      <p:cBhvr>
                                        <p:cTn id="56" dur="1" fill="hold">
                                          <p:stCondLst>
                                            <p:cond delay="0"/>
                                          </p:stCondLst>
                                        </p:cTn>
                                        <p:tgtEl>
                                          <p:spTgt spid="791"/>
                                        </p:tgtEl>
                                        <p:attrNameLst>
                                          <p:attrName>style.visibility</p:attrName>
                                        </p:attrNameLst>
                                      </p:cBhvr>
                                      <p:to>
                                        <p:strVal val="visible"/>
                                      </p:to>
                                    </p:set>
                                    <p:animEffect transition="in" filter="fade">
                                      <p:cBhvr>
                                        <p:cTn id="57" dur="500"/>
                                        <p:tgtEl>
                                          <p:spTgt spid="791"/>
                                        </p:tgtEl>
                                      </p:cBhvr>
                                    </p:animEffect>
                                    <p:anim calcmode="lin" valueType="num">
                                      <p:cBhvr>
                                        <p:cTn id="58" dur="500" fill="hold"/>
                                        <p:tgtEl>
                                          <p:spTgt spid="791"/>
                                        </p:tgtEl>
                                        <p:attrNameLst>
                                          <p:attrName>ppt_x</p:attrName>
                                        </p:attrNameLst>
                                      </p:cBhvr>
                                      <p:tavLst>
                                        <p:tav tm="0">
                                          <p:val>
                                            <p:strVal val="#ppt_x"/>
                                          </p:val>
                                        </p:tav>
                                        <p:tav tm="100000">
                                          <p:val>
                                            <p:strVal val="#ppt_x"/>
                                          </p:val>
                                        </p:tav>
                                      </p:tavLst>
                                    </p:anim>
                                    <p:anim calcmode="lin" valueType="num">
                                      <p:cBhvr>
                                        <p:cTn id="59" dur="500" fill="hold"/>
                                        <p:tgtEl>
                                          <p:spTgt spid="791"/>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866"/>
                                        </p:tgtEl>
                                        <p:attrNameLst>
                                          <p:attrName>style.visibility</p:attrName>
                                        </p:attrNameLst>
                                      </p:cBhvr>
                                      <p:to>
                                        <p:strVal val="visible"/>
                                      </p:to>
                                    </p:set>
                                    <p:animEffect transition="in" filter="fade">
                                      <p:cBhvr>
                                        <p:cTn id="62" dur="500"/>
                                        <p:tgtEl>
                                          <p:spTgt spid="866"/>
                                        </p:tgtEl>
                                      </p:cBhvr>
                                    </p:animEffect>
                                    <p:anim calcmode="lin" valueType="num">
                                      <p:cBhvr>
                                        <p:cTn id="63" dur="500" fill="hold"/>
                                        <p:tgtEl>
                                          <p:spTgt spid="866"/>
                                        </p:tgtEl>
                                        <p:attrNameLst>
                                          <p:attrName>ppt_x</p:attrName>
                                        </p:attrNameLst>
                                      </p:cBhvr>
                                      <p:tavLst>
                                        <p:tav tm="0">
                                          <p:val>
                                            <p:strVal val="#ppt_x"/>
                                          </p:val>
                                        </p:tav>
                                        <p:tav tm="100000">
                                          <p:val>
                                            <p:strVal val="#ppt_x"/>
                                          </p:val>
                                        </p:tav>
                                      </p:tavLst>
                                    </p:anim>
                                    <p:anim calcmode="lin" valueType="num">
                                      <p:cBhvr>
                                        <p:cTn id="64" dur="500" fill="hold"/>
                                        <p:tgtEl>
                                          <p:spTgt spid="866"/>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1066"/>
                                        </p:tgtEl>
                                        <p:attrNameLst>
                                          <p:attrName>style.visibility</p:attrName>
                                        </p:attrNameLst>
                                      </p:cBhvr>
                                      <p:to>
                                        <p:strVal val="visible"/>
                                      </p:to>
                                    </p:set>
                                    <p:animEffect transition="in" filter="fade">
                                      <p:cBhvr>
                                        <p:cTn id="67" dur="500"/>
                                        <p:tgtEl>
                                          <p:spTgt spid="1066"/>
                                        </p:tgtEl>
                                      </p:cBhvr>
                                    </p:animEffect>
                                    <p:anim calcmode="lin" valueType="num">
                                      <p:cBhvr>
                                        <p:cTn id="68" dur="500" fill="hold"/>
                                        <p:tgtEl>
                                          <p:spTgt spid="1066"/>
                                        </p:tgtEl>
                                        <p:attrNameLst>
                                          <p:attrName>ppt_x</p:attrName>
                                        </p:attrNameLst>
                                      </p:cBhvr>
                                      <p:tavLst>
                                        <p:tav tm="0">
                                          <p:val>
                                            <p:strVal val="#ppt_x"/>
                                          </p:val>
                                        </p:tav>
                                        <p:tav tm="100000">
                                          <p:val>
                                            <p:strVal val="#ppt_x"/>
                                          </p:val>
                                        </p:tav>
                                      </p:tavLst>
                                    </p:anim>
                                    <p:anim calcmode="lin" valueType="num">
                                      <p:cBhvr>
                                        <p:cTn id="69" dur="500" fill="hold"/>
                                        <p:tgtEl>
                                          <p:spTgt spid="1066"/>
                                        </p:tgtEl>
                                        <p:attrNameLst>
                                          <p:attrName>ppt_y</p:attrName>
                                        </p:attrNameLst>
                                      </p:cBhvr>
                                      <p:tavLst>
                                        <p:tav tm="0">
                                          <p:val>
                                            <p:strVal val="#ppt_y+.1"/>
                                          </p:val>
                                        </p:tav>
                                        <p:tav tm="100000">
                                          <p:val>
                                            <p:strVal val="#ppt_y"/>
                                          </p:val>
                                        </p:tav>
                                      </p:tavLst>
                                    </p:anim>
                                  </p:childTnLst>
                                </p:cTn>
                              </p:par>
                            </p:childTnLst>
                          </p:cTn>
                        </p:par>
                        <p:par>
                          <p:cTn id="70" fill="hold">
                            <p:stCondLst>
                              <p:cond delay="1500"/>
                            </p:stCondLst>
                            <p:childTnLst>
                              <p:par>
                                <p:cTn id="71" presetID="42" presetClass="entr" presetSubtype="0" fill="hold" nodeType="afterEffect">
                                  <p:stCondLst>
                                    <p:cond delay="0"/>
                                  </p:stCondLst>
                                  <p:childTnLst>
                                    <p:set>
                                      <p:cBhvr>
                                        <p:cTn id="72" dur="1" fill="hold">
                                          <p:stCondLst>
                                            <p:cond delay="0"/>
                                          </p:stCondLst>
                                        </p:cTn>
                                        <p:tgtEl>
                                          <p:spTgt spid="891"/>
                                        </p:tgtEl>
                                        <p:attrNameLst>
                                          <p:attrName>style.visibility</p:attrName>
                                        </p:attrNameLst>
                                      </p:cBhvr>
                                      <p:to>
                                        <p:strVal val="visible"/>
                                      </p:to>
                                    </p:set>
                                    <p:animEffect transition="in" filter="fade">
                                      <p:cBhvr>
                                        <p:cTn id="73" dur="500"/>
                                        <p:tgtEl>
                                          <p:spTgt spid="891"/>
                                        </p:tgtEl>
                                      </p:cBhvr>
                                    </p:animEffect>
                                    <p:anim calcmode="lin" valueType="num">
                                      <p:cBhvr>
                                        <p:cTn id="74" dur="500" fill="hold"/>
                                        <p:tgtEl>
                                          <p:spTgt spid="891"/>
                                        </p:tgtEl>
                                        <p:attrNameLst>
                                          <p:attrName>ppt_x</p:attrName>
                                        </p:attrNameLst>
                                      </p:cBhvr>
                                      <p:tavLst>
                                        <p:tav tm="0">
                                          <p:val>
                                            <p:strVal val="#ppt_x"/>
                                          </p:val>
                                        </p:tav>
                                        <p:tav tm="100000">
                                          <p:val>
                                            <p:strVal val="#ppt_x"/>
                                          </p:val>
                                        </p:tav>
                                      </p:tavLst>
                                    </p:anim>
                                    <p:anim calcmode="lin" valueType="num">
                                      <p:cBhvr>
                                        <p:cTn id="75" dur="500" fill="hold"/>
                                        <p:tgtEl>
                                          <p:spTgt spid="891"/>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1091"/>
                                        </p:tgtEl>
                                        <p:attrNameLst>
                                          <p:attrName>style.visibility</p:attrName>
                                        </p:attrNameLst>
                                      </p:cBhvr>
                                      <p:to>
                                        <p:strVal val="visible"/>
                                      </p:to>
                                    </p:set>
                                    <p:animEffect transition="in" filter="fade">
                                      <p:cBhvr>
                                        <p:cTn id="78" dur="500"/>
                                        <p:tgtEl>
                                          <p:spTgt spid="1091"/>
                                        </p:tgtEl>
                                      </p:cBhvr>
                                    </p:animEffect>
                                    <p:anim calcmode="lin" valueType="num">
                                      <p:cBhvr>
                                        <p:cTn id="79" dur="500" fill="hold"/>
                                        <p:tgtEl>
                                          <p:spTgt spid="1091"/>
                                        </p:tgtEl>
                                        <p:attrNameLst>
                                          <p:attrName>ppt_x</p:attrName>
                                        </p:attrNameLst>
                                      </p:cBhvr>
                                      <p:tavLst>
                                        <p:tav tm="0">
                                          <p:val>
                                            <p:strVal val="#ppt_x"/>
                                          </p:val>
                                        </p:tav>
                                        <p:tav tm="100000">
                                          <p:val>
                                            <p:strVal val="#ppt_x"/>
                                          </p:val>
                                        </p:tav>
                                      </p:tavLst>
                                    </p:anim>
                                    <p:anim calcmode="lin" valueType="num">
                                      <p:cBhvr>
                                        <p:cTn id="80" dur="500" fill="hold"/>
                                        <p:tgtEl>
                                          <p:spTgt spid="1091"/>
                                        </p:tgtEl>
                                        <p:attrNameLst>
                                          <p:attrName>ppt_y</p:attrName>
                                        </p:attrNameLst>
                                      </p:cBhvr>
                                      <p:tavLst>
                                        <p:tav tm="0">
                                          <p:val>
                                            <p:strVal val="#ppt_y+.1"/>
                                          </p:val>
                                        </p:tav>
                                        <p:tav tm="100000">
                                          <p:val>
                                            <p:strVal val="#ppt_y"/>
                                          </p:val>
                                        </p:tav>
                                      </p:tavLst>
                                    </p:anim>
                                  </p:childTnLst>
                                </p:cTn>
                              </p:par>
                            </p:childTnLst>
                          </p:cTn>
                        </p:par>
                        <p:par>
                          <p:cTn id="81" fill="hold">
                            <p:stCondLst>
                              <p:cond delay="2000"/>
                            </p:stCondLst>
                            <p:childTnLst>
                              <p:par>
                                <p:cTn id="82" presetID="42" presetClass="entr" presetSubtype="0" fill="hold" nodeType="afterEffect">
                                  <p:stCondLst>
                                    <p:cond delay="0"/>
                                  </p:stCondLst>
                                  <p:childTnLst>
                                    <p:set>
                                      <p:cBhvr>
                                        <p:cTn id="83" dur="1" fill="hold">
                                          <p:stCondLst>
                                            <p:cond delay="0"/>
                                          </p:stCondLst>
                                        </p:cTn>
                                        <p:tgtEl>
                                          <p:spTgt spid="916"/>
                                        </p:tgtEl>
                                        <p:attrNameLst>
                                          <p:attrName>style.visibility</p:attrName>
                                        </p:attrNameLst>
                                      </p:cBhvr>
                                      <p:to>
                                        <p:strVal val="visible"/>
                                      </p:to>
                                    </p:set>
                                    <p:animEffect transition="in" filter="fade">
                                      <p:cBhvr>
                                        <p:cTn id="84" dur="500"/>
                                        <p:tgtEl>
                                          <p:spTgt spid="916"/>
                                        </p:tgtEl>
                                      </p:cBhvr>
                                    </p:animEffect>
                                    <p:anim calcmode="lin" valueType="num">
                                      <p:cBhvr>
                                        <p:cTn id="85" dur="500" fill="hold"/>
                                        <p:tgtEl>
                                          <p:spTgt spid="916"/>
                                        </p:tgtEl>
                                        <p:attrNameLst>
                                          <p:attrName>ppt_x</p:attrName>
                                        </p:attrNameLst>
                                      </p:cBhvr>
                                      <p:tavLst>
                                        <p:tav tm="0">
                                          <p:val>
                                            <p:strVal val="#ppt_x"/>
                                          </p:val>
                                        </p:tav>
                                        <p:tav tm="100000">
                                          <p:val>
                                            <p:strVal val="#ppt_x"/>
                                          </p:val>
                                        </p:tav>
                                      </p:tavLst>
                                    </p:anim>
                                    <p:anim calcmode="lin" valueType="num">
                                      <p:cBhvr>
                                        <p:cTn id="86" dur="500" fill="hold"/>
                                        <p:tgtEl>
                                          <p:spTgt spid="916"/>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1116"/>
                                        </p:tgtEl>
                                        <p:attrNameLst>
                                          <p:attrName>style.visibility</p:attrName>
                                        </p:attrNameLst>
                                      </p:cBhvr>
                                      <p:to>
                                        <p:strVal val="visible"/>
                                      </p:to>
                                    </p:set>
                                    <p:animEffect transition="in" filter="fade">
                                      <p:cBhvr>
                                        <p:cTn id="89" dur="500"/>
                                        <p:tgtEl>
                                          <p:spTgt spid="1116"/>
                                        </p:tgtEl>
                                      </p:cBhvr>
                                    </p:animEffect>
                                    <p:anim calcmode="lin" valueType="num">
                                      <p:cBhvr>
                                        <p:cTn id="90" dur="500" fill="hold"/>
                                        <p:tgtEl>
                                          <p:spTgt spid="1116"/>
                                        </p:tgtEl>
                                        <p:attrNameLst>
                                          <p:attrName>ppt_x</p:attrName>
                                        </p:attrNameLst>
                                      </p:cBhvr>
                                      <p:tavLst>
                                        <p:tav tm="0">
                                          <p:val>
                                            <p:strVal val="#ppt_x"/>
                                          </p:val>
                                        </p:tav>
                                        <p:tav tm="100000">
                                          <p:val>
                                            <p:strVal val="#ppt_x"/>
                                          </p:val>
                                        </p:tav>
                                      </p:tavLst>
                                    </p:anim>
                                    <p:anim calcmode="lin" valueType="num">
                                      <p:cBhvr>
                                        <p:cTn id="91" dur="500" fill="hold"/>
                                        <p:tgtEl>
                                          <p:spTgt spid="1116"/>
                                        </p:tgtEl>
                                        <p:attrNameLst>
                                          <p:attrName>ppt_y</p:attrName>
                                        </p:attrNameLst>
                                      </p:cBhvr>
                                      <p:tavLst>
                                        <p:tav tm="0">
                                          <p:val>
                                            <p:strVal val="#ppt_y+.1"/>
                                          </p:val>
                                        </p:tav>
                                        <p:tav tm="100000">
                                          <p:val>
                                            <p:strVal val="#ppt_y"/>
                                          </p:val>
                                        </p:tav>
                                      </p:tavLst>
                                    </p:anim>
                                  </p:childTnLst>
                                </p:cTn>
                              </p:par>
                            </p:childTnLst>
                          </p:cTn>
                        </p:par>
                        <p:par>
                          <p:cTn id="92" fill="hold">
                            <p:stCondLst>
                              <p:cond delay="2500"/>
                            </p:stCondLst>
                            <p:childTnLst>
                              <p:par>
                                <p:cTn id="93" presetID="42" presetClass="entr" presetSubtype="0" fill="hold" nodeType="afterEffect">
                                  <p:stCondLst>
                                    <p:cond delay="0"/>
                                  </p:stCondLst>
                                  <p:childTnLst>
                                    <p:set>
                                      <p:cBhvr>
                                        <p:cTn id="94" dur="1" fill="hold">
                                          <p:stCondLst>
                                            <p:cond delay="0"/>
                                          </p:stCondLst>
                                        </p:cTn>
                                        <p:tgtEl>
                                          <p:spTgt spid="941"/>
                                        </p:tgtEl>
                                        <p:attrNameLst>
                                          <p:attrName>style.visibility</p:attrName>
                                        </p:attrNameLst>
                                      </p:cBhvr>
                                      <p:to>
                                        <p:strVal val="visible"/>
                                      </p:to>
                                    </p:set>
                                    <p:animEffect transition="in" filter="fade">
                                      <p:cBhvr>
                                        <p:cTn id="95" dur="500"/>
                                        <p:tgtEl>
                                          <p:spTgt spid="941"/>
                                        </p:tgtEl>
                                      </p:cBhvr>
                                    </p:animEffect>
                                    <p:anim calcmode="lin" valueType="num">
                                      <p:cBhvr>
                                        <p:cTn id="96" dur="500" fill="hold"/>
                                        <p:tgtEl>
                                          <p:spTgt spid="941"/>
                                        </p:tgtEl>
                                        <p:attrNameLst>
                                          <p:attrName>ppt_x</p:attrName>
                                        </p:attrNameLst>
                                      </p:cBhvr>
                                      <p:tavLst>
                                        <p:tav tm="0">
                                          <p:val>
                                            <p:strVal val="#ppt_x"/>
                                          </p:val>
                                        </p:tav>
                                        <p:tav tm="100000">
                                          <p:val>
                                            <p:strVal val="#ppt_x"/>
                                          </p:val>
                                        </p:tav>
                                      </p:tavLst>
                                    </p:anim>
                                    <p:anim calcmode="lin" valueType="num">
                                      <p:cBhvr>
                                        <p:cTn id="97" dur="500" fill="hold"/>
                                        <p:tgtEl>
                                          <p:spTgt spid="941"/>
                                        </p:tgtEl>
                                        <p:attrNameLst>
                                          <p:attrName>ppt_y</p:attrName>
                                        </p:attrNameLst>
                                      </p:cBhvr>
                                      <p:tavLst>
                                        <p:tav tm="0">
                                          <p:val>
                                            <p:strVal val="#ppt_y+.1"/>
                                          </p:val>
                                        </p:tav>
                                        <p:tav tm="100000">
                                          <p:val>
                                            <p:strVal val="#ppt_y"/>
                                          </p:val>
                                        </p:tav>
                                      </p:tavLst>
                                    </p:anim>
                                  </p:childTnLst>
                                </p:cTn>
                              </p:par>
                              <p:par>
                                <p:cTn id="98" presetID="42" presetClass="entr" presetSubtype="0" fill="hold" nodeType="withEffect">
                                  <p:stCondLst>
                                    <p:cond delay="0"/>
                                  </p:stCondLst>
                                  <p:childTnLst>
                                    <p:set>
                                      <p:cBhvr>
                                        <p:cTn id="99" dur="1" fill="hold">
                                          <p:stCondLst>
                                            <p:cond delay="0"/>
                                          </p:stCondLst>
                                        </p:cTn>
                                        <p:tgtEl>
                                          <p:spTgt spid="1141"/>
                                        </p:tgtEl>
                                        <p:attrNameLst>
                                          <p:attrName>style.visibility</p:attrName>
                                        </p:attrNameLst>
                                      </p:cBhvr>
                                      <p:to>
                                        <p:strVal val="visible"/>
                                      </p:to>
                                    </p:set>
                                    <p:animEffect transition="in" filter="fade">
                                      <p:cBhvr>
                                        <p:cTn id="100" dur="500"/>
                                        <p:tgtEl>
                                          <p:spTgt spid="1141"/>
                                        </p:tgtEl>
                                      </p:cBhvr>
                                    </p:animEffect>
                                    <p:anim calcmode="lin" valueType="num">
                                      <p:cBhvr>
                                        <p:cTn id="101" dur="500" fill="hold"/>
                                        <p:tgtEl>
                                          <p:spTgt spid="1141"/>
                                        </p:tgtEl>
                                        <p:attrNameLst>
                                          <p:attrName>ppt_x</p:attrName>
                                        </p:attrNameLst>
                                      </p:cBhvr>
                                      <p:tavLst>
                                        <p:tav tm="0">
                                          <p:val>
                                            <p:strVal val="#ppt_x"/>
                                          </p:val>
                                        </p:tav>
                                        <p:tav tm="100000">
                                          <p:val>
                                            <p:strVal val="#ppt_x"/>
                                          </p:val>
                                        </p:tav>
                                      </p:tavLst>
                                    </p:anim>
                                    <p:anim calcmode="lin" valueType="num">
                                      <p:cBhvr>
                                        <p:cTn id="102" dur="500" fill="hold"/>
                                        <p:tgtEl>
                                          <p:spTgt spid="1141"/>
                                        </p:tgtEl>
                                        <p:attrNameLst>
                                          <p:attrName>ppt_y</p:attrName>
                                        </p:attrNameLst>
                                      </p:cBhvr>
                                      <p:tavLst>
                                        <p:tav tm="0">
                                          <p:val>
                                            <p:strVal val="#ppt_y+.1"/>
                                          </p:val>
                                        </p:tav>
                                        <p:tav tm="100000">
                                          <p:val>
                                            <p:strVal val="#ppt_y"/>
                                          </p:val>
                                        </p:tav>
                                      </p:tavLst>
                                    </p:anim>
                                  </p:childTnLst>
                                </p:cTn>
                              </p:par>
                            </p:childTnLst>
                          </p:cTn>
                        </p:par>
                        <p:par>
                          <p:cTn id="103" fill="hold">
                            <p:stCondLst>
                              <p:cond delay="3000"/>
                            </p:stCondLst>
                            <p:childTnLst>
                              <p:par>
                                <p:cTn id="104" presetID="42" presetClass="entr" presetSubtype="0" fill="hold" nodeType="afterEffect">
                                  <p:stCondLst>
                                    <p:cond delay="0"/>
                                  </p:stCondLst>
                                  <p:childTnLst>
                                    <p:set>
                                      <p:cBhvr>
                                        <p:cTn id="105" dur="1" fill="hold">
                                          <p:stCondLst>
                                            <p:cond delay="0"/>
                                          </p:stCondLst>
                                        </p:cTn>
                                        <p:tgtEl>
                                          <p:spTgt spid="966"/>
                                        </p:tgtEl>
                                        <p:attrNameLst>
                                          <p:attrName>style.visibility</p:attrName>
                                        </p:attrNameLst>
                                      </p:cBhvr>
                                      <p:to>
                                        <p:strVal val="visible"/>
                                      </p:to>
                                    </p:set>
                                    <p:animEffect transition="in" filter="fade">
                                      <p:cBhvr>
                                        <p:cTn id="106" dur="450"/>
                                        <p:tgtEl>
                                          <p:spTgt spid="966"/>
                                        </p:tgtEl>
                                      </p:cBhvr>
                                    </p:animEffect>
                                    <p:anim calcmode="lin" valueType="num">
                                      <p:cBhvr>
                                        <p:cTn id="107" dur="450" fill="hold"/>
                                        <p:tgtEl>
                                          <p:spTgt spid="966"/>
                                        </p:tgtEl>
                                        <p:attrNameLst>
                                          <p:attrName>ppt_x</p:attrName>
                                        </p:attrNameLst>
                                      </p:cBhvr>
                                      <p:tavLst>
                                        <p:tav tm="0">
                                          <p:val>
                                            <p:strVal val="#ppt_x"/>
                                          </p:val>
                                        </p:tav>
                                        <p:tav tm="100000">
                                          <p:val>
                                            <p:strVal val="#ppt_x"/>
                                          </p:val>
                                        </p:tav>
                                      </p:tavLst>
                                    </p:anim>
                                    <p:anim calcmode="lin" valueType="num">
                                      <p:cBhvr>
                                        <p:cTn id="108" dur="450" fill="hold"/>
                                        <p:tgtEl>
                                          <p:spTgt spid="966"/>
                                        </p:tgtEl>
                                        <p:attrNameLst>
                                          <p:attrName>ppt_y</p:attrName>
                                        </p:attrNameLst>
                                      </p:cBhvr>
                                      <p:tavLst>
                                        <p:tav tm="0">
                                          <p:val>
                                            <p:strVal val="#ppt_y+.1"/>
                                          </p:val>
                                        </p:tav>
                                        <p:tav tm="100000">
                                          <p:val>
                                            <p:strVal val="#ppt_y"/>
                                          </p:val>
                                        </p:tav>
                                      </p:tavLst>
                                    </p:anim>
                                  </p:childTnLst>
                                </p:cTn>
                              </p:par>
                              <p:par>
                                <p:cTn id="109" presetID="42" presetClass="entr" presetSubtype="0" fill="hold" nodeType="withEffect">
                                  <p:stCondLst>
                                    <p:cond delay="0"/>
                                  </p:stCondLst>
                                  <p:childTnLst>
                                    <p:set>
                                      <p:cBhvr>
                                        <p:cTn id="110" dur="1" fill="hold">
                                          <p:stCondLst>
                                            <p:cond delay="0"/>
                                          </p:stCondLst>
                                        </p:cTn>
                                        <p:tgtEl>
                                          <p:spTgt spid="1166"/>
                                        </p:tgtEl>
                                        <p:attrNameLst>
                                          <p:attrName>style.visibility</p:attrName>
                                        </p:attrNameLst>
                                      </p:cBhvr>
                                      <p:to>
                                        <p:strVal val="visible"/>
                                      </p:to>
                                    </p:set>
                                    <p:animEffect transition="in" filter="fade">
                                      <p:cBhvr>
                                        <p:cTn id="111" dur="450"/>
                                        <p:tgtEl>
                                          <p:spTgt spid="1166"/>
                                        </p:tgtEl>
                                      </p:cBhvr>
                                    </p:animEffect>
                                    <p:anim calcmode="lin" valueType="num">
                                      <p:cBhvr>
                                        <p:cTn id="112" dur="450" fill="hold"/>
                                        <p:tgtEl>
                                          <p:spTgt spid="1166"/>
                                        </p:tgtEl>
                                        <p:attrNameLst>
                                          <p:attrName>ppt_x</p:attrName>
                                        </p:attrNameLst>
                                      </p:cBhvr>
                                      <p:tavLst>
                                        <p:tav tm="0">
                                          <p:val>
                                            <p:strVal val="#ppt_x"/>
                                          </p:val>
                                        </p:tav>
                                        <p:tav tm="100000">
                                          <p:val>
                                            <p:strVal val="#ppt_x"/>
                                          </p:val>
                                        </p:tav>
                                      </p:tavLst>
                                    </p:anim>
                                    <p:anim calcmode="lin" valueType="num">
                                      <p:cBhvr>
                                        <p:cTn id="113" dur="450" fill="hold"/>
                                        <p:tgtEl>
                                          <p:spTgt spid="1166"/>
                                        </p:tgtEl>
                                        <p:attrNameLst>
                                          <p:attrName>ppt_y</p:attrName>
                                        </p:attrNameLst>
                                      </p:cBhvr>
                                      <p:tavLst>
                                        <p:tav tm="0">
                                          <p:val>
                                            <p:strVal val="#ppt_y+.1"/>
                                          </p:val>
                                        </p:tav>
                                        <p:tav tm="100000">
                                          <p:val>
                                            <p:strVal val="#ppt_y"/>
                                          </p:val>
                                        </p:tav>
                                      </p:tavLst>
                                    </p:anim>
                                  </p:childTnLst>
                                </p:cTn>
                              </p:par>
                            </p:childTnLst>
                          </p:cTn>
                        </p:par>
                        <p:par>
                          <p:cTn id="114" fill="hold">
                            <p:stCondLst>
                              <p:cond delay="3450"/>
                            </p:stCondLst>
                            <p:childTnLst>
                              <p:par>
                                <p:cTn id="115" presetID="42" presetClass="entr" presetSubtype="0" fill="hold" nodeType="afterEffect">
                                  <p:stCondLst>
                                    <p:cond delay="0"/>
                                  </p:stCondLst>
                                  <p:childTnLst>
                                    <p:set>
                                      <p:cBhvr>
                                        <p:cTn id="116" dur="1" fill="hold">
                                          <p:stCondLst>
                                            <p:cond delay="0"/>
                                          </p:stCondLst>
                                        </p:cTn>
                                        <p:tgtEl>
                                          <p:spTgt spid="991"/>
                                        </p:tgtEl>
                                        <p:attrNameLst>
                                          <p:attrName>style.visibility</p:attrName>
                                        </p:attrNameLst>
                                      </p:cBhvr>
                                      <p:to>
                                        <p:strVal val="visible"/>
                                      </p:to>
                                    </p:set>
                                    <p:animEffect transition="in" filter="fade">
                                      <p:cBhvr>
                                        <p:cTn id="117" dur="400"/>
                                        <p:tgtEl>
                                          <p:spTgt spid="991"/>
                                        </p:tgtEl>
                                      </p:cBhvr>
                                    </p:animEffect>
                                    <p:anim calcmode="lin" valueType="num">
                                      <p:cBhvr>
                                        <p:cTn id="118" dur="400" fill="hold"/>
                                        <p:tgtEl>
                                          <p:spTgt spid="991"/>
                                        </p:tgtEl>
                                        <p:attrNameLst>
                                          <p:attrName>ppt_x</p:attrName>
                                        </p:attrNameLst>
                                      </p:cBhvr>
                                      <p:tavLst>
                                        <p:tav tm="0">
                                          <p:val>
                                            <p:strVal val="#ppt_x"/>
                                          </p:val>
                                        </p:tav>
                                        <p:tav tm="100000">
                                          <p:val>
                                            <p:strVal val="#ppt_x"/>
                                          </p:val>
                                        </p:tav>
                                      </p:tavLst>
                                    </p:anim>
                                    <p:anim calcmode="lin" valueType="num">
                                      <p:cBhvr>
                                        <p:cTn id="119" dur="400" fill="hold"/>
                                        <p:tgtEl>
                                          <p:spTgt spid="991"/>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1191"/>
                                        </p:tgtEl>
                                        <p:attrNameLst>
                                          <p:attrName>style.visibility</p:attrName>
                                        </p:attrNameLst>
                                      </p:cBhvr>
                                      <p:to>
                                        <p:strVal val="visible"/>
                                      </p:to>
                                    </p:set>
                                    <p:animEffect transition="in" filter="fade">
                                      <p:cBhvr>
                                        <p:cTn id="122" dur="400"/>
                                        <p:tgtEl>
                                          <p:spTgt spid="1191"/>
                                        </p:tgtEl>
                                      </p:cBhvr>
                                    </p:animEffect>
                                    <p:anim calcmode="lin" valueType="num">
                                      <p:cBhvr>
                                        <p:cTn id="123" dur="400" fill="hold"/>
                                        <p:tgtEl>
                                          <p:spTgt spid="1191"/>
                                        </p:tgtEl>
                                        <p:attrNameLst>
                                          <p:attrName>ppt_x</p:attrName>
                                        </p:attrNameLst>
                                      </p:cBhvr>
                                      <p:tavLst>
                                        <p:tav tm="0">
                                          <p:val>
                                            <p:strVal val="#ppt_x"/>
                                          </p:val>
                                        </p:tav>
                                        <p:tav tm="100000">
                                          <p:val>
                                            <p:strVal val="#ppt_x"/>
                                          </p:val>
                                        </p:tav>
                                      </p:tavLst>
                                    </p:anim>
                                    <p:anim calcmode="lin" valueType="num">
                                      <p:cBhvr>
                                        <p:cTn id="124" dur="400" fill="hold"/>
                                        <p:tgtEl>
                                          <p:spTgt spid="1191"/>
                                        </p:tgtEl>
                                        <p:attrNameLst>
                                          <p:attrName>ppt_y</p:attrName>
                                        </p:attrNameLst>
                                      </p:cBhvr>
                                      <p:tavLst>
                                        <p:tav tm="0">
                                          <p:val>
                                            <p:strVal val="#ppt_y+.1"/>
                                          </p:val>
                                        </p:tav>
                                        <p:tav tm="100000">
                                          <p:val>
                                            <p:strVal val="#ppt_y"/>
                                          </p:val>
                                        </p:tav>
                                      </p:tavLst>
                                    </p:anim>
                                  </p:childTnLst>
                                </p:cTn>
                              </p:par>
                            </p:childTnLst>
                          </p:cTn>
                        </p:par>
                        <p:par>
                          <p:cTn id="125" fill="hold">
                            <p:stCondLst>
                              <p:cond delay="3850"/>
                            </p:stCondLst>
                            <p:childTnLst>
                              <p:par>
                                <p:cTn id="126" presetID="42" presetClass="entr" presetSubtype="0" fill="hold" nodeType="afterEffect">
                                  <p:stCondLst>
                                    <p:cond delay="0"/>
                                  </p:stCondLst>
                                  <p:childTnLst>
                                    <p:set>
                                      <p:cBhvr>
                                        <p:cTn id="127" dur="1" fill="hold">
                                          <p:stCondLst>
                                            <p:cond delay="0"/>
                                          </p:stCondLst>
                                        </p:cTn>
                                        <p:tgtEl>
                                          <p:spTgt spid="1216"/>
                                        </p:tgtEl>
                                        <p:attrNameLst>
                                          <p:attrName>style.visibility</p:attrName>
                                        </p:attrNameLst>
                                      </p:cBhvr>
                                      <p:to>
                                        <p:strVal val="visible"/>
                                      </p:to>
                                    </p:set>
                                    <p:animEffect transition="in" filter="fade">
                                      <p:cBhvr>
                                        <p:cTn id="128" dur="300"/>
                                        <p:tgtEl>
                                          <p:spTgt spid="1216"/>
                                        </p:tgtEl>
                                      </p:cBhvr>
                                    </p:animEffect>
                                    <p:anim calcmode="lin" valueType="num">
                                      <p:cBhvr>
                                        <p:cTn id="129" dur="300" fill="hold"/>
                                        <p:tgtEl>
                                          <p:spTgt spid="1216"/>
                                        </p:tgtEl>
                                        <p:attrNameLst>
                                          <p:attrName>ppt_x</p:attrName>
                                        </p:attrNameLst>
                                      </p:cBhvr>
                                      <p:tavLst>
                                        <p:tav tm="0">
                                          <p:val>
                                            <p:strVal val="#ppt_x"/>
                                          </p:val>
                                        </p:tav>
                                        <p:tav tm="100000">
                                          <p:val>
                                            <p:strVal val="#ppt_x"/>
                                          </p:val>
                                        </p:tav>
                                      </p:tavLst>
                                    </p:anim>
                                    <p:anim calcmode="lin" valueType="num">
                                      <p:cBhvr>
                                        <p:cTn id="130" dur="300" fill="hold"/>
                                        <p:tgtEl>
                                          <p:spTgt spid="1216"/>
                                        </p:tgtEl>
                                        <p:attrNameLst>
                                          <p:attrName>ppt_y</p:attrName>
                                        </p:attrNameLst>
                                      </p:cBhvr>
                                      <p:tavLst>
                                        <p:tav tm="0">
                                          <p:val>
                                            <p:strVal val="#ppt_y+.1"/>
                                          </p:val>
                                        </p:tav>
                                        <p:tav tm="100000">
                                          <p:val>
                                            <p:strVal val="#ppt_y"/>
                                          </p:val>
                                        </p:tav>
                                      </p:tavLst>
                                    </p:anim>
                                  </p:childTnLst>
                                </p:cTn>
                              </p:par>
                            </p:childTnLst>
                          </p:cTn>
                        </p:par>
                        <p:par>
                          <p:cTn id="131" fill="hold">
                            <p:stCondLst>
                              <p:cond delay="4150"/>
                            </p:stCondLst>
                            <p:childTnLst>
                              <p:par>
                                <p:cTn id="132" presetID="42" presetClass="entr" presetSubtype="0" fill="hold" nodeType="afterEffect">
                                  <p:stCondLst>
                                    <p:cond delay="0"/>
                                  </p:stCondLst>
                                  <p:childTnLst>
                                    <p:set>
                                      <p:cBhvr>
                                        <p:cTn id="133" dur="1" fill="hold">
                                          <p:stCondLst>
                                            <p:cond delay="0"/>
                                          </p:stCondLst>
                                        </p:cTn>
                                        <p:tgtEl>
                                          <p:spTgt spid="1241"/>
                                        </p:tgtEl>
                                        <p:attrNameLst>
                                          <p:attrName>style.visibility</p:attrName>
                                        </p:attrNameLst>
                                      </p:cBhvr>
                                      <p:to>
                                        <p:strVal val="visible"/>
                                      </p:to>
                                    </p:set>
                                    <p:animEffect transition="in" filter="fade">
                                      <p:cBhvr>
                                        <p:cTn id="134" dur="250"/>
                                        <p:tgtEl>
                                          <p:spTgt spid="1241"/>
                                        </p:tgtEl>
                                      </p:cBhvr>
                                    </p:animEffect>
                                    <p:anim calcmode="lin" valueType="num">
                                      <p:cBhvr>
                                        <p:cTn id="135" dur="250" fill="hold"/>
                                        <p:tgtEl>
                                          <p:spTgt spid="1241"/>
                                        </p:tgtEl>
                                        <p:attrNameLst>
                                          <p:attrName>ppt_x</p:attrName>
                                        </p:attrNameLst>
                                      </p:cBhvr>
                                      <p:tavLst>
                                        <p:tav tm="0">
                                          <p:val>
                                            <p:strVal val="#ppt_x"/>
                                          </p:val>
                                        </p:tav>
                                        <p:tav tm="100000">
                                          <p:val>
                                            <p:strVal val="#ppt_x"/>
                                          </p:val>
                                        </p:tav>
                                      </p:tavLst>
                                    </p:anim>
                                    <p:anim calcmode="lin" valueType="num">
                                      <p:cBhvr>
                                        <p:cTn id="136" dur="250" fill="hold"/>
                                        <p:tgtEl>
                                          <p:spTgt spid="1241"/>
                                        </p:tgtEl>
                                        <p:attrNameLst>
                                          <p:attrName>ppt_y</p:attrName>
                                        </p:attrNameLst>
                                      </p:cBhvr>
                                      <p:tavLst>
                                        <p:tav tm="0">
                                          <p:val>
                                            <p:strVal val="#ppt_y+.1"/>
                                          </p:val>
                                        </p:tav>
                                        <p:tav tm="100000">
                                          <p:val>
                                            <p:strVal val="#ppt_y"/>
                                          </p:val>
                                        </p:tav>
                                      </p:tavLst>
                                    </p:anim>
                                  </p:childTnLst>
                                </p:cTn>
                              </p:par>
                            </p:childTnLst>
                          </p:cTn>
                        </p:par>
                        <p:par>
                          <p:cTn id="137" fill="hold">
                            <p:stCondLst>
                              <p:cond delay="4400"/>
                            </p:stCondLst>
                            <p:childTnLst>
                              <p:par>
                                <p:cTn id="138" presetID="42" presetClass="entr" presetSubtype="0" fill="hold" nodeType="afterEffect">
                                  <p:stCondLst>
                                    <p:cond delay="0"/>
                                  </p:stCondLst>
                                  <p:childTnLst>
                                    <p:set>
                                      <p:cBhvr>
                                        <p:cTn id="139" dur="1" fill="hold">
                                          <p:stCondLst>
                                            <p:cond delay="0"/>
                                          </p:stCondLst>
                                        </p:cTn>
                                        <p:tgtEl>
                                          <p:spTgt spid="1266"/>
                                        </p:tgtEl>
                                        <p:attrNameLst>
                                          <p:attrName>style.visibility</p:attrName>
                                        </p:attrNameLst>
                                      </p:cBhvr>
                                      <p:to>
                                        <p:strVal val="visible"/>
                                      </p:to>
                                    </p:set>
                                    <p:animEffect transition="in" filter="fade">
                                      <p:cBhvr>
                                        <p:cTn id="140" dur="250"/>
                                        <p:tgtEl>
                                          <p:spTgt spid="1266"/>
                                        </p:tgtEl>
                                      </p:cBhvr>
                                    </p:animEffect>
                                    <p:anim calcmode="lin" valueType="num">
                                      <p:cBhvr>
                                        <p:cTn id="141" dur="250" fill="hold"/>
                                        <p:tgtEl>
                                          <p:spTgt spid="1266"/>
                                        </p:tgtEl>
                                        <p:attrNameLst>
                                          <p:attrName>ppt_x</p:attrName>
                                        </p:attrNameLst>
                                      </p:cBhvr>
                                      <p:tavLst>
                                        <p:tav tm="0">
                                          <p:val>
                                            <p:strVal val="#ppt_x"/>
                                          </p:val>
                                        </p:tav>
                                        <p:tav tm="100000">
                                          <p:val>
                                            <p:strVal val="#ppt_x"/>
                                          </p:val>
                                        </p:tav>
                                      </p:tavLst>
                                    </p:anim>
                                    <p:anim calcmode="lin" valueType="num">
                                      <p:cBhvr>
                                        <p:cTn id="142" dur="250" fill="hold"/>
                                        <p:tgtEl>
                                          <p:spTgt spid="1266"/>
                                        </p:tgtEl>
                                        <p:attrNameLst>
                                          <p:attrName>ppt_y</p:attrName>
                                        </p:attrNameLst>
                                      </p:cBhvr>
                                      <p:tavLst>
                                        <p:tav tm="0">
                                          <p:val>
                                            <p:strVal val="#ppt_y+.1"/>
                                          </p:val>
                                        </p:tav>
                                        <p:tav tm="100000">
                                          <p:val>
                                            <p:strVal val="#ppt_y"/>
                                          </p:val>
                                        </p:tav>
                                      </p:tavLst>
                                    </p:anim>
                                  </p:childTnLst>
                                </p:cTn>
                              </p:par>
                            </p:childTnLst>
                          </p:cTn>
                        </p:par>
                        <p:par>
                          <p:cTn id="143" fill="hold">
                            <p:stCondLst>
                              <p:cond delay="4650"/>
                            </p:stCondLst>
                            <p:childTnLst>
                              <p:par>
                                <p:cTn id="144" presetID="42" presetClass="entr" presetSubtype="0" fill="hold" nodeType="afterEffect">
                                  <p:stCondLst>
                                    <p:cond delay="0"/>
                                  </p:stCondLst>
                                  <p:childTnLst>
                                    <p:set>
                                      <p:cBhvr>
                                        <p:cTn id="145" dur="1" fill="hold">
                                          <p:stCondLst>
                                            <p:cond delay="0"/>
                                          </p:stCondLst>
                                        </p:cTn>
                                        <p:tgtEl>
                                          <p:spTgt spid="1291"/>
                                        </p:tgtEl>
                                        <p:attrNameLst>
                                          <p:attrName>style.visibility</p:attrName>
                                        </p:attrNameLst>
                                      </p:cBhvr>
                                      <p:to>
                                        <p:strVal val="visible"/>
                                      </p:to>
                                    </p:set>
                                    <p:animEffect transition="in" filter="fade">
                                      <p:cBhvr>
                                        <p:cTn id="146" dur="250"/>
                                        <p:tgtEl>
                                          <p:spTgt spid="1291"/>
                                        </p:tgtEl>
                                      </p:cBhvr>
                                    </p:animEffect>
                                    <p:anim calcmode="lin" valueType="num">
                                      <p:cBhvr>
                                        <p:cTn id="147" dur="250" fill="hold"/>
                                        <p:tgtEl>
                                          <p:spTgt spid="1291"/>
                                        </p:tgtEl>
                                        <p:attrNameLst>
                                          <p:attrName>ppt_x</p:attrName>
                                        </p:attrNameLst>
                                      </p:cBhvr>
                                      <p:tavLst>
                                        <p:tav tm="0">
                                          <p:val>
                                            <p:strVal val="#ppt_x"/>
                                          </p:val>
                                        </p:tav>
                                        <p:tav tm="100000">
                                          <p:val>
                                            <p:strVal val="#ppt_x"/>
                                          </p:val>
                                        </p:tav>
                                      </p:tavLst>
                                    </p:anim>
                                    <p:anim calcmode="lin" valueType="num">
                                      <p:cBhvr>
                                        <p:cTn id="148" dur="250" fill="hold"/>
                                        <p:tgtEl>
                                          <p:spTgt spid="1291"/>
                                        </p:tgtEl>
                                        <p:attrNameLst>
                                          <p:attrName>ppt_y</p:attrName>
                                        </p:attrNameLst>
                                      </p:cBhvr>
                                      <p:tavLst>
                                        <p:tav tm="0">
                                          <p:val>
                                            <p:strVal val="#ppt_y+.1"/>
                                          </p:val>
                                        </p:tav>
                                        <p:tav tm="100000">
                                          <p:val>
                                            <p:strVal val="#ppt_y"/>
                                          </p:val>
                                        </p:tav>
                                      </p:tavLst>
                                    </p:anim>
                                  </p:childTnLst>
                                </p:cTn>
                              </p:par>
                            </p:childTnLst>
                          </p:cTn>
                        </p:par>
                        <p:par>
                          <p:cTn id="149" fill="hold">
                            <p:stCondLst>
                              <p:cond delay="4900"/>
                            </p:stCondLst>
                            <p:childTnLst>
                              <p:par>
                                <p:cTn id="150" presetID="42" presetClass="entr" presetSubtype="0" fill="hold" nodeType="afterEffect">
                                  <p:stCondLst>
                                    <p:cond delay="0"/>
                                  </p:stCondLst>
                                  <p:childTnLst>
                                    <p:set>
                                      <p:cBhvr>
                                        <p:cTn id="151" dur="1" fill="hold">
                                          <p:stCondLst>
                                            <p:cond delay="0"/>
                                          </p:stCondLst>
                                        </p:cTn>
                                        <p:tgtEl>
                                          <p:spTgt spid="1316"/>
                                        </p:tgtEl>
                                        <p:attrNameLst>
                                          <p:attrName>style.visibility</p:attrName>
                                        </p:attrNameLst>
                                      </p:cBhvr>
                                      <p:to>
                                        <p:strVal val="visible"/>
                                      </p:to>
                                    </p:set>
                                    <p:animEffect transition="in" filter="fade">
                                      <p:cBhvr>
                                        <p:cTn id="152" dur="250"/>
                                        <p:tgtEl>
                                          <p:spTgt spid="1316"/>
                                        </p:tgtEl>
                                      </p:cBhvr>
                                    </p:animEffect>
                                    <p:anim calcmode="lin" valueType="num">
                                      <p:cBhvr>
                                        <p:cTn id="153" dur="250" fill="hold"/>
                                        <p:tgtEl>
                                          <p:spTgt spid="1316"/>
                                        </p:tgtEl>
                                        <p:attrNameLst>
                                          <p:attrName>ppt_x</p:attrName>
                                        </p:attrNameLst>
                                      </p:cBhvr>
                                      <p:tavLst>
                                        <p:tav tm="0">
                                          <p:val>
                                            <p:strVal val="#ppt_x"/>
                                          </p:val>
                                        </p:tav>
                                        <p:tav tm="100000">
                                          <p:val>
                                            <p:strVal val="#ppt_x"/>
                                          </p:val>
                                        </p:tav>
                                      </p:tavLst>
                                    </p:anim>
                                    <p:anim calcmode="lin" valueType="num">
                                      <p:cBhvr>
                                        <p:cTn id="154" dur="250" fill="hold"/>
                                        <p:tgtEl>
                                          <p:spTgt spid="1316"/>
                                        </p:tgtEl>
                                        <p:attrNameLst>
                                          <p:attrName>ppt_y</p:attrName>
                                        </p:attrNameLst>
                                      </p:cBhvr>
                                      <p:tavLst>
                                        <p:tav tm="0">
                                          <p:val>
                                            <p:strVal val="#ppt_y+.1"/>
                                          </p:val>
                                        </p:tav>
                                        <p:tav tm="100000">
                                          <p:val>
                                            <p:strVal val="#ppt_y"/>
                                          </p:val>
                                        </p:tav>
                                      </p:tavLst>
                                    </p:anim>
                                  </p:childTnLst>
                                </p:cTn>
                              </p:par>
                            </p:childTnLst>
                          </p:cTn>
                        </p:par>
                        <p:par>
                          <p:cTn id="155" fill="hold">
                            <p:stCondLst>
                              <p:cond delay="5150"/>
                            </p:stCondLst>
                            <p:childTnLst>
                              <p:par>
                                <p:cTn id="156" presetID="42" presetClass="entr" presetSubtype="0" fill="hold" nodeType="afterEffect">
                                  <p:stCondLst>
                                    <p:cond delay="0"/>
                                  </p:stCondLst>
                                  <p:childTnLst>
                                    <p:set>
                                      <p:cBhvr>
                                        <p:cTn id="157" dur="1" fill="hold">
                                          <p:stCondLst>
                                            <p:cond delay="0"/>
                                          </p:stCondLst>
                                        </p:cTn>
                                        <p:tgtEl>
                                          <p:spTgt spid="1341"/>
                                        </p:tgtEl>
                                        <p:attrNameLst>
                                          <p:attrName>style.visibility</p:attrName>
                                        </p:attrNameLst>
                                      </p:cBhvr>
                                      <p:to>
                                        <p:strVal val="visible"/>
                                      </p:to>
                                    </p:set>
                                    <p:animEffect transition="in" filter="fade">
                                      <p:cBhvr>
                                        <p:cTn id="158" dur="200"/>
                                        <p:tgtEl>
                                          <p:spTgt spid="1341"/>
                                        </p:tgtEl>
                                      </p:cBhvr>
                                    </p:animEffect>
                                    <p:anim calcmode="lin" valueType="num">
                                      <p:cBhvr>
                                        <p:cTn id="159" dur="200" fill="hold"/>
                                        <p:tgtEl>
                                          <p:spTgt spid="1341"/>
                                        </p:tgtEl>
                                        <p:attrNameLst>
                                          <p:attrName>ppt_x</p:attrName>
                                        </p:attrNameLst>
                                      </p:cBhvr>
                                      <p:tavLst>
                                        <p:tav tm="0">
                                          <p:val>
                                            <p:strVal val="#ppt_x"/>
                                          </p:val>
                                        </p:tav>
                                        <p:tav tm="100000">
                                          <p:val>
                                            <p:strVal val="#ppt_x"/>
                                          </p:val>
                                        </p:tav>
                                      </p:tavLst>
                                    </p:anim>
                                    <p:anim calcmode="lin" valueType="num">
                                      <p:cBhvr>
                                        <p:cTn id="160" dur="200" fill="hold"/>
                                        <p:tgtEl>
                                          <p:spTgt spid="1341"/>
                                        </p:tgtEl>
                                        <p:attrNameLst>
                                          <p:attrName>ppt_y</p:attrName>
                                        </p:attrNameLst>
                                      </p:cBhvr>
                                      <p:tavLst>
                                        <p:tav tm="0">
                                          <p:val>
                                            <p:strVal val="#ppt_y+.1"/>
                                          </p:val>
                                        </p:tav>
                                        <p:tav tm="100000">
                                          <p:val>
                                            <p:strVal val="#ppt_y"/>
                                          </p:val>
                                        </p:tav>
                                      </p:tavLst>
                                    </p:anim>
                                  </p:childTnLst>
                                </p:cTn>
                              </p:par>
                            </p:childTnLst>
                          </p:cTn>
                        </p:par>
                        <p:par>
                          <p:cTn id="161" fill="hold">
                            <p:stCondLst>
                              <p:cond delay="5350"/>
                            </p:stCondLst>
                            <p:childTnLst>
                              <p:par>
                                <p:cTn id="162" presetID="42" presetClass="entr" presetSubtype="0" fill="hold" nodeType="afterEffect">
                                  <p:stCondLst>
                                    <p:cond delay="0"/>
                                  </p:stCondLst>
                                  <p:childTnLst>
                                    <p:set>
                                      <p:cBhvr>
                                        <p:cTn id="163" dur="1" fill="hold">
                                          <p:stCondLst>
                                            <p:cond delay="0"/>
                                          </p:stCondLst>
                                        </p:cTn>
                                        <p:tgtEl>
                                          <p:spTgt spid="1369"/>
                                        </p:tgtEl>
                                        <p:attrNameLst>
                                          <p:attrName>style.visibility</p:attrName>
                                        </p:attrNameLst>
                                      </p:cBhvr>
                                      <p:to>
                                        <p:strVal val="visible"/>
                                      </p:to>
                                    </p:set>
                                    <p:animEffect transition="in" filter="fade">
                                      <p:cBhvr>
                                        <p:cTn id="164" dur="150"/>
                                        <p:tgtEl>
                                          <p:spTgt spid="1369"/>
                                        </p:tgtEl>
                                      </p:cBhvr>
                                    </p:animEffect>
                                    <p:anim calcmode="lin" valueType="num">
                                      <p:cBhvr>
                                        <p:cTn id="165" dur="150" fill="hold"/>
                                        <p:tgtEl>
                                          <p:spTgt spid="1369"/>
                                        </p:tgtEl>
                                        <p:attrNameLst>
                                          <p:attrName>ppt_x</p:attrName>
                                        </p:attrNameLst>
                                      </p:cBhvr>
                                      <p:tavLst>
                                        <p:tav tm="0">
                                          <p:val>
                                            <p:strVal val="#ppt_x"/>
                                          </p:val>
                                        </p:tav>
                                        <p:tav tm="100000">
                                          <p:val>
                                            <p:strVal val="#ppt_x"/>
                                          </p:val>
                                        </p:tav>
                                      </p:tavLst>
                                    </p:anim>
                                    <p:anim calcmode="lin" valueType="num">
                                      <p:cBhvr>
                                        <p:cTn id="166" dur="150" fill="hold"/>
                                        <p:tgtEl>
                                          <p:spTgt spid="13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EF3E0-8C30-48A2-A902-A13F86A78582}"/>
              </a:ext>
            </a:extLst>
          </p:cNvPr>
          <p:cNvSpPr>
            <a:spLocks noGrp="1"/>
          </p:cNvSpPr>
          <p:nvPr>
            <p:ph type="title"/>
          </p:nvPr>
        </p:nvSpPr>
        <p:spPr/>
        <p:txBody>
          <a:bodyPr/>
          <a:lstStyle/>
          <a:p>
            <a:r>
              <a:rPr lang="de-AT" dirty="0"/>
              <a:t>Azure </a:t>
            </a:r>
            <a:r>
              <a:rPr lang="de-AT" dirty="0" err="1"/>
              <a:t>Cosmos</a:t>
            </a:r>
            <a:r>
              <a:rPr lang="de-AT" dirty="0"/>
              <a:t> DB</a:t>
            </a:r>
          </a:p>
        </p:txBody>
      </p:sp>
      <p:sp>
        <p:nvSpPr>
          <p:cNvPr id="3" name="Text Placeholder 2">
            <a:extLst>
              <a:ext uri="{FF2B5EF4-FFF2-40B4-BE49-F238E27FC236}">
                <a16:creationId xmlns:a16="http://schemas.microsoft.com/office/drawing/2014/main" id="{4D73E1FB-122B-4853-BC07-D32E8A8FD852}"/>
              </a:ext>
            </a:extLst>
          </p:cNvPr>
          <p:cNvSpPr>
            <a:spLocks noGrp="1"/>
          </p:cNvSpPr>
          <p:nvPr>
            <p:ph type="body" sz="quarter" idx="25"/>
          </p:nvPr>
        </p:nvSpPr>
        <p:spPr/>
        <p:txBody>
          <a:bodyPr/>
          <a:lstStyle/>
          <a:p>
            <a:endParaRPr lang="de-AT"/>
          </a:p>
        </p:txBody>
      </p:sp>
    </p:spTree>
    <p:extLst>
      <p:ext uri="{BB962C8B-B14F-4D97-AF65-F5344CB8AC3E}">
        <p14:creationId xmlns:p14="http://schemas.microsoft.com/office/powerpoint/2010/main" val="250660278"/>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5492" y="1496786"/>
            <a:ext cx="3807305" cy="2149928"/>
          </a:xfrm>
        </p:spPr>
        <p:txBody>
          <a:bodyPr>
            <a:normAutofit/>
          </a:bodyPr>
          <a:lstStyle/>
          <a:p>
            <a:r>
              <a:rPr lang="en-US" sz="2400" dirty="0"/>
              <a:t>Developing planet-scale apps comes with </a:t>
            </a:r>
            <a:br>
              <a:rPr lang="en-US" sz="2400" dirty="0"/>
            </a:br>
            <a:r>
              <a:rPr lang="en-US" sz="2400" dirty="0"/>
              <a:t>planet-scale challenges</a:t>
            </a:r>
          </a:p>
        </p:txBody>
      </p:sp>
      <p:sp>
        <p:nvSpPr>
          <p:cNvPr id="17" name="Rectangle 16"/>
          <p:cNvSpPr/>
          <p:nvPr/>
        </p:nvSpPr>
        <p:spPr>
          <a:xfrm>
            <a:off x="4947753" y="2237802"/>
            <a:ext cx="4093008" cy="25391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Segoe UI"/>
                <a:ea typeface="Segoe UI Semilight" charset="0"/>
                <a:cs typeface="Segoe UI Semilight" charset="0"/>
              </a:rPr>
              <a:t>Scaling both throughput and storage based on global demand</a:t>
            </a:r>
          </a:p>
        </p:txBody>
      </p:sp>
      <p:sp>
        <p:nvSpPr>
          <p:cNvPr id="18" name="Rectangle 17"/>
          <p:cNvSpPr/>
          <p:nvPr/>
        </p:nvSpPr>
        <p:spPr>
          <a:xfrm>
            <a:off x="4947753" y="3335174"/>
            <a:ext cx="4093009" cy="25391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Segoe UI"/>
                <a:ea typeface="Segoe UI Semilight" charset="0"/>
                <a:cs typeface="Segoe UI Semilight" charset="0"/>
              </a:rPr>
              <a:t>Delivering highly-responsive experiences</a:t>
            </a:r>
          </a:p>
        </p:txBody>
      </p:sp>
      <p:sp>
        <p:nvSpPr>
          <p:cNvPr id="19" name="Rectangle 18"/>
          <p:cNvSpPr/>
          <p:nvPr/>
        </p:nvSpPr>
        <p:spPr>
          <a:xfrm>
            <a:off x="4947753" y="3883861"/>
            <a:ext cx="2301076" cy="25391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Segoe UI"/>
                <a:ea typeface="Segoe UI Semilight" charset="0"/>
                <a:cs typeface="Segoe UI Semilight" charset="0"/>
              </a:rPr>
              <a:t>Ensuring an always-on system</a:t>
            </a:r>
          </a:p>
        </p:txBody>
      </p:sp>
      <p:sp>
        <p:nvSpPr>
          <p:cNvPr id="20" name="Rectangle 19"/>
          <p:cNvSpPr/>
          <p:nvPr/>
        </p:nvSpPr>
        <p:spPr>
          <a:xfrm>
            <a:off x="4947753" y="1140431"/>
            <a:ext cx="4093009" cy="25391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Segoe UI"/>
                <a:ea typeface="Segoe UI Semilight" charset="0"/>
                <a:cs typeface="Segoe UI Semilight" charset="0"/>
              </a:rPr>
              <a:t>Write accurate, globally distributed apps</a:t>
            </a:r>
          </a:p>
        </p:txBody>
      </p:sp>
      <p:sp>
        <p:nvSpPr>
          <p:cNvPr id="21" name="Rectangle 20"/>
          <p:cNvSpPr/>
          <p:nvPr/>
        </p:nvSpPr>
        <p:spPr>
          <a:xfrm>
            <a:off x="4947753" y="1689116"/>
            <a:ext cx="4093009" cy="25391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Segoe UI"/>
                <a:ea typeface="Segoe UI Semilight" charset="0"/>
                <a:cs typeface="Segoe UI Semilight" charset="0"/>
              </a:rPr>
              <a:t>Managing and versioning complex schemas</a:t>
            </a:r>
          </a:p>
        </p:txBody>
      </p:sp>
      <p:sp>
        <p:nvSpPr>
          <p:cNvPr id="22" name="Rectangle 21"/>
          <p:cNvSpPr/>
          <p:nvPr/>
        </p:nvSpPr>
        <p:spPr>
          <a:xfrm>
            <a:off x="4947753" y="2786488"/>
            <a:ext cx="4093009" cy="25391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Segoe UI"/>
                <a:ea typeface="Segoe UI Semilight" charset="0"/>
                <a:cs typeface="Segoe UI Semilight" charset="0"/>
              </a:rPr>
              <a:t>Balancing the needs for strong and eventual consistency</a:t>
            </a:r>
          </a:p>
        </p:txBody>
      </p:sp>
      <p:sp>
        <p:nvSpPr>
          <p:cNvPr id="23" name="Freeform 5"/>
          <p:cNvSpPr>
            <a:spLocks noEditPoints="1"/>
          </p:cNvSpPr>
          <p:nvPr/>
        </p:nvSpPr>
        <p:spPr bwMode="auto">
          <a:xfrm>
            <a:off x="4704733" y="1164412"/>
            <a:ext cx="220898" cy="182870"/>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5"/>
          <p:cNvSpPr>
            <a:spLocks noEditPoints="1"/>
          </p:cNvSpPr>
          <p:nvPr/>
        </p:nvSpPr>
        <p:spPr bwMode="auto">
          <a:xfrm>
            <a:off x="4704733" y="1713097"/>
            <a:ext cx="220898" cy="182870"/>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5"/>
          <p:cNvSpPr>
            <a:spLocks noEditPoints="1"/>
          </p:cNvSpPr>
          <p:nvPr/>
        </p:nvSpPr>
        <p:spPr bwMode="auto">
          <a:xfrm>
            <a:off x="4704733" y="2261783"/>
            <a:ext cx="220898" cy="182870"/>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5"/>
          <p:cNvSpPr>
            <a:spLocks noEditPoints="1"/>
          </p:cNvSpPr>
          <p:nvPr/>
        </p:nvSpPr>
        <p:spPr bwMode="auto">
          <a:xfrm>
            <a:off x="4704732" y="2808273"/>
            <a:ext cx="220898" cy="182870"/>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5"/>
          <p:cNvSpPr>
            <a:spLocks noEditPoints="1"/>
          </p:cNvSpPr>
          <p:nvPr/>
        </p:nvSpPr>
        <p:spPr bwMode="auto">
          <a:xfrm>
            <a:off x="4704731" y="3354763"/>
            <a:ext cx="220898" cy="182870"/>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5"/>
          <p:cNvSpPr>
            <a:spLocks noEditPoints="1"/>
          </p:cNvSpPr>
          <p:nvPr/>
        </p:nvSpPr>
        <p:spPr bwMode="auto">
          <a:xfrm>
            <a:off x="4704398" y="3907842"/>
            <a:ext cx="220898" cy="182870"/>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0894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ECCD09-842B-43E4-AEB1-564338056697}"/>
              </a:ext>
            </a:extLst>
          </p:cNvPr>
          <p:cNvSpPr>
            <a:spLocks noGrp="1"/>
          </p:cNvSpPr>
          <p:nvPr>
            <p:ph type="title"/>
          </p:nvPr>
        </p:nvSpPr>
        <p:spPr/>
        <p:txBody>
          <a:bodyPr/>
          <a:lstStyle/>
          <a:p>
            <a:r>
              <a:rPr lang="de-AT" dirty="0" err="1"/>
              <a:t>Overview</a:t>
            </a:r>
            <a:r>
              <a:rPr lang="de-AT" dirty="0"/>
              <a:t> Azure App Service</a:t>
            </a:r>
          </a:p>
        </p:txBody>
      </p:sp>
      <p:sp>
        <p:nvSpPr>
          <p:cNvPr id="5" name="Content Placeholder 4">
            <a:extLst>
              <a:ext uri="{FF2B5EF4-FFF2-40B4-BE49-F238E27FC236}">
                <a16:creationId xmlns:a16="http://schemas.microsoft.com/office/drawing/2014/main" id="{71D1C6B0-70CB-456B-9C1A-C3EA5FE2F385}"/>
              </a:ext>
            </a:extLst>
          </p:cNvPr>
          <p:cNvSpPr>
            <a:spLocks noGrp="1"/>
          </p:cNvSpPr>
          <p:nvPr>
            <p:ph sz="quarter" idx="12"/>
          </p:nvPr>
        </p:nvSpPr>
        <p:spPr/>
        <p:txBody>
          <a:bodyPr/>
          <a:lstStyle/>
          <a:p>
            <a:r>
              <a:rPr lang="en-US" dirty="0"/>
              <a:t>Hosting web applications, REST APIs, and mobile back ends</a:t>
            </a:r>
          </a:p>
          <a:p>
            <a:pPr lvl="1"/>
            <a:r>
              <a:rPr lang="en-US" dirty="0"/>
              <a:t>HTTP, HTTPS, WebSockets</a:t>
            </a:r>
          </a:p>
          <a:p>
            <a:r>
              <a:rPr lang="en-US" dirty="0"/>
              <a:t>Language- and Platform-agnostic</a:t>
            </a:r>
          </a:p>
          <a:p>
            <a:pPr lvl="1"/>
            <a:r>
              <a:rPr lang="en-US" dirty="0"/>
              <a:t>Windows, Linux</a:t>
            </a:r>
          </a:p>
          <a:p>
            <a:pPr lvl="1"/>
            <a:r>
              <a:rPr lang="en-US" dirty="0"/>
              <a:t>.NET, .NET Core, Node.js, Java etc.</a:t>
            </a:r>
          </a:p>
          <a:p>
            <a:r>
              <a:rPr lang="en-US" dirty="0"/>
              <a:t>PaaS and Serverless</a:t>
            </a:r>
          </a:p>
          <a:p>
            <a:pPr lvl="1"/>
            <a:r>
              <a:rPr lang="en-US" dirty="0"/>
              <a:t>Security, load balancing, autoscaling, and automated management built in</a:t>
            </a:r>
          </a:p>
          <a:p>
            <a:pPr lvl="1"/>
            <a:r>
              <a:rPr lang="en-US" dirty="0">
                <a:hlinkClick r:id="rId2"/>
              </a:rPr>
              <a:t>Azure Functions</a:t>
            </a:r>
            <a:endParaRPr lang="en-US" dirty="0"/>
          </a:p>
          <a:p>
            <a:r>
              <a:rPr lang="en-US" dirty="0"/>
              <a:t>When to use what?</a:t>
            </a:r>
          </a:p>
          <a:p>
            <a:pPr lvl="1"/>
            <a:r>
              <a:rPr lang="de-AT" dirty="0">
                <a:hlinkClick r:id="rId3"/>
              </a:rPr>
              <a:t>https://docs.microsoft.com/en-us/azure/app-service/overview-compare</a:t>
            </a:r>
            <a:endParaRPr lang="de-AT" dirty="0"/>
          </a:p>
        </p:txBody>
      </p:sp>
      <p:sp>
        <p:nvSpPr>
          <p:cNvPr id="6" name="Text Placeholder 5">
            <a:extLst>
              <a:ext uri="{FF2B5EF4-FFF2-40B4-BE49-F238E27FC236}">
                <a16:creationId xmlns:a16="http://schemas.microsoft.com/office/drawing/2014/main" id="{6F4B8A1B-9E8B-46D8-947A-914936FCEF81}"/>
              </a:ext>
            </a:extLst>
          </p:cNvPr>
          <p:cNvSpPr>
            <a:spLocks noGrp="1"/>
          </p:cNvSpPr>
          <p:nvPr>
            <p:ph type="body" sz="quarter" idx="23"/>
          </p:nvPr>
        </p:nvSpPr>
        <p:spPr/>
        <p:txBody>
          <a:bodyPr/>
          <a:lstStyle/>
          <a:p>
            <a:endParaRPr lang="de-AT" dirty="0"/>
          </a:p>
        </p:txBody>
      </p:sp>
    </p:spTree>
    <p:extLst>
      <p:ext uri="{BB962C8B-B14F-4D97-AF65-F5344CB8AC3E}">
        <p14:creationId xmlns:p14="http://schemas.microsoft.com/office/powerpoint/2010/main" val="2746165418"/>
      </p:ext>
    </p:extLst>
  </p:cSld>
  <p:clrMapOvr>
    <a:masterClrMapping/>
  </p:clrMapOvr>
  <p:transition spd="slow">
    <p:push/>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84" name="Freeform: Shape 683"/>
          <p:cNvSpPr/>
          <p:nvPr/>
        </p:nvSpPr>
        <p:spPr>
          <a:xfrm>
            <a:off x="0" y="2811780"/>
            <a:ext cx="9144000" cy="2331721"/>
          </a:xfrm>
          <a:custGeom>
            <a:avLst/>
            <a:gdLst>
              <a:gd name="connsiteX0" fmla="*/ 6096001 w 12192000"/>
              <a:gd name="connsiteY0" fmla="*/ 0 h 3408224"/>
              <a:gd name="connsiteX1" fmla="*/ 12088516 w 12192000"/>
              <a:gd name="connsiteY1" fmla="*/ 3186195 h 3408224"/>
              <a:gd name="connsiteX2" fmla="*/ 12192000 w 12192000"/>
              <a:gd name="connsiteY2" fmla="*/ 3347614 h 3408224"/>
              <a:gd name="connsiteX3" fmla="*/ 12192000 w 12192000"/>
              <a:gd name="connsiteY3" fmla="*/ 3408224 h 3408224"/>
              <a:gd name="connsiteX4" fmla="*/ 0 w 12192000"/>
              <a:gd name="connsiteY4" fmla="*/ 3408224 h 3408224"/>
              <a:gd name="connsiteX5" fmla="*/ 0 w 12192000"/>
              <a:gd name="connsiteY5" fmla="*/ 3347618 h 3408224"/>
              <a:gd name="connsiteX6" fmla="*/ 103486 w 12192000"/>
              <a:gd name="connsiteY6" fmla="*/ 3186195 h 3408224"/>
              <a:gd name="connsiteX7" fmla="*/ 6096001 w 12192000"/>
              <a:gd name="connsiteY7" fmla="*/ 0 h 340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08224">
                <a:moveTo>
                  <a:pt x="6096001" y="0"/>
                </a:moveTo>
                <a:cubicBezTo>
                  <a:pt x="8590508" y="0"/>
                  <a:pt x="10789821" y="1263874"/>
                  <a:pt x="12088516" y="3186195"/>
                </a:cubicBezTo>
                <a:lnTo>
                  <a:pt x="12192000" y="3347614"/>
                </a:lnTo>
                <a:lnTo>
                  <a:pt x="12192000" y="3408224"/>
                </a:lnTo>
                <a:lnTo>
                  <a:pt x="0" y="3408224"/>
                </a:lnTo>
                <a:lnTo>
                  <a:pt x="0" y="3347618"/>
                </a:lnTo>
                <a:lnTo>
                  <a:pt x="103486" y="3186195"/>
                </a:lnTo>
                <a:cubicBezTo>
                  <a:pt x="1402181" y="1263874"/>
                  <a:pt x="3601494" y="0"/>
                  <a:pt x="6096001" y="0"/>
                </a:cubicBezTo>
                <a:close/>
              </a:path>
            </a:pathLst>
          </a:custGeom>
          <a:solidFill>
            <a:srgbClr val="E8F6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idx="4294967295"/>
          </p:nvPr>
        </p:nvSpPr>
        <p:spPr>
          <a:xfrm>
            <a:off x="0" y="945582"/>
            <a:ext cx="9144000" cy="676639"/>
          </a:xfrm>
        </p:spPr>
        <p:txBody>
          <a:bodyPr>
            <a:normAutofit/>
          </a:bodyPr>
          <a:lstStyle/>
          <a:p>
            <a:pPr algn="ctr"/>
            <a:r>
              <a:rPr lang="en-US" sz="3000" dirty="0">
                <a:solidFill>
                  <a:schemeClr val="bg1"/>
                </a:solidFill>
              </a:rPr>
              <a:t>Put your data where your users are </a:t>
            </a:r>
          </a:p>
        </p:txBody>
      </p:sp>
      <p:sp>
        <p:nvSpPr>
          <p:cNvPr id="687" name="Freeform: Shape 686"/>
          <p:cNvSpPr/>
          <p:nvPr/>
        </p:nvSpPr>
        <p:spPr>
          <a:xfrm>
            <a:off x="707766" y="2819771"/>
            <a:ext cx="8099443" cy="2323728"/>
          </a:xfrm>
          <a:custGeom>
            <a:avLst/>
            <a:gdLst>
              <a:gd name="connsiteX0" fmla="*/ 10721519 w 10799257"/>
              <a:gd name="connsiteY0" fmla="*/ 3066700 h 3098304"/>
              <a:gd name="connsiteX1" fmla="*/ 10776487 w 10799257"/>
              <a:gd name="connsiteY1" fmla="*/ 3089469 h 3098304"/>
              <a:gd name="connsiteX2" fmla="*/ 10782444 w 10799257"/>
              <a:gd name="connsiteY2" fmla="*/ 3098304 h 3098304"/>
              <a:gd name="connsiteX3" fmla="*/ 10660594 w 10799257"/>
              <a:gd name="connsiteY3" fmla="*/ 3098304 h 3098304"/>
              <a:gd name="connsiteX4" fmla="*/ 10666551 w 10799257"/>
              <a:gd name="connsiteY4" fmla="*/ 3089469 h 3098304"/>
              <a:gd name="connsiteX5" fmla="*/ 10721519 w 10799257"/>
              <a:gd name="connsiteY5" fmla="*/ 3066700 h 3098304"/>
              <a:gd name="connsiteX6" fmla="*/ 10538003 w 10799257"/>
              <a:gd name="connsiteY6" fmla="*/ 3066700 h 3098304"/>
              <a:gd name="connsiteX7" fmla="*/ 10592971 w 10799257"/>
              <a:gd name="connsiteY7" fmla="*/ 3089469 h 3098304"/>
              <a:gd name="connsiteX8" fmla="*/ 10598928 w 10799257"/>
              <a:gd name="connsiteY8" fmla="*/ 3098304 h 3098304"/>
              <a:gd name="connsiteX9" fmla="*/ 10477078 w 10799257"/>
              <a:gd name="connsiteY9" fmla="*/ 3098304 h 3098304"/>
              <a:gd name="connsiteX10" fmla="*/ 10483035 w 10799257"/>
              <a:gd name="connsiteY10" fmla="*/ 3089469 h 3098304"/>
              <a:gd name="connsiteX11" fmla="*/ 10538003 w 10799257"/>
              <a:gd name="connsiteY11" fmla="*/ 3066700 h 3098304"/>
              <a:gd name="connsiteX12" fmla="*/ 9978043 w 10799257"/>
              <a:gd name="connsiteY12" fmla="*/ 3066700 h 3098304"/>
              <a:gd name="connsiteX13" fmla="*/ 10033011 w 10799257"/>
              <a:gd name="connsiteY13" fmla="*/ 3089469 h 3098304"/>
              <a:gd name="connsiteX14" fmla="*/ 10038968 w 10799257"/>
              <a:gd name="connsiteY14" fmla="*/ 3098304 h 3098304"/>
              <a:gd name="connsiteX15" fmla="*/ 9917118 w 10799257"/>
              <a:gd name="connsiteY15" fmla="*/ 3098304 h 3098304"/>
              <a:gd name="connsiteX16" fmla="*/ 9923075 w 10799257"/>
              <a:gd name="connsiteY16" fmla="*/ 3089469 h 3098304"/>
              <a:gd name="connsiteX17" fmla="*/ 9978043 w 10799257"/>
              <a:gd name="connsiteY17" fmla="*/ 3066700 h 3098304"/>
              <a:gd name="connsiteX18" fmla="*/ 9789822 w 10799257"/>
              <a:gd name="connsiteY18" fmla="*/ 3066700 h 3098304"/>
              <a:gd name="connsiteX19" fmla="*/ 9844790 w 10799257"/>
              <a:gd name="connsiteY19" fmla="*/ 3089469 h 3098304"/>
              <a:gd name="connsiteX20" fmla="*/ 9850746 w 10799257"/>
              <a:gd name="connsiteY20" fmla="*/ 3098304 h 3098304"/>
              <a:gd name="connsiteX21" fmla="*/ 9728897 w 10799257"/>
              <a:gd name="connsiteY21" fmla="*/ 3098304 h 3098304"/>
              <a:gd name="connsiteX22" fmla="*/ 9734854 w 10799257"/>
              <a:gd name="connsiteY22" fmla="*/ 3089469 h 3098304"/>
              <a:gd name="connsiteX23" fmla="*/ 9789822 w 10799257"/>
              <a:gd name="connsiteY23" fmla="*/ 3066700 h 3098304"/>
              <a:gd name="connsiteX24" fmla="*/ 9606306 w 10799257"/>
              <a:gd name="connsiteY24" fmla="*/ 3066700 h 3098304"/>
              <a:gd name="connsiteX25" fmla="*/ 9661274 w 10799257"/>
              <a:gd name="connsiteY25" fmla="*/ 3089469 h 3098304"/>
              <a:gd name="connsiteX26" fmla="*/ 9667231 w 10799257"/>
              <a:gd name="connsiteY26" fmla="*/ 3098304 h 3098304"/>
              <a:gd name="connsiteX27" fmla="*/ 9545381 w 10799257"/>
              <a:gd name="connsiteY27" fmla="*/ 3098304 h 3098304"/>
              <a:gd name="connsiteX28" fmla="*/ 9551338 w 10799257"/>
              <a:gd name="connsiteY28" fmla="*/ 3089469 h 3098304"/>
              <a:gd name="connsiteX29" fmla="*/ 9606306 w 10799257"/>
              <a:gd name="connsiteY29" fmla="*/ 3066700 h 3098304"/>
              <a:gd name="connsiteX30" fmla="*/ 9413378 w 10799257"/>
              <a:gd name="connsiteY30" fmla="*/ 3066700 h 3098304"/>
              <a:gd name="connsiteX31" fmla="*/ 9468346 w 10799257"/>
              <a:gd name="connsiteY31" fmla="*/ 3089469 h 3098304"/>
              <a:gd name="connsiteX32" fmla="*/ 9474303 w 10799257"/>
              <a:gd name="connsiteY32" fmla="*/ 3098304 h 3098304"/>
              <a:gd name="connsiteX33" fmla="*/ 9352453 w 10799257"/>
              <a:gd name="connsiteY33" fmla="*/ 3098304 h 3098304"/>
              <a:gd name="connsiteX34" fmla="*/ 9358410 w 10799257"/>
              <a:gd name="connsiteY34" fmla="*/ 3089469 h 3098304"/>
              <a:gd name="connsiteX35" fmla="*/ 9413378 w 10799257"/>
              <a:gd name="connsiteY35" fmla="*/ 3066700 h 3098304"/>
              <a:gd name="connsiteX36" fmla="*/ 9234567 w 10799257"/>
              <a:gd name="connsiteY36" fmla="*/ 3066700 h 3098304"/>
              <a:gd name="connsiteX37" fmla="*/ 9289535 w 10799257"/>
              <a:gd name="connsiteY37" fmla="*/ 3089469 h 3098304"/>
              <a:gd name="connsiteX38" fmla="*/ 9295492 w 10799257"/>
              <a:gd name="connsiteY38" fmla="*/ 3098304 h 3098304"/>
              <a:gd name="connsiteX39" fmla="*/ 9173643 w 10799257"/>
              <a:gd name="connsiteY39" fmla="*/ 3098304 h 3098304"/>
              <a:gd name="connsiteX40" fmla="*/ 9179599 w 10799257"/>
              <a:gd name="connsiteY40" fmla="*/ 3089469 h 3098304"/>
              <a:gd name="connsiteX41" fmla="*/ 9234567 w 10799257"/>
              <a:gd name="connsiteY41" fmla="*/ 3066700 h 3098304"/>
              <a:gd name="connsiteX42" fmla="*/ 9036936 w 10799257"/>
              <a:gd name="connsiteY42" fmla="*/ 3066700 h 3098304"/>
              <a:gd name="connsiteX43" fmla="*/ 9091904 w 10799257"/>
              <a:gd name="connsiteY43" fmla="*/ 3089469 h 3098304"/>
              <a:gd name="connsiteX44" fmla="*/ 9097861 w 10799257"/>
              <a:gd name="connsiteY44" fmla="*/ 3098304 h 3098304"/>
              <a:gd name="connsiteX45" fmla="*/ 8976011 w 10799257"/>
              <a:gd name="connsiteY45" fmla="*/ 3098304 h 3098304"/>
              <a:gd name="connsiteX46" fmla="*/ 8981968 w 10799257"/>
              <a:gd name="connsiteY46" fmla="*/ 3089469 h 3098304"/>
              <a:gd name="connsiteX47" fmla="*/ 9036936 w 10799257"/>
              <a:gd name="connsiteY47" fmla="*/ 3066700 h 3098304"/>
              <a:gd name="connsiteX48" fmla="*/ 8853419 w 10799257"/>
              <a:gd name="connsiteY48" fmla="*/ 3066700 h 3098304"/>
              <a:gd name="connsiteX49" fmla="*/ 8908387 w 10799257"/>
              <a:gd name="connsiteY49" fmla="*/ 3089469 h 3098304"/>
              <a:gd name="connsiteX50" fmla="*/ 8914344 w 10799257"/>
              <a:gd name="connsiteY50" fmla="*/ 3098304 h 3098304"/>
              <a:gd name="connsiteX51" fmla="*/ 8792494 w 10799257"/>
              <a:gd name="connsiteY51" fmla="*/ 3098304 h 3098304"/>
              <a:gd name="connsiteX52" fmla="*/ 8798451 w 10799257"/>
              <a:gd name="connsiteY52" fmla="*/ 3089469 h 3098304"/>
              <a:gd name="connsiteX53" fmla="*/ 8853419 w 10799257"/>
              <a:gd name="connsiteY53" fmla="*/ 3066700 h 3098304"/>
              <a:gd name="connsiteX54" fmla="*/ 8669907 w 10799257"/>
              <a:gd name="connsiteY54" fmla="*/ 3066700 h 3098304"/>
              <a:gd name="connsiteX55" fmla="*/ 8724875 w 10799257"/>
              <a:gd name="connsiteY55" fmla="*/ 3089469 h 3098304"/>
              <a:gd name="connsiteX56" fmla="*/ 8730832 w 10799257"/>
              <a:gd name="connsiteY56" fmla="*/ 3098304 h 3098304"/>
              <a:gd name="connsiteX57" fmla="*/ 8608982 w 10799257"/>
              <a:gd name="connsiteY57" fmla="*/ 3098304 h 3098304"/>
              <a:gd name="connsiteX58" fmla="*/ 8614939 w 10799257"/>
              <a:gd name="connsiteY58" fmla="*/ 3089469 h 3098304"/>
              <a:gd name="connsiteX59" fmla="*/ 8669907 w 10799257"/>
              <a:gd name="connsiteY59" fmla="*/ 3066700 h 3098304"/>
              <a:gd name="connsiteX60" fmla="*/ 8481683 w 10799257"/>
              <a:gd name="connsiteY60" fmla="*/ 3066700 h 3098304"/>
              <a:gd name="connsiteX61" fmla="*/ 8536651 w 10799257"/>
              <a:gd name="connsiteY61" fmla="*/ 3089469 h 3098304"/>
              <a:gd name="connsiteX62" fmla="*/ 8542608 w 10799257"/>
              <a:gd name="connsiteY62" fmla="*/ 3098304 h 3098304"/>
              <a:gd name="connsiteX63" fmla="*/ 8420758 w 10799257"/>
              <a:gd name="connsiteY63" fmla="*/ 3098304 h 3098304"/>
              <a:gd name="connsiteX64" fmla="*/ 8426715 w 10799257"/>
              <a:gd name="connsiteY64" fmla="*/ 3089469 h 3098304"/>
              <a:gd name="connsiteX65" fmla="*/ 8481683 w 10799257"/>
              <a:gd name="connsiteY65" fmla="*/ 3066700 h 3098304"/>
              <a:gd name="connsiteX66" fmla="*/ 8298167 w 10799257"/>
              <a:gd name="connsiteY66" fmla="*/ 3066700 h 3098304"/>
              <a:gd name="connsiteX67" fmla="*/ 8353135 w 10799257"/>
              <a:gd name="connsiteY67" fmla="*/ 3089469 h 3098304"/>
              <a:gd name="connsiteX68" fmla="*/ 8359092 w 10799257"/>
              <a:gd name="connsiteY68" fmla="*/ 3098304 h 3098304"/>
              <a:gd name="connsiteX69" fmla="*/ 8237242 w 10799257"/>
              <a:gd name="connsiteY69" fmla="*/ 3098304 h 3098304"/>
              <a:gd name="connsiteX70" fmla="*/ 8243199 w 10799257"/>
              <a:gd name="connsiteY70" fmla="*/ 3089469 h 3098304"/>
              <a:gd name="connsiteX71" fmla="*/ 8298167 w 10799257"/>
              <a:gd name="connsiteY71" fmla="*/ 3066700 h 3098304"/>
              <a:gd name="connsiteX72" fmla="*/ 8109949 w 10799257"/>
              <a:gd name="connsiteY72" fmla="*/ 3066700 h 3098304"/>
              <a:gd name="connsiteX73" fmla="*/ 8164917 w 10799257"/>
              <a:gd name="connsiteY73" fmla="*/ 3089469 h 3098304"/>
              <a:gd name="connsiteX74" fmla="*/ 8170874 w 10799257"/>
              <a:gd name="connsiteY74" fmla="*/ 3098304 h 3098304"/>
              <a:gd name="connsiteX75" fmla="*/ 8049024 w 10799257"/>
              <a:gd name="connsiteY75" fmla="*/ 3098304 h 3098304"/>
              <a:gd name="connsiteX76" fmla="*/ 8054981 w 10799257"/>
              <a:gd name="connsiteY76" fmla="*/ 3089469 h 3098304"/>
              <a:gd name="connsiteX77" fmla="*/ 8109949 w 10799257"/>
              <a:gd name="connsiteY77" fmla="*/ 3066700 h 3098304"/>
              <a:gd name="connsiteX78" fmla="*/ 7926432 w 10799257"/>
              <a:gd name="connsiteY78" fmla="*/ 3066700 h 3098304"/>
              <a:gd name="connsiteX79" fmla="*/ 7981400 w 10799257"/>
              <a:gd name="connsiteY79" fmla="*/ 3089469 h 3098304"/>
              <a:gd name="connsiteX80" fmla="*/ 7987357 w 10799257"/>
              <a:gd name="connsiteY80" fmla="*/ 3098304 h 3098304"/>
              <a:gd name="connsiteX81" fmla="*/ 7865507 w 10799257"/>
              <a:gd name="connsiteY81" fmla="*/ 3098304 h 3098304"/>
              <a:gd name="connsiteX82" fmla="*/ 7871464 w 10799257"/>
              <a:gd name="connsiteY82" fmla="*/ 3089469 h 3098304"/>
              <a:gd name="connsiteX83" fmla="*/ 7926432 w 10799257"/>
              <a:gd name="connsiteY83" fmla="*/ 3066700 h 3098304"/>
              <a:gd name="connsiteX84" fmla="*/ 7738211 w 10799257"/>
              <a:gd name="connsiteY84" fmla="*/ 3066700 h 3098304"/>
              <a:gd name="connsiteX85" fmla="*/ 7793179 w 10799257"/>
              <a:gd name="connsiteY85" fmla="*/ 3089469 h 3098304"/>
              <a:gd name="connsiteX86" fmla="*/ 7799135 w 10799257"/>
              <a:gd name="connsiteY86" fmla="*/ 3098304 h 3098304"/>
              <a:gd name="connsiteX87" fmla="*/ 7677286 w 10799257"/>
              <a:gd name="connsiteY87" fmla="*/ 3098304 h 3098304"/>
              <a:gd name="connsiteX88" fmla="*/ 7683243 w 10799257"/>
              <a:gd name="connsiteY88" fmla="*/ 3089469 h 3098304"/>
              <a:gd name="connsiteX89" fmla="*/ 7738211 w 10799257"/>
              <a:gd name="connsiteY89" fmla="*/ 3066700 h 3098304"/>
              <a:gd name="connsiteX90" fmla="*/ 7554693 w 10799257"/>
              <a:gd name="connsiteY90" fmla="*/ 3066700 h 3098304"/>
              <a:gd name="connsiteX91" fmla="*/ 7609661 w 10799257"/>
              <a:gd name="connsiteY91" fmla="*/ 3089469 h 3098304"/>
              <a:gd name="connsiteX92" fmla="*/ 7615618 w 10799257"/>
              <a:gd name="connsiteY92" fmla="*/ 3098304 h 3098304"/>
              <a:gd name="connsiteX93" fmla="*/ 7493769 w 10799257"/>
              <a:gd name="connsiteY93" fmla="*/ 3098304 h 3098304"/>
              <a:gd name="connsiteX94" fmla="*/ 7499725 w 10799257"/>
              <a:gd name="connsiteY94" fmla="*/ 3089469 h 3098304"/>
              <a:gd name="connsiteX95" fmla="*/ 7554693 w 10799257"/>
              <a:gd name="connsiteY95" fmla="*/ 3066700 h 3098304"/>
              <a:gd name="connsiteX96" fmla="*/ 7366472 w 10799257"/>
              <a:gd name="connsiteY96" fmla="*/ 3066700 h 3098304"/>
              <a:gd name="connsiteX97" fmla="*/ 7421441 w 10799257"/>
              <a:gd name="connsiteY97" fmla="*/ 3089469 h 3098304"/>
              <a:gd name="connsiteX98" fmla="*/ 7427397 w 10799257"/>
              <a:gd name="connsiteY98" fmla="*/ 3098304 h 3098304"/>
              <a:gd name="connsiteX99" fmla="*/ 7305548 w 10799257"/>
              <a:gd name="connsiteY99" fmla="*/ 3098304 h 3098304"/>
              <a:gd name="connsiteX100" fmla="*/ 7311505 w 10799257"/>
              <a:gd name="connsiteY100" fmla="*/ 3089469 h 3098304"/>
              <a:gd name="connsiteX101" fmla="*/ 7366472 w 10799257"/>
              <a:gd name="connsiteY101" fmla="*/ 3066700 h 3098304"/>
              <a:gd name="connsiteX102" fmla="*/ 7178251 w 10799257"/>
              <a:gd name="connsiteY102" fmla="*/ 3066700 h 3098304"/>
              <a:gd name="connsiteX103" fmla="*/ 7233220 w 10799257"/>
              <a:gd name="connsiteY103" fmla="*/ 3089469 h 3098304"/>
              <a:gd name="connsiteX104" fmla="*/ 7239176 w 10799257"/>
              <a:gd name="connsiteY104" fmla="*/ 3098304 h 3098304"/>
              <a:gd name="connsiteX105" fmla="*/ 7117326 w 10799257"/>
              <a:gd name="connsiteY105" fmla="*/ 3098304 h 3098304"/>
              <a:gd name="connsiteX106" fmla="*/ 7123283 w 10799257"/>
              <a:gd name="connsiteY106" fmla="*/ 3089469 h 3098304"/>
              <a:gd name="connsiteX107" fmla="*/ 7178251 w 10799257"/>
              <a:gd name="connsiteY107" fmla="*/ 3066700 h 3098304"/>
              <a:gd name="connsiteX108" fmla="*/ 6985327 w 10799257"/>
              <a:gd name="connsiteY108" fmla="*/ 3066700 h 3098304"/>
              <a:gd name="connsiteX109" fmla="*/ 7040295 w 10799257"/>
              <a:gd name="connsiteY109" fmla="*/ 3089469 h 3098304"/>
              <a:gd name="connsiteX110" fmla="*/ 7046252 w 10799257"/>
              <a:gd name="connsiteY110" fmla="*/ 3098304 h 3098304"/>
              <a:gd name="connsiteX111" fmla="*/ 6924402 w 10799257"/>
              <a:gd name="connsiteY111" fmla="*/ 3098304 h 3098304"/>
              <a:gd name="connsiteX112" fmla="*/ 6930358 w 10799257"/>
              <a:gd name="connsiteY112" fmla="*/ 3089469 h 3098304"/>
              <a:gd name="connsiteX113" fmla="*/ 6985327 w 10799257"/>
              <a:gd name="connsiteY113" fmla="*/ 3066700 h 3098304"/>
              <a:gd name="connsiteX114" fmla="*/ 6801807 w 10799257"/>
              <a:gd name="connsiteY114" fmla="*/ 3066700 h 3098304"/>
              <a:gd name="connsiteX115" fmla="*/ 6856775 w 10799257"/>
              <a:gd name="connsiteY115" fmla="*/ 3089469 h 3098304"/>
              <a:gd name="connsiteX116" fmla="*/ 6862732 w 10799257"/>
              <a:gd name="connsiteY116" fmla="*/ 3098304 h 3098304"/>
              <a:gd name="connsiteX117" fmla="*/ 6740882 w 10799257"/>
              <a:gd name="connsiteY117" fmla="*/ 3098304 h 3098304"/>
              <a:gd name="connsiteX118" fmla="*/ 6746839 w 10799257"/>
              <a:gd name="connsiteY118" fmla="*/ 3089469 h 3098304"/>
              <a:gd name="connsiteX119" fmla="*/ 6801807 w 10799257"/>
              <a:gd name="connsiteY119" fmla="*/ 3066700 h 3098304"/>
              <a:gd name="connsiteX120" fmla="*/ 5681918 w 10799257"/>
              <a:gd name="connsiteY120" fmla="*/ 3066700 h 3098304"/>
              <a:gd name="connsiteX121" fmla="*/ 5736863 w 10799257"/>
              <a:gd name="connsiteY121" fmla="*/ 3089469 h 3098304"/>
              <a:gd name="connsiteX122" fmla="*/ 5742818 w 10799257"/>
              <a:gd name="connsiteY122" fmla="*/ 3098304 h 3098304"/>
              <a:gd name="connsiteX123" fmla="*/ 5620982 w 10799257"/>
              <a:gd name="connsiteY123" fmla="*/ 3098304 h 3098304"/>
              <a:gd name="connsiteX124" fmla="*/ 5626940 w 10799257"/>
              <a:gd name="connsiteY124" fmla="*/ 3089469 h 3098304"/>
              <a:gd name="connsiteX125" fmla="*/ 5681918 w 10799257"/>
              <a:gd name="connsiteY125" fmla="*/ 3066700 h 3098304"/>
              <a:gd name="connsiteX126" fmla="*/ 5498376 w 10799257"/>
              <a:gd name="connsiteY126" fmla="*/ 3066700 h 3098304"/>
              <a:gd name="connsiteX127" fmla="*/ 5553349 w 10799257"/>
              <a:gd name="connsiteY127" fmla="*/ 3089469 h 3098304"/>
              <a:gd name="connsiteX128" fmla="*/ 5559307 w 10799257"/>
              <a:gd name="connsiteY128" fmla="*/ 3098304 h 3098304"/>
              <a:gd name="connsiteX129" fmla="*/ 5437452 w 10799257"/>
              <a:gd name="connsiteY129" fmla="*/ 3098304 h 3098304"/>
              <a:gd name="connsiteX130" fmla="*/ 5443409 w 10799257"/>
              <a:gd name="connsiteY130" fmla="*/ 3089469 h 3098304"/>
              <a:gd name="connsiteX131" fmla="*/ 5498376 w 10799257"/>
              <a:gd name="connsiteY131" fmla="*/ 3066700 h 3098304"/>
              <a:gd name="connsiteX132" fmla="*/ 5310161 w 10799257"/>
              <a:gd name="connsiteY132" fmla="*/ 3066700 h 3098304"/>
              <a:gd name="connsiteX133" fmla="*/ 5365128 w 10799257"/>
              <a:gd name="connsiteY133" fmla="*/ 3089469 h 3098304"/>
              <a:gd name="connsiteX134" fmla="*/ 5371085 w 10799257"/>
              <a:gd name="connsiteY134" fmla="*/ 3098304 h 3098304"/>
              <a:gd name="connsiteX135" fmla="*/ 5249241 w 10799257"/>
              <a:gd name="connsiteY135" fmla="*/ 3098304 h 3098304"/>
              <a:gd name="connsiteX136" fmla="*/ 5255197 w 10799257"/>
              <a:gd name="connsiteY136" fmla="*/ 3089469 h 3098304"/>
              <a:gd name="connsiteX137" fmla="*/ 5310161 w 10799257"/>
              <a:gd name="connsiteY137" fmla="*/ 3066700 h 3098304"/>
              <a:gd name="connsiteX138" fmla="*/ 5126649 w 10799257"/>
              <a:gd name="connsiteY138" fmla="*/ 3066700 h 3098304"/>
              <a:gd name="connsiteX139" fmla="*/ 5181620 w 10799257"/>
              <a:gd name="connsiteY139" fmla="*/ 3089469 h 3098304"/>
              <a:gd name="connsiteX140" fmla="*/ 5187576 w 10799257"/>
              <a:gd name="connsiteY140" fmla="*/ 3098304 h 3098304"/>
              <a:gd name="connsiteX141" fmla="*/ 5065733 w 10799257"/>
              <a:gd name="connsiteY141" fmla="*/ 3098304 h 3098304"/>
              <a:gd name="connsiteX142" fmla="*/ 5071690 w 10799257"/>
              <a:gd name="connsiteY142" fmla="*/ 3089469 h 3098304"/>
              <a:gd name="connsiteX143" fmla="*/ 5126649 w 10799257"/>
              <a:gd name="connsiteY143" fmla="*/ 3066700 h 3098304"/>
              <a:gd name="connsiteX144" fmla="*/ 2129305 w 10799257"/>
              <a:gd name="connsiteY144" fmla="*/ 3066700 h 3098304"/>
              <a:gd name="connsiteX145" fmla="*/ 2184268 w 10799257"/>
              <a:gd name="connsiteY145" fmla="*/ 3089469 h 3098304"/>
              <a:gd name="connsiteX146" fmla="*/ 2190224 w 10799257"/>
              <a:gd name="connsiteY146" fmla="*/ 3098304 h 3098304"/>
              <a:gd name="connsiteX147" fmla="*/ 2068384 w 10799257"/>
              <a:gd name="connsiteY147" fmla="*/ 3098304 h 3098304"/>
              <a:gd name="connsiteX148" fmla="*/ 2074340 w 10799257"/>
              <a:gd name="connsiteY148" fmla="*/ 3089469 h 3098304"/>
              <a:gd name="connsiteX149" fmla="*/ 2129305 w 10799257"/>
              <a:gd name="connsiteY149" fmla="*/ 3066700 h 3098304"/>
              <a:gd name="connsiteX150" fmla="*/ 1941099 w 10799257"/>
              <a:gd name="connsiteY150" fmla="*/ 3066700 h 3098304"/>
              <a:gd name="connsiteX151" fmla="*/ 1996064 w 10799257"/>
              <a:gd name="connsiteY151" fmla="*/ 3089469 h 3098304"/>
              <a:gd name="connsiteX152" fmla="*/ 2002020 w 10799257"/>
              <a:gd name="connsiteY152" fmla="*/ 3098304 h 3098304"/>
              <a:gd name="connsiteX153" fmla="*/ 1880181 w 10799257"/>
              <a:gd name="connsiteY153" fmla="*/ 3098304 h 3098304"/>
              <a:gd name="connsiteX154" fmla="*/ 1886137 w 10799257"/>
              <a:gd name="connsiteY154" fmla="*/ 3089469 h 3098304"/>
              <a:gd name="connsiteX155" fmla="*/ 1941099 w 10799257"/>
              <a:gd name="connsiteY155" fmla="*/ 3066700 h 3098304"/>
              <a:gd name="connsiteX156" fmla="*/ 1757600 w 10799257"/>
              <a:gd name="connsiteY156" fmla="*/ 3066700 h 3098304"/>
              <a:gd name="connsiteX157" fmla="*/ 1812565 w 10799257"/>
              <a:gd name="connsiteY157" fmla="*/ 3089469 h 3098304"/>
              <a:gd name="connsiteX158" fmla="*/ 1818521 w 10799257"/>
              <a:gd name="connsiteY158" fmla="*/ 3098304 h 3098304"/>
              <a:gd name="connsiteX159" fmla="*/ 1696678 w 10799257"/>
              <a:gd name="connsiteY159" fmla="*/ 3098304 h 3098304"/>
              <a:gd name="connsiteX160" fmla="*/ 1702633 w 10799257"/>
              <a:gd name="connsiteY160" fmla="*/ 3089469 h 3098304"/>
              <a:gd name="connsiteX161" fmla="*/ 1757600 w 10799257"/>
              <a:gd name="connsiteY161" fmla="*/ 3066700 h 3098304"/>
              <a:gd name="connsiteX162" fmla="*/ 1569376 w 10799257"/>
              <a:gd name="connsiteY162" fmla="*/ 3066700 h 3098304"/>
              <a:gd name="connsiteX163" fmla="*/ 1624355 w 10799257"/>
              <a:gd name="connsiteY163" fmla="*/ 3089469 h 3098304"/>
              <a:gd name="connsiteX164" fmla="*/ 1630311 w 10799257"/>
              <a:gd name="connsiteY164" fmla="*/ 3098304 h 3098304"/>
              <a:gd name="connsiteX165" fmla="*/ 1508459 w 10799257"/>
              <a:gd name="connsiteY165" fmla="*/ 3098304 h 3098304"/>
              <a:gd name="connsiteX166" fmla="*/ 1514416 w 10799257"/>
              <a:gd name="connsiteY166" fmla="*/ 3089469 h 3098304"/>
              <a:gd name="connsiteX167" fmla="*/ 1569376 w 10799257"/>
              <a:gd name="connsiteY167" fmla="*/ 3066700 h 3098304"/>
              <a:gd name="connsiteX168" fmla="*/ 1385849 w 10799257"/>
              <a:gd name="connsiteY168" fmla="*/ 3066700 h 3098304"/>
              <a:gd name="connsiteX169" fmla="*/ 1440826 w 10799257"/>
              <a:gd name="connsiteY169" fmla="*/ 3089469 h 3098304"/>
              <a:gd name="connsiteX170" fmla="*/ 1446784 w 10799257"/>
              <a:gd name="connsiteY170" fmla="*/ 3098304 h 3098304"/>
              <a:gd name="connsiteX171" fmla="*/ 1324913 w 10799257"/>
              <a:gd name="connsiteY171" fmla="*/ 3098304 h 3098304"/>
              <a:gd name="connsiteX172" fmla="*/ 1330871 w 10799257"/>
              <a:gd name="connsiteY172" fmla="*/ 3089469 h 3098304"/>
              <a:gd name="connsiteX173" fmla="*/ 1385849 w 10799257"/>
              <a:gd name="connsiteY173" fmla="*/ 3066700 h 3098304"/>
              <a:gd name="connsiteX174" fmla="*/ 1202313 w 10799257"/>
              <a:gd name="connsiteY174" fmla="*/ 3066700 h 3098304"/>
              <a:gd name="connsiteX175" fmla="*/ 1257283 w 10799257"/>
              <a:gd name="connsiteY175" fmla="*/ 3089469 h 3098304"/>
              <a:gd name="connsiteX176" fmla="*/ 1263240 w 10799257"/>
              <a:gd name="connsiteY176" fmla="*/ 3098304 h 3098304"/>
              <a:gd name="connsiteX177" fmla="*/ 1141397 w 10799257"/>
              <a:gd name="connsiteY177" fmla="*/ 3098304 h 3098304"/>
              <a:gd name="connsiteX178" fmla="*/ 1147351 w 10799257"/>
              <a:gd name="connsiteY178" fmla="*/ 3089469 h 3098304"/>
              <a:gd name="connsiteX179" fmla="*/ 1202313 w 10799257"/>
              <a:gd name="connsiteY179" fmla="*/ 3066700 h 3098304"/>
              <a:gd name="connsiteX180" fmla="*/ 1014085 w 10799257"/>
              <a:gd name="connsiteY180" fmla="*/ 3066700 h 3098304"/>
              <a:gd name="connsiteX181" fmla="*/ 1069068 w 10799257"/>
              <a:gd name="connsiteY181" fmla="*/ 3089469 h 3098304"/>
              <a:gd name="connsiteX182" fmla="*/ 1075026 w 10799257"/>
              <a:gd name="connsiteY182" fmla="*/ 3098304 h 3098304"/>
              <a:gd name="connsiteX183" fmla="*/ 953182 w 10799257"/>
              <a:gd name="connsiteY183" fmla="*/ 3098304 h 3098304"/>
              <a:gd name="connsiteX184" fmla="*/ 959138 w 10799257"/>
              <a:gd name="connsiteY184" fmla="*/ 3089469 h 3098304"/>
              <a:gd name="connsiteX185" fmla="*/ 1014085 w 10799257"/>
              <a:gd name="connsiteY185" fmla="*/ 3066700 h 3098304"/>
              <a:gd name="connsiteX186" fmla="*/ 830577 w 10799257"/>
              <a:gd name="connsiteY186" fmla="*/ 3066700 h 3098304"/>
              <a:gd name="connsiteX187" fmla="*/ 885549 w 10799257"/>
              <a:gd name="connsiteY187" fmla="*/ 3089469 h 3098304"/>
              <a:gd name="connsiteX188" fmla="*/ 891508 w 10799257"/>
              <a:gd name="connsiteY188" fmla="*/ 3098304 h 3098304"/>
              <a:gd name="connsiteX189" fmla="*/ 769649 w 10799257"/>
              <a:gd name="connsiteY189" fmla="*/ 3098304 h 3098304"/>
              <a:gd name="connsiteX190" fmla="*/ 775607 w 10799257"/>
              <a:gd name="connsiteY190" fmla="*/ 3089469 h 3098304"/>
              <a:gd name="connsiteX191" fmla="*/ 830577 w 10799257"/>
              <a:gd name="connsiteY191" fmla="*/ 3066700 h 3098304"/>
              <a:gd name="connsiteX192" fmla="*/ 642348 w 10799257"/>
              <a:gd name="connsiteY192" fmla="*/ 3066700 h 3098304"/>
              <a:gd name="connsiteX193" fmla="*/ 697320 w 10799257"/>
              <a:gd name="connsiteY193" fmla="*/ 3089469 h 3098304"/>
              <a:gd name="connsiteX194" fmla="*/ 703276 w 10799257"/>
              <a:gd name="connsiteY194" fmla="*/ 3098304 h 3098304"/>
              <a:gd name="connsiteX195" fmla="*/ 581426 w 10799257"/>
              <a:gd name="connsiteY195" fmla="*/ 3098304 h 3098304"/>
              <a:gd name="connsiteX196" fmla="*/ 587383 w 10799257"/>
              <a:gd name="connsiteY196" fmla="*/ 3089469 h 3098304"/>
              <a:gd name="connsiteX197" fmla="*/ 642348 w 10799257"/>
              <a:gd name="connsiteY197" fmla="*/ 3066700 h 3098304"/>
              <a:gd name="connsiteX198" fmla="*/ 10721519 w 10799257"/>
              <a:gd name="connsiteY198" fmla="*/ 2902009 h 3098304"/>
              <a:gd name="connsiteX199" fmla="*/ 10799256 w 10799257"/>
              <a:gd name="connsiteY199" fmla="*/ 2979747 h 3098304"/>
              <a:gd name="connsiteX200" fmla="*/ 10721519 w 10799257"/>
              <a:gd name="connsiteY200" fmla="*/ 3057483 h 3098304"/>
              <a:gd name="connsiteX201" fmla="*/ 10643782 w 10799257"/>
              <a:gd name="connsiteY201" fmla="*/ 2979747 h 3098304"/>
              <a:gd name="connsiteX202" fmla="*/ 10721519 w 10799257"/>
              <a:gd name="connsiteY202" fmla="*/ 2902009 h 3098304"/>
              <a:gd name="connsiteX203" fmla="*/ 10349781 w 10799257"/>
              <a:gd name="connsiteY203" fmla="*/ 2902009 h 3098304"/>
              <a:gd name="connsiteX204" fmla="*/ 10427518 w 10799257"/>
              <a:gd name="connsiteY204" fmla="*/ 2979747 h 3098304"/>
              <a:gd name="connsiteX205" fmla="*/ 10349781 w 10799257"/>
              <a:gd name="connsiteY205" fmla="*/ 3057483 h 3098304"/>
              <a:gd name="connsiteX206" fmla="*/ 10272044 w 10799257"/>
              <a:gd name="connsiteY206" fmla="*/ 2979747 h 3098304"/>
              <a:gd name="connsiteX207" fmla="*/ 10349781 w 10799257"/>
              <a:gd name="connsiteY207" fmla="*/ 2902009 h 3098304"/>
              <a:gd name="connsiteX208" fmla="*/ 9978043 w 10799257"/>
              <a:gd name="connsiteY208" fmla="*/ 2902009 h 3098304"/>
              <a:gd name="connsiteX209" fmla="*/ 10055780 w 10799257"/>
              <a:gd name="connsiteY209" fmla="*/ 2979747 h 3098304"/>
              <a:gd name="connsiteX210" fmla="*/ 9978043 w 10799257"/>
              <a:gd name="connsiteY210" fmla="*/ 3057483 h 3098304"/>
              <a:gd name="connsiteX211" fmla="*/ 9900306 w 10799257"/>
              <a:gd name="connsiteY211" fmla="*/ 2979747 h 3098304"/>
              <a:gd name="connsiteX212" fmla="*/ 9978043 w 10799257"/>
              <a:gd name="connsiteY212" fmla="*/ 2902009 h 3098304"/>
              <a:gd name="connsiteX213" fmla="*/ 9789822 w 10799257"/>
              <a:gd name="connsiteY213" fmla="*/ 2902009 h 3098304"/>
              <a:gd name="connsiteX214" fmla="*/ 9867558 w 10799257"/>
              <a:gd name="connsiteY214" fmla="*/ 2979747 h 3098304"/>
              <a:gd name="connsiteX215" fmla="*/ 9789822 w 10799257"/>
              <a:gd name="connsiteY215" fmla="*/ 3057483 h 3098304"/>
              <a:gd name="connsiteX216" fmla="*/ 9712085 w 10799257"/>
              <a:gd name="connsiteY216" fmla="*/ 2979747 h 3098304"/>
              <a:gd name="connsiteX217" fmla="*/ 9789822 w 10799257"/>
              <a:gd name="connsiteY217" fmla="*/ 2902009 h 3098304"/>
              <a:gd name="connsiteX218" fmla="*/ 9606306 w 10799257"/>
              <a:gd name="connsiteY218" fmla="*/ 2902009 h 3098304"/>
              <a:gd name="connsiteX219" fmla="*/ 9684043 w 10799257"/>
              <a:gd name="connsiteY219" fmla="*/ 2979747 h 3098304"/>
              <a:gd name="connsiteX220" fmla="*/ 9606306 w 10799257"/>
              <a:gd name="connsiteY220" fmla="*/ 3057483 h 3098304"/>
              <a:gd name="connsiteX221" fmla="*/ 9528569 w 10799257"/>
              <a:gd name="connsiteY221" fmla="*/ 2979747 h 3098304"/>
              <a:gd name="connsiteX222" fmla="*/ 9606306 w 10799257"/>
              <a:gd name="connsiteY222" fmla="*/ 2902009 h 3098304"/>
              <a:gd name="connsiteX223" fmla="*/ 9413381 w 10799257"/>
              <a:gd name="connsiteY223" fmla="*/ 2902009 h 3098304"/>
              <a:gd name="connsiteX224" fmla="*/ 9491118 w 10799257"/>
              <a:gd name="connsiteY224" fmla="*/ 2979747 h 3098304"/>
              <a:gd name="connsiteX225" fmla="*/ 9413381 w 10799257"/>
              <a:gd name="connsiteY225" fmla="*/ 3057483 h 3098304"/>
              <a:gd name="connsiteX226" fmla="*/ 9335644 w 10799257"/>
              <a:gd name="connsiteY226" fmla="*/ 2979747 h 3098304"/>
              <a:gd name="connsiteX227" fmla="*/ 9413381 w 10799257"/>
              <a:gd name="connsiteY227" fmla="*/ 2902009 h 3098304"/>
              <a:gd name="connsiteX228" fmla="*/ 9234570 w 10799257"/>
              <a:gd name="connsiteY228" fmla="*/ 2902009 h 3098304"/>
              <a:gd name="connsiteX229" fmla="*/ 9312307 w 10799257"/>
              <a:gd name="connsiteY229" fmla="*/ 2979747 h 3098304"/>
              <a:gd name="connsiteX230" fmla="*/ 9234570 w 10799257"/>
              <a:gd name="connsiteY230" fmla="*/ 3057483 h 3098304"/>
              <a:gd name="connsiteX231" fmla="*/ 9156833 w 10799257"/>
              <a:gd name="connsiteY231" fmla="*/ 2979747 h 3098304"/>
              <a:gd name="connsiteX232" fmla="*/ 9234570 w 10799257"/>
              <a:gd name="connsiteY232" fmla="*/ 2902009 h 3098304"/>
              <a:gd name="connsiteX233" fmla="*/ 9036939 w 10799257"/>
              <a:gd name="connsiteY233" fmla="*/ 2902009 h 3098304"/>
              <a:gd name="connsiteX234" fmla="*/ 9114675 w 10799257"/>
              <a:gd name="connsiteY234" fmla="*/ 2979747 h 3098304"/>
              <a:gd name="connsiteX235" fmla="*/ 9036939 w 10799257"/>
              <a:gd name="connsiteY235" fmla="*/ 3057483 h 3098304"/>
              <a:gd name="connsiteX236" fmla="*/ 8959202 w 10799257"/>
              <a:gd name="connsiteY236" fmla="*/ 2979747 h 3098304"/>
              <a:gd name="connsiteX237" fmla="*/ 9036939 w 10799257"/>
              <a:gd name="connsiteY237" fmla="*/ 2902009 h 3098304"/>
              <a:gd name="connsiteX238" fmla="*/ 8853421 w 10799257"/>
              <a:gd name="connsiteY238" fmla="*/ 2902009 h 3098304"/>
              <a:gd name="connsiteX239" fmla="*/ 8931158 w 10799257"/>
              <a:gd name="connsiteY239" fmla="*/ 2979747 h 3098304"/>
              <a:gd name="connsiteX240" fmla="*/ 8853421 w 10799257"/>
              <a:gd name="connsiteY240" fmla="*/ 3057483 h 3098304"/>
              <a:gd name="connsiteX241" fmla="*/ 8775685 w 10799257"/>
              <a:gd name="connsiteY241" fmla="*/ 2979747 h 3098304"/>
              <a:gd name="connsiteX242" fmla="*/ 8853421 w 10799257"/>
              <a:gd name="connsiteY242" fmla="*/ 2902009 h 3098304"/>
              <a:gd name="connsiteX243" fmla="*/ 8669908 w 10799257"/>
              <a:gd name="connsiteY243" fmla="*/ 2902009 h 3098304"/>
              <a:gd name="connsiteX244" fmla="*/ 8747645 w 10799257"/>
              <a:gd name="connsiteY244" fmla="*/ 2979747 h 3098304"/>
              <a:gd name="connsiteX245" fmla="*/ 8669908 w 10799257"/>
              <a:gd name="connsiteY245" fmla="*/ 3057483 h 3098304"/>
              <a:gd name="connsiteX246" fmla="*/ 8592171 w 10799257"/>
              <a:gd name="connsiteY246" fmla="*/ 2979747 h 3098304"/>
              <a:gd name="connsiteX247" fmla="*/ 8669908 w 10799257"/>
              <a:gd name="connsiteY247" fmla="*/ 2902009 h 3098304"/>
              <a:gd name="connsiteX248" fmla="*/ 8481684 w 10799257"/>
              <a:gd name="connsiteY248" fmla="*/ 2902009 h 3098304"/>
              <a:gd name="connsiteX249" fmla="*/ 8559421 w 10799257"/>
              <a:gd name="connsiteY249" fmla="*/ 2979747 h 3098304"/>
              <a:gd name="connsiteX250" fmla="*/ 8481684 w 10799257"/>
              <a:gd name="connsiteY250" fmla="*/ 3057483 h 3098304"/>
              <a:gd name="connsiteX251" fmla="*/ 8403948 w 10799257"/>
              <a:gd name="connsiteY251" fmla="*/ 2979747 h 3098304"/>
              <a:gd name="connsiteX252" fmla="*/ 8481684 w 10799257"/>
              <a:gd name="connsiteY252" fmla="*/ 2902009 h 3098304"/>
              <a:gd name="connsiteX253" fmla="*/ 8298167 w 10799257"/>
              <a:gd name="connsiteY253" fmla="*/ 2902009 h 3098304"/>
              <a:gd name="connsiteX254" fmla="*/ 8375904 w 10799257"/>
              <a:gd name="connsiteY254" fmla="*/ 2979747 h 3098304"/>
              <a:gd name="connsiteX255" fmla="*/ 8298167 w 10799257"/>
              <a:gd name="connsiteY255" fmla="*/ 3057483 h 3098304"/>
              <a:gd name="connsiteX256" fmla="*/ 8220430 w 10799257"/>
              <a:gd name="connsiteY256" fmla="*/ 2979747 h 3098304"/>
              <a:gd name="connsiteX257" fmla="*/ 8298167 w 10799257"/>
              <a:gd name="connsiteY257" fmla="*/ 2902009 h 3098304"/>
              <a:gd name="connsiteX258" fmla="*/ 8109949 w 10799257"/>
              <a:gd name="connsiteY258" fmla="*/ 2902009 h 3098304"/>
              <a:gd name="connsiteX259" fmla="*/ 8187686 w 10799257"/>
              <a:gd name="connsiteY259" fmla="*/ 2979747 h 3098304"/>
              <a:gd name="connsiteX260" fmla="*/ 8109949 w 10799257"/>
              <a:gd name="connsiteY260" fmla="*/ 3057483 h 3098304"/>
              <a:gd name="connsiteX261" fmla="*/ 8032212 w 10799257"/>
              <a:gd name="connsiteY261" fmla="*/ 2979747 h 3098304"/>
              <a:gd name="connsiteX262" fmla="*/ 8109949 w 10799257"/>
              <a:gd name="connsiteY262" fmla="*/ 2902009 h 3098304"/>
              <a:gd name="connsiteX263" fmla="*/ 7926434 w 10799257"/>
              <a:gd name="connsiteY263" fmla="*/ 2902009 h 3098304"/>
              <a:gd name="connsiteX264" fmla="*/ 8004171 w 10799257"/>
              <a:gd name="connsiteY264" fmla="*/ 2979747 h 3098304"/>
              <a:gd name="connsiteX265" fmla="*/ 7926434 w 10799257"/>
              <a:gd name="connsiteY265" fmla="*/ 3057483 h 3098304"/>
              <a:gd name="connsiteX266" fmla="*/ 7848697 w 10799257"/>
              <a:gd name="connsiteY266" fmla="*/ 2979747 h 3098304"/>
              <a:gd name="connsiteX267" fmla="*/ 7926434 w 10799257"/>
              <a:gd name="connsiteY267" fmla="*/ 2902009 h 3098304"/>
              <a:gd name="connsiteX268" fmla="*/ 7738213 w 10799257"/>
              <a:gd name="connsiteY268" fmla="*/ 2902009 h 3098304"/>
              <a:gd name="connsiteX269" fmla="*/ 7815950 w 10799257"/>
              <a:gd name="connsiteY269" fmla="*/ 2979747 h 3098304"/>
              <a:gd name="connsiteX270" fmla="*/ 7738213 w 10799257"/>
              <a:gd name="connsiteY270" fmla="*/ 3057483 h 3098304"/>
              <a:gd name="connsiteX271" fmla="*/ 7660476 w 10799257"/>
              <a:gd name="connsiteY271" fmla="*/ 2979747 h 3098304"/>
              <a:gd name="connsiteX272" fmla="*/ 7738213 w 10799257"/>
              <a:gd name="connsiteY272" fmla="*/ 2902009 h 3098304"/>
              <a:gd name="connsiteX273" fmla="*/ 7554696 w 10799257"/>
              <a:gd name="connsiteY273" fmla="*/ 2902009 h 3098304"/>
              <a:gd name="connsiteX274" fmla="*/ 7632433 w 10799257"/>
              <a:gd name="connsiteY274" fmla="*/ 2979747 h 3098304"/>
              <a:gd name="connsiteX275" fmla="*/ 7554696 w 10799257"/>
              <a:gd name="connsiteY275" fmla="*/ 3057483 h 3098304"/>
              <a:gd name="connsiteX276" fmla="*/ 7476959 w 10799257"/>
              <a:gd name="connsiteY276" fmla="*/ 2979747 h 3098304"/>
              <a:gd name="connsiteX277" fmla="*/ 7554696 w 10799257"/>
              <a:gd name="connsiteY277" fmla="*/ 2902009 h 3098304"/>
              <a:gd name="connsiteX278" fmla="*/ 7178251 w 10799257"/>
              <a:gd name="connsiteY278" fmla="*/ 2902009 h 3098304"/>
              <a:gd name="connsiteX279" fmla="*/ 7255988 w 10799257"/>
              <a:gd name="connsiteY279" fmla="*/ 2979747 h 3098304"/>
              <a:gd name="connsiteX280" fmla="*/ 7178251 w 10799257"/>
              <a:gd name="connsiteY280" fmla="*/ 3057483 h 3098304"/>
              <a:gd name="connsiteX281" fmla="*/ 7100514 w 10799257"/>
              <a:gd name="connsiteY281" fmla="*/ 2979747 h 3098304"/>
              <a:gd name="connsiteX282" fmla="*/ 7178251 w 10799257"/>
              <a:gd name="connsiteY282" fmla="*/ 2902009 h 3098304"/>
              <a:gd name="connsiteX283" fmla="*/ 6985327 w 10799257"/>
              <a:gd name="connsiteY283" fmla="*/ 2902009 h 3098304"/>
              <a:gd name="connsiteX284" fmla="*/ 7063064 w 10799257"/>
              <a:gd name="connsiteY284" fmla="*/ 2979747 h 3098304"/>
              <a:gd name="connsiteX285" fmla="*/ 6985327 w 10799257"/>
              <a:gd name="connsiteY285" fmla="*/ 3057483 h 3098304"/>
              <a:gd name="connsiteX286" fmla="*/ 6907590 w 10799257"/>
              <a:gd name="connsiteY286" fmla="*/ 2979747 h 3098304"/>
              <a:gd name="connsiteX287" fmla="*/ 6985327 w 10799257"/>
              <a:gd name="connsiteY287" fmla="*/ 2902009 h 3098304"/>
              <a:gd name="connsiteX288" fmla="*/ 6801810 w 10799257"/>
              <a:gd name="connsiteY288" fmla="*/ 2902009 h 3098304"/>
              <a:gd name="connsiteX289" fmla="*/ 6879546 w 10799257"/>
              <a:gd name="connsiteY289" fmla="*/ 2979747 h 3098304"/>
              <a:gd name="connsiteX290" fmla="*/ 6801810 w 10799257"/>
              <a:gd name="connsiteY290" fmla="*/ 3057483 h 3098304"/>
              <a:gd name="connsiteX291" fmla="*/ 6724073 w 10799257"/>
              <a:gd name="connsiteY291" fmla="*/ 2979747 h 3098304"/>
              <a:gd name="connsiteX292" fmla="*/ 6801810 w 10799257"/>
              <a:gd name="connsiteY292" fmla="*/ 2902009 h 3098304"/>
              <a:gd name="connsiteX293" fmla="*/ 6613588 w 10799257"/>
              <a:gd name="connsiteY293" fmla="*/ 2902009 h 3098304"/>
              <a:gd name="connsiteX294" fmla="*/ 6691325 w 10799257"/>
              <a:gd name="connsiteY294" fmla="*/ 2979747 h 3098304"/>
              <a:gd name="connsiteX295" fmla="*/ 6613588 w 10799257"/>
              <a:gd name="connsiteY295" fmla="*/ 3057483 h 3098304"/>
              <a:gd name="connsiteX296" fmla="*/ 6535852 w 10799257"/>
              <a:gd name="connsiteY296" fmla="*/ 2979747 h 3098304"/>
              <a:gd name="connsiteX297" fmla="*/ 6613588 w 10799257"/>
              <a:gd name="connsiteY297" fmla="*/ 2902009 h 3098304"/>
              <a:gd name="connsiteX298" fmla="*/ 6425367 w 10799257"/>
              <a:gd name="connsiteY298" fmla="*/ 2902009 h 3098304"/>
              <a:gd name="connsiteX299" fmla="*/ 6503104 w 10799257"/>
              <a:gd name="connsiteY299" fmla="*/ 2979747 h 3098304"/>
              <a:gd name="connsiteX300" fmla="*/ 6425367 w 10799257"/>
              <a:gd name="connsiteY300" fmla="*/ 3057483 h 3098304"/>
              <a:gd name="connsiteX301" fmla="*/ 6347631 w 10799257"/>
              <a:gd name="connsiteY301" fmla="*/ 2979747 h 3098304"/>
              <a:gd name="connsiteX302" fmla="*/ 6425367 w 10799257"/>
              <a:gd name="connsiteY302" fmla="*/ 2902009 h 3098304"/>
              <a:gd name="connsiteX303" fmla="*/ 6241850 w 10799257"/>
              <a:gd name="connsiteY303" fmla="*/ 2902009 h 3098304"/>
              <a:gd name="connsiteX304" fmla="*/ 6319587 w 10799257"/>
              <a:gd name="connsiteY304" fmla="*/ 2979747 h 3098304"/>
              <a:gd name="connsiteX305" fmla="*/ 6241850 w 10799257"/>
              <a:gd name="connsiteY305" fmla="*/ 3057483 h 3098304"/>
              <a:gd name="connsiteX306" fmla="*/ 6164113 w 10799257"/>
              <a:gd name="connsiteY306" fmla="*/ 2979747 h 3098304"/>
              <a:gd name="connsiteX307" fmla="*/ 6241850 w 10799257"/>
              <a:gd name="connsiteY307" fmla="*/ 2902009 h 3098304"/>
              <a:gd name="connsiteX308" fmla="*/ 5870113 w 10799257"/>
              <a:gd name="connsiteY308" fmla="*/ 2902009 h 3098304"/>
              <a:gd name="connsiteX309" fmla="*/ 5947850 w 10799257"/>
              <a:gd name="connsiteY309" fmla="*/ 2979747 h 3098304"/>
              <a:gd name="connsiteX310" fmla="*/ 5870113 w 10799257"/>
              <a:gd name="connsiteY310" fmla="*/ 3057483 h 3098304"/>
              <a:gd name="connsiteX311" fmla="*/ 5792376 w 10799257"/>
              <a:gd name="connsiteY311" fmla="*/ 2979747 h 3098304"/>
              <a:gd name="connsiteX312" fmla="*/ 5870113 w 10799257"/>
              <a:gd name="connsiteY312" fmla="*/ 2902009 h 3098304"/>
              <a:gd name="connsiteX313" fmla="*/ 5126655 w 10799257"/>
              <a:gd name="connsiteY313" fmla="*/ 2902009 h 3098304"/>
              <a:gd name="connsiteX314" fmla="*/ 5204389 w 10799257"/>
              <a:gd name="connsiteY314" fmla="*/ 2979747 h 3098304"/>
              <a:gd name="connsiteX315" fmla="*/ 5126655 w 10799257"/>
              <a:gd name="connsiteY315" fmla="*/ 3057483 h 3098304"/>
              <a:gd name="connsiteX316" fmla="*/ 5048921 w 10799257"/>
              <a:gd name="connsiteY316" fmla="*/ 2979747 h 3098304"/>
              <a:gd name="connsiteX317" fmla="*/ 5126655 w 10799257"/>
              <a:gd name="connsiteY317" fmla="*/ 2902009 h 3098304"/>
              <a:gd name="connsiteX318" fmla="*/ 4938438 w 10799257"/>
              <a:gd name="connsiteY318" fmla="*/ 2902009 h 3098304"/>
              <a:gd name="connsiteX319" fmla="*/ 5016170 w 10799257"/>
              <a:gd name="connsiteY319" fmla="*/ 2979747 h 3098304"/>
              <a:gd name="connsiteX320" fmla="*/ 4938438 w 10799257"/>
              <a:gd name="connsiteY320" fmla="*/ 3057483 h 3098304"/>
              <a:gd name="connsiteX321" fmla="*/ 4860700 w 10799257"/>
              <a:gd name="connsiteY321" fmla="*/ 2979747 h 3098304"/>
              <a:gd name="connsiteX322" fmla="*/ 4938438 w 10799257"/>
              <a:gd name="connsiteY322" fmla="*/ 2902009 h 3098304"/>
              <a:gd name="connsiteX323" fmla="*/ 2317516 w 10799257"/>
              <a:gd name="connsiteY323" fmla="*/ 2902009 h 3098304"/>
              <a:gd name="connsiteX324" fmla="*/ 2395256 w 10799257"/>
              <a:gd name="connsiteY324" fmla="*/ 2979747 h 3098304"/>
              <a:gd name="connsiteX325" fmla="*/ 2317516 w 10799257"/>
              <a:gd name="connsiteY325" fmla="*/ 3057483 h 3098304"/>
              <a:gd name="connsiteX326" fmla="*/ 2239787 w 10799257"/>
              <a:gd name="connsiteY326" fmla="*/ 2979747 h 3098304"/>
              <a:gd name="connsiteX327" fmla="*/ 2317516 w 10799257"/>
              <a:gd name="connsiteY327" fmla="*/ 2902009 h 3098304"/>
              <a:gd name="connsiteX328" fmla="*/ 2129311 w 10799257"/>
              <a:gd name="connsiteY328" fmla="*/ 2902009 h 3098304"/>
              <a:gd name="connsiteX329" fmla="*/ 2207040 w 10799257"/>
              <a:gd name="connsiteY329" fmla="*/ 2979747 h 3098304"/>
              <a:gd name="connsiteX330" fmla="*/ 2129311 w 10799257"/>
              <a:gd name="connsiteY330" fmla="*/ 3057483 h 3098304"/>
              <a:gd name="connsiteX331" fmla="*/ 2051581 w 10799257"/>
              <a:gd name="connsiteY331" fmla="*/ 2979747 h 3098304"/>
              <a:gd name="connsiteX332" fmla="*/ 2129311 w 10799257"/>
              <a:gd name="connsiteY332" fmla="*/ 2902009 h 3098304"/>
              <a:gd name="connsiteX333" fmla="*/ 1941108 w 10799257"/>
              <a:gd name="connsiteY333" fmla="*/ 2902009 h 3098304"/>
              <a:gd name="connsiteX334" fmla="*/ 2018839 w 10799257"/>
              <a:gd name="connsiteY334" fmla="*/ 2979747 h 3098304"/>
              <a:gd name="connsiteX335" fmla="*/ 1941108 w 10799257"/>
              <a:gd name="connsiteY335" fmla="*/ 3057483 h 3098304"/>
              <a:gd name="connsiteX336" fmla="*/ 1863379 w 10799257"/>
              <a:gd name="connsiteY336" fmla="*/ 2979747 h 3098304"/>
              <a:gd name="connsiteX337" fmla="*/ 1941108 w 10799257"/>
              <a:gd name="connsiteY337" fmla="*/ 2902009 h 3098304"/>
              <a:gd name="connsiteX338" fmla="*/ 1757610 w 10799257"/>
              <a:gd name="connsiteY338" fmla="*/ 2902009 h 3098304"/>
              <a:gd name="connsiteX339" fmla="*/ 1835341 w 10799257"/>
              <a:gd name="connsiteY339" fmla="*/ 2979747 h 3098304"/>
              <a:gd name="connsiteX340" fmla="*/ 1757610 w 10799257"/>
              <a:gd name="connsiteY340" fmla="*/ 3057483 h 3098304"/>
              <a:gd name="connsiteX341" fmla="*/ 1679879 w 10799257"/>
              <a:gd name="connsiteY341" fmla="*/ 2979747 h 3098304"/>
              <a:gd name="connsiteX342" fmla="*/ 1757610 w 10799257"/>
              <a:gd name="connsiteY342" fmla="*/ 2902009 h 3098304"/>
              <a:gd name="connsiteX343" fmla="*/ 1569376 w 10799257"/>
              <a:gd name="connsiteY343" fmla="*/ 2902009 h 3098304"/>
              <a:gd name="connsiteX344" fmla="*/ 1647137 w 10799257"/>
              <a:gd name="connsiteY344" fmla="*/ 2979747 h 3098304"/>
              <a:gd name="connsiteX345" fmla="*/ 1569376 w 10799257"/>
              <a:gd name="connsiteY345" fmla="*/ 3057483 h 3098304"/>
              <a:gd name="connsiteX346" fmla="*/ 1491657 w 10799257"/>
              <a:gd name="connsiteY346" fmla="*/ 2979747 h 3098304"/>
              <a:gd name="connsiteX347" fmla="*/ 1569376 w 10799257"/>
              <a:gd name="connsiteY347" fmla="*/ 2902009 h 3098304"/>
              <a:gd name="connsiteX348" fmla="*/ 1385857 w 10799257"/>
              <a:gd name="connsiteY348" fmla="*/ 2902009 h 3098304"/>
              <a:gd name="connsiteX349" fmla="*/ 1463610 w 10799257"/>
              <a:gd name="connsiteY349" fmla="*/ 2979747 h 3098304"/>
              <a:gd name="connsiteX350" fmla="*/ 1385857 w 10799257"/>
              <a:gd name="connsiteY350" fmla="*/ 3057483 h 3098304"/>
              <a:gd name="connsiteX351" fmla="*/ 1308106 w 10799257"/>
              <a:gd name="connsiteY351" fmla="*/ 2979747 h 3098304"/>
              <a:gd name="connsiteX352" fmla="*/ 1385857 w 10799257"/>
              <a:gd name="connsiteY352" fmla="*/ 2902009 h 3098304"/>
              <a:gd name="connsiteX353" fmla="*/ 1202320 w 10799257"/>
              <a:gd name="connsiteY353" fmla="*/ 2902009 h 3098304"/>
              <a:gd name="connsiteX354" fmla="*/ 1280058 w 10799257"/>
              <a:gd name="connsiteY354" fmla="*/ 2979747 h 3098304"/>
              <a:gd name="connsiteX355" fmla="*/ 1202320 w 10799257"/>
              <a:gd name="connsiteY355" fmla="*/ 3057483 h 3098304"/>
              <a:gd name="connsiteX356" fmla="*/ 1124603 w 10799257"/>
              <a:gd name="connsiteY356" fmla="*/ 2979747 h 3098304"/>
              <a:gd name="connsiteX357" fmla="*/ 1202320 w 10799257"/>
              <a:gd name="connsiteY357" fmla="*/ 2902009 h 3098304"/>
              <a:gd name="connsiteX358" fmla="*/ 1014100 w 10799257"/>
              <a:gd name="connsiteY358" fmla="*/ 2902009 h 3098304"/>
              <a:gd name="connsiteX359" fmla="*/ 1091847 w 10799257"/>
              <a:gd name="connsiteY359" fmla="*/ 2979747 h 3098304"/>
              <a:gd name="connsiteX360" fmla="*/ 1014100 w 10799257"/>
              <a:gd name="connsiteY360" fmla="*/ 3057483 h 3098304"/>
              <a:gd name="connsiteX361" fmla="*/ 936381 w 10799257"/>
              <a:gd name="connsiteY361" fmla="*/ 2979747 h 3098304"/>
              <a:gd name="connsiteX362" fmla="*/ 1014100 w 10799257"/>
              <a:gd name="connsiteY362" fmla="*/ 2902009 h 3098304"/>
              <a:gd name="connsiteX363" fmla="*/ 830585 w 10799257"/>
              <a:gd name="connsiteY363" fmla="*/ 2902009 h 3098304"/>
              <a:gd name="connsiteX364" fmla="*/ 908338 w 10799257"/>
              <a:gd name="connsiteY364" fmla="*/ 2979747 h 3098304"/>
              <a:gd name="connsiteX365" fmla="*/ 830585 w 10799257"/>
              <a:gd name="connsiteY365" fmla="*/ 3057483 h 3098304"/>
              <a:gd name="connsiteX366" fmla="*/ 752846 w 10799257"/>
              <a:gd name="connsiteY366" fmla="*/ 2979747 h 3098304"/>
              <a:gd name="connsiteX367" fmla="*/ 830585 w 10799257"/>
              <a:gd name="connsiteY367" fmla="*/ 2902009 h 3098304"/>
              <a:gd name="connsiteX368" fmla="*/ 642357 w 10799257"/>
              <a:gd name="connsiteY368" fmla="*/ 2902009 h 3098304"/>
              <a:gd name="connsiteX369" fmla="*/ 720097 w 10799257"/>
              <a:gd name="connsiteY369" fmla="*/ 2979747 h 3098304"/>
              <a:gd name="connsiteX370" fmla="*/ 642357 w 10799257"/>
              <a:gd name="connsiteY370" fmla="*/ 3057483 h 3098304"/>
              <a:gd name="connsiteX371" fmla="*/ 564622 w 10799257"/>
              <a:gd name="connsiteY371" fmla="*/ 2979747 h 3098304"/>
              <a:gd name="connsiteX372" fmla="*/ 642357 w 10799257"/>
              <a:gd name="connsiteY372" fmla="*/ 2902009 h 3098304"/>
              <a:gd name="connsiteX373" fmla="*/ 458842 w 10799257"/>
              <a:gd name="connsiteY373" fmla="*/ 2902009 h 3098304"/>
              <a:gd name="connsiteX374" fmla="*/ 536579 w 10799257"/>
              <a:gd name="connsiteY374" fmla="*/ 2979747 h 3098304"/>
              <a:gd name="connsiteX375" fmla="*/ 458842 w 10799257"/>
              <a:gd name="connsiteY375" fmla="*/ 3057483 h 3098304"/>
              <a:gd name="connsiteX376" fmla="*/ 381108 w 10799257"/>
              <a:gd name="connsiteY376" fmla="*/ 2979747 h 3098304"/>
              <a:gd name="connsiteX377" fmla="*/ 458842 w 10799257"/>
              <a:gd name="connsiteY377" fmla="*/ 2902009 h 3098304"/>
              <a:gd name="connsiteX378" fmla="*/ 458849 w 10799257"/>
              <a:gd name="connsiteY378" fmla="*/ 2727907 h 3098304"/>
              <a:gd name="connsiteX379" fmla="*/ 536586 w 10799257"/>
              <a:gd name="connsiteY379" fmla="*/ 2805643 h 3098304"/>
              <a:gd name="connsiteX380" fmla="*/ 458849 w 10799257"/>
              <a:gd name="connsiteY380" fmla="*/ 2883380 h 3098304"/>
              <a:gd name="connsiteX381" fmla="*/ 381115 w 10799257"/>
              <a:gd name="connsiteY381" fmla="*/ 2805643 h 3098304"/>
              <a:gd name="connsiteX382" fmla="*/ 458849 w 10799257"/>
              <a:gd name="connsiteY382" fmla="*/ 2727907 h 3098304"/>
              <a:gd name="connsiteX383" fmla="*/ 1202330 w 10799257"/>
              <a:gd name="connsiteY383" fmla="*/ 2727904 h 3098304"/>
              <a:gd name="connsiteX384" fmla="*/ 1280065 w 10799257"/>
              <a:gd name="connsiteY384" fmla="*/ 2805641 h 3098304"/>
              <a:gd name="connsiteX385" fmla="*/ 1202330 w 10799257"/>
              <a:gd name="connsiteY385" fmla="*/ 2883379 h 3098304"/>
              <a:gd name="connsiteX386" fmla="*/ 1124612 w 10799257"/>
              <a:gd name="connsiteY386" fmla="*/ 2805641 h 3098304"/>
              <a:gd name="connsiteX387" fmla="*/ 1202330 w 10799257"/>
              <a:gd name="connsiteY387" fmla="*/ 2727904 h 3098304"/>
              <a:gd name="connsiteX388" fmla="*/ 1014100 w 10799257"/>
              <a:gd name="connsiteY388" fmla="*/ 2727904 h 3098304"/>
              <a:gd name="connsiteX389" fmla="*/ 1091855 w 10799257"/>
              <a:gd name="connsiteY389" fmla="*/ 2805641 h 3098304"/>
              <a:gd name="connsiteX390" fmla="*/ 1014100 w 10799257"/>
              <a:gd name="connsiteY390" fmla="*/ 2883379 h 3098304"/>
              <a:gd name="connsiteX391" fmla="*/ 936391 w 10799257"/>
              <a:gd name="connsiteY391" fmla="*/ 2805641 h 3098304"/>
              <a:gd name="connsiteX392" fmla="*/ 1014100 w 10799257"/>
              <a:gd name="connsiteY392" fmla="*/ 2727904 h 3098304"/>
              <a:gd name="connsiteX393" fmla="*/ 830594 w 10799257"/>
              <a:gd name="connsiteY393" fmla="*/ 2727904 h 3098304"/>
              <a:gd name="connsiteX394" fmla="*/ 908346 w 10799257"/>
              <a:gd name="connsiteY394" fmla="*/ 2805641 h 3098304"/>
              <a:gd name="connsiteX395" fmla="*/ 830594 w 10799257"/>
              <a:gd name="connsiteY395" fmla="*/ 2883379 h 3098304"/>
              <a:gd name="connsiteX396" fmla="*/ 752853 w 10799257"/>
              <a:gd name="connsiteY396" fmla="*/ 2805641 h 3098304"/>
              <a:gd name="connsiteX397" fmla="*/ 830594 w 10799257"/>
              <a:gd name="connsiteY397" fmla="*/ 2727904 h 3098304"/>
              <a:gd name="connsiteX398" fmla="*/ 642364 w 10799257"/>
              <a:gd name="connsiteY398" fmla="*/ 2727904 h 3098304"/>
              <a:gd name="connsiteX399" fmla="*/ 720105 w 10799257"/>
              <a:gd name="connsiteY399" fmla="*/ 2805641 h 3098304"/>
              <a:gd name="connsiteX400" fmla="*/ 642364 w 10799257"/>
              <a:gd name="connsiteY400" fmla="*/ 2883379 h 3098304"/>
              <a:gd name="connsiteX401" fmla="*/ 564631 w 10799257"/>
              <a:gd name="connsiteY401" fmla="*/ 2805641 h 3098304"/>
              <a:gd name="connsiteX402" fmla="*/ 642364 w 10799257"/>
              <a:gd name="connsiteY402" fmla="*/ 2727904 h 3098304"/>
              <a:gd name="connsiteX403" fmla="*/ 10721520 w 10799257"/>
              <a:gd name="connsiteY403" fmla="*/ 2727902 h 3098304"/>
              <a:gd name="connsiteX404" fmla="*/ 10799257 w 10799257"/>
              <a:gd name="connsiteY404" fmla="*/ 2805639 h 3098304"/>
              <a:gd name="connsiteX405" fmla="*/ 10721520 w 10799257"/>
              <a:gd name="connsiteY405" fmla="*/ 2883377 h 3098304"/>
              <a:gd name="connsiteX406" fmla="*/ 10643783 w 10799257"/>
              <a:gd name="connsiteY406" fmla="*/ 2805639 h 3098304"/>
              <a:gd name="connsiteX407" fmla="*/ 10721520 w 10799257"/>
              <a:gd name="connsiteY407" fmla="*/ 2727902 h 3098304"/>
              <a:gd name="connsiteX408" fmla="*/ 10349782 w 10799257"/>
              <a:gd name="connsiteY408" fmla="*/ 2727902 h 3098304"/>
              <a:gd name="connsiteX409" fmla="*/ 10427519 w 10799257"/>
              <a:gd name="connsiteY409" fmla="*/ 2805639 h 3098304"/>
              <a:gd name="connsiteX410" fmla="*/ 10349782 w 10799257"/>
              <a:gd name="connsiteY410" fmla="*/ 2883377 h 3098304"/>
              <a:gd name="connsiteX411" fmla="*/ 10272045 w 10799257"/>
              <a:gd name="connsiteY411" fmla="*/ 2805639 h 3098304"/>
              <a:gd name="connsiteX412" fmla="*/ 10349782 w 10799257"/>
              <a:gd name="connsiteY412" fmla="*/ 2727902 h 3098304"/>
              <a:gd name="connsiteX413" fmla="*/ 10166265 w 10799257"/>
              <a:gd name="connsiteY413" fmla="*/ 2727902 h 3098304"/>
              <a:gd name="connsiteX414" fmla="*/ 10244002 w 10799257"/>
              <a:gd name="connsiteY414" fmla="*/ 2805639 h 3098304"/>
              <a:gd name="connsiteX415" fmla="*/ 10166265 w 10799257"/>
              <a:gd name="connsiteY415" fmla="*/ 2883377 h 3098304"/>
              <a:gd name="connsiteX416" fmla="*/ 10088528 w 10799257"/>
              <a:gd name="connsiteY416" fmla="*/ 2805639 h 3098304"/>
              <a:gd name="connsiteX417" fmla="*/ 10166265 w 10799257"/>
              <a:gd name="connsiteY417" fmla="*/ 2727902 h 3098304"/>
              <a:gd name="connsiteX418" fmla="*/ 9978044 w 10799257"/>
              <a:gd name="connsiteY418" fmla="*/ 2727902 h 3098304"/>
              <a:gd name="connsiteX419" fmla="*/ 10055781 w 10799257"/>
              <a:gd name="connsiteY419" fmla="*/ 2805639 h 3098304"/>
              <a:gd name="connsiteX420" fmla="*/ 9978044 w 10799257"/>
              <a:gd name="connsiteY420" fmla="*/ 2883377 h 3098304"/>
              <a:gd name="connsiteX421" fmla="*/ 9900307 w 10799257"/>
              <a:gd name="connsiteY421" fmla="*/ 2805639 h 3098304"/>
              <a:gd name="connsiteX422" fmla="*/ 9978044 w 10799257"/>
              <a:gd name="connsiteY422" fmla="*/ 2727902 h 3098304"/>
              <a:gd name="connsiteX423" fmla="*/ 9789823 w 10799257"/>
              <a:gd name="connsiteY423" fmla="*/ 2727902 h 3098304"/>
              <a:gd name="connsiteX424" fmla="*/ 9867560 w 10799257"/>
              <a:gd name="connsiteY424" fmla="*/ 2805639 h 3098304"/>
              <a:gd name="connsiteX425" fmla="*/ 9789823 w 10799257"/>
              <a:gd name="connsiteY425" fmla="*/ 2883377 h 3098304"/>
              <a:gd name="connsiteX426" fmla="*/ 9712086 w 10799257"/>
              <a:gd name="connsiteY426" fmla="*/ 2805639 h 3098304"/>
              <a:gd name="connsiteX427" fmla="*/ 9789823 w 10799257"/>
              <a:gd name="connsiteY427" fmla="*/ 2727902 h 3098304"/>
              <a:gd name="connsiteX428" fmla="*/ 9606308 w 10799257"/>
              <a:gd name="connsiteY428" fmla="*/ 2727902 h 3098304"/>
              <a:gd name="connsiteX429" fmla="*/ 9684045 w 10799257"/>
              <a:gd name="connsiteY429" fmla="*/ 2805639 h 3098304"/>
              <a:gd name="connsiteX430" fmla="*/ 9606308 w 10799257"/>
              <a:gd name="connsiteY430" fmla="*/ 2883377 h 3098304"/>
              <a:gd name="connsiteX431" fmla="*/ 9528571 w 10799257"/>
              <a:gd name="connsiteY431" fmla="*/ 2805639 h 3098304"/>
              <a:gd name="connsiteX432" fmla="*/ 9606308 w 10799257"/>
              <a:gd name="connsiteY432" fmla="*/ 2727902 h 3098304"/>
              <a:gd name="connsiteX433" fmla="*/ 9413381 w 10799257"/>
              <a:gd name="connsiteY433" fmla="*/ 2727902 h 3098304"/>
              <a:gd name="connsiteX434" fmla="*/ 9491118 w 10799257"/>
              <a:gd name="connsiteY434" fmla="*/ 2805639 h 3098304"/>
              <a:gd name="connsiteX435" fmla="*/ 9413381 w 10799257"/>
              <a:gd name="connsiteY435" fmla="*/ 2883377 h 3098304"/>
              <a:gd name="connsiteX436" fmla="*/ 9335644 w 10799257"/>
              <a:gd name="connsiteY436" fmla="*/ 2805639 h 3098304"/>
              <a:gd name="connsiteX437" fmla="*/ 9413381 w 10799257"/>
              <a:gd name="connsiteY437" fmla="*/ 2727902 h 3098304"/>
              <a:gd name="connsiteX438" fmla="*/ 9234570 w 10799257"/>
              <a:gd name="connsiteY438" fmla="*/ 2727902 h 3098304"/>
              <a:gd name="connsiteX439" fmla="*/ 9312307 w 10799257"/>
              <a:gd name="connsiteY439" fmla="*/ 2805639 h 3098304"/>
              <a:gd name="connsiteX440" fmla="*/ 9234570 w 10799257"/>
              <a:gd name="connsiteY440" fmla="*/ 2883377 h 3098304"/>
              <a:gd name="connsiteX441" fmla="*/ 9156833 w 10799257"/>
              <a:gd name="connsiteY441" fmla="*/ 2805639 h 3098304"/>
              <a:gd name="connsiteX442" fmla="*/ 9234570 w 10799257"/>
              <a:gd name="connsiteY442" fmla="*/ 2727902 h 3098304"/>
              <a:gd name="connsiteX443" fmla="*/ 9036939 w 10799257"/>
              <a:gd name="connsiteY443" fmla="*/ 2727902 h 3098304"/>
              <a:gd name="connsiteX444" fmla="*/ 9114675 w 10799257"/>
              <a:gd name="connsiteY444" fmla="*/ 2805639 h 3098304"/>
              <a:gd name="connsiteX445" fmla="*/ 9036939 w 10799257"/>
              <a:gd name="connsiteY445" fmla="*/ 2883377 h 3098304"/>
              <a:gd name="connsiteX446" fmla="*/ 8959202 w 10799257"/>
              <a:gd name="connsiteY446" fmla="*/ 2805639 h 3098304"/>
              <a:gd name="connsiteX447" fmla="*/ 9036939 w 10799257"/>
              <a:gd name="connsiteY447" fmla="*/ 2727902 h 3098304"/>
              <a:gd name="connsiteX448" fmla="*/ 8853421 w 10799257"/>
              <a:gd name="connsiteY448" fmla="*/ 2727902 h 3098304"/>
              <a:gd name="connsiteX449" fmla="*/ 8931158 w 10799257"/>
              <a:gd name="connsiteY449" fmla="*/ 2805639 h 3098304"/>
              <a:gd name="connsiteX450" fmla="*/ 8853421 w 10799257"/>
              <a:gd name="connsiteY450" fmla="*/ 2883377 h 3098304"/>
              <a:gd name="connsiteX451" fmla="*/ 8775685 w 10799257"/>
              <a:gd name="connsiteY451" fmla="*/ 2805639 h 3098304"/>
              <a:gd name="connsiteX452" fmla="*/ 8853421 w 10799257"/>
              <a:gd name="connsiteY452" fmla="*/ 2727902 h 3098304"/>
              <a:gd name="connsiteX453" fmla="*/ 8669908 w 10799257"/>
              <a:gd name="connsiteY453" fmla="*/ 2727902 h 3098304"/>
              <a:gd name="connsiteX454" fmla="*/ 8747645 w 10799257"/>
              <a:gd name="connsiteY454" fmla="*/ 2805639 h 3098304"/>
              <a:gd name="connsiteX455" fmla="*/ 8669908 w 10799257"/>
              <a:gd name="connsiteY455" fmla="*/ 2883377 h 3098304"/>
              <a:gd name="connsiteX456" fmla="*/ 8592171 w 10799257"/>
              <a:gd name="connsiteY456" fmla="*/ 2805639 h 3098304"/>
              <a:gd name="connsiteX457" fmla="*/ 8669908 w 10799257"/>
              <a:gd name="connsiteY457" fmla="*/ 2727902 h 3098304"/>
              <a:gd name="connsiteX458" fmla="*/ 8481684 w 10799257"/>
              <a:gd name="connsiteY458" fmla="*/ 2727902 h 3098304"/>
              <a:gd name="connsiteX459" fmla="*/ 8559421 w 10799257"/>
              <a:gd name="connsiteY459" fmla="*/ 2805639 h 3098304"/>
              <a:gd name="connsiteX460" fmla="*/ 8481684 w 10799257"/>
              <a:gd name="connsiteY460" fmla="*/ 2883377 h 3098304"/>
              <a:gd name="connsiteX461" fmla="*/ 8403948 w 10799257"/>
              <a:gd name="connsiteY461" fmla="*/ 2805639 h 3098304"/>
              <a:gd name="connsiteX462" fmla="*/ 8481684 w 10799257"/>
              <a:gd name="connsiteY462" fmla="*/ 2727902 h 3098304"/>
              <a:gd name="connsiteX463" fmla="*/ 8298167 w 10799257"/>
              <a:gd name="connsiteY463" fmla="*/ 2727902 h 3098304"/>
              <a:gd name="connsiteX464" fmla="*/ 8375904 w 10799257"/>
              <a:gd name="connsiteY464" fmla="*/ 2805639 h 3098304"/>
              <a:gd name="connsiteX465" fmla="*/ 8298167 w 10799257"/>
              <a:gd name="connsiteY465" fmla="*/ 2883377 h 3098304"/>
              <a:gd name="connsiteX466" fmla="*/ 8220430 w 10799257"/>
              <a:gd name="connsiteY466" fmla="*/ 2805639 h 3098304"/>
              <a:gd name="connsiteX467" fmla="*/ 8298167 w 10799257"/>
              <a:gd name="connsiteY467" fmla="*/ 2727902 h 3098304"/>
              <a:gd name="connsiteX468" fmla="*/ 8109949 w 10799257"/>
              <a:gd name="connsiteY468" fmla="*/ 2727902 h 3098304"/>
              <a:gd name="connsiteX469" fmla="*/ 8187686 w 10799257"/>
              <a:gd name="connsiteY469" fmla="*/ 2805639 h 3098304"/>
              <a:gd name="connsiteX470" fmla="*/ 8109949 w 10799257"/>
              <a:gd name="connsiteY470" fmla="*/ 2883377 h 3098304"/>
              <a:gd name="connsiteX471" fmla="*/ 8032212 w 10799257"/>
              <a:gd name="connsiteY471" fmla="*/ 2805639 h 3098304"/>
              <a:gd name="connsiteX472" fmla="*/ 8109949 w 10799257"/>
              <a:gd name="connsiteY472" fmla="*/ 2727902 h 3098304"/>
              <a:gd name="connsiteX473" fmla="*/ 7926434 w 10799257"/>
              <a:gd name="connsiteY473" fmla="*/ 2727902 h 3098304"/>
              <a:gd name="connsiteX474" fmla="*/ 8004171 w 10799257"/>
              <a:gd name="connsiteY474" fmla="*/ 2805639 h 3098304"/>
              <a:gd name="connsiteX475" fmla="*/ 7926434 w 10799257"/>
              <a:gd name="connsiteY475" fmla="*/ 2883377 h 3098304"/>
              <a:gd name="connsiteX476" fmla="*/ 7848697 w 10799257"/>
              <a:gd name="connsiteY476" fmla="*/ 2805639 h 3098304"/>
              <a:gd name="connsiteX477" fmla="*/ 7926434 w 10799257"/>
              <a:gd name="connsiteY477" fmla="*/ 2727902 h 3098304"/>
              <a:gd name="connsiteX478" fmla="*/ 7738213 w 10799257"/>
              <a:gd name="connsiteY478" fmla="*/ 2727902 h 3098304"/>
              <a:gd name="connsiteX479" fmla="*/ 7815950 w 10799257"/>
              <a:gd name="connsiteY479" fmla="*/ 2805639 h 3098304"/>
              <a:gd name="connsiteX480" fmla="*/ 7738213 w 10799257"/>
              <a:gd name="connsiteY480" fmla="*/ 2883377 h 3098304"/>
              <a:gd name="connsiteX481" fmla="*/ 7660476 w 10799257"/>
              <a:gd name="connsiteY481" fmla="*/ 2805639 h 3098304"/>
              <a:gd name="connsiteX482" fmla="*/ 7738213 w 10799257"/>
              <a:gd name="connsiteY482" fmla="*/ 2727902 h 3098304"/>
              <a:gd name="connsiteX483" fmla="*/ 7554696 w 10799257"/>
              <a:gd name="connsiteY483" fmla="*/ 2727902 h 3098304"/>
              <a:gd name="connsiteX484" fmla="*/ 7632433 w 10799257"/>
              <a:gd name="connsiteY484" fmla="*/ 2805639 h 3098304"/>
              <a:gd name="connsiteX485" fmla="*/ 7554696 w 10799257"/>
              <a:gd name="connsiteY485" fmla="*/ 2883377 h 3098304"/>
              <a:gd name="connsiteX486" fmla="*/ 7476959 w 10799257"/>
              <a:gd name="connsiteY486" fmla="*/ 2805639 h 3098304"/>
              <a:gd name="connsiteX487" fmla="*/ 7554696 w 10799257"/>
              <a:gd name="connsiteY487" fmla="*/ 2727902 h 3098304"/>
              <a:gd name="connsiteX488" fmla="*/ 7178251 w 10799257"/>
              <a:gd name="connsiteY488" fmla="*/ 2727902 h 3098304"/>
              <a:gd name="connsiteX489" fmla="*/ 7255988 w 10799257"/>
              <a:gd name="connsiteY489" fmla="*/ 2805639 h 3098304"/>
              <a:gd name="connsiteX490" fmla="*/ 7178251 w 10799257"/>
              <a:gd name="connsiteY490" fmla="*/ 2883377 h 3098304"/>
              <a:gd name="connsiteX491" fmla="*/ 7100514 w 10799257"/>
              <a:gd name="connsiteY491" fmla="*/ 2805639 h 3098304"/>
              <a:gd name="connsiteX492" fmla="*/ 7178251 w 10799257"/>
              <a:gd name="connsiteY492" fmla="*/ 2727902 h 3098304"/>
              <a:gd name="connsiteX493" fmla="*/ 6985327 w 10799257"/>
              <a:gd name="connsiteY493" fmla="*/ 2727902 h 3098304"/>
              <a:gd name="connsiteX494" fmla="*/ 7063064 w 10799257"/>
              <a:gd name="connsiteY494" fmla="*/ 2805639 h 3098304"/>
              <a:gd name="connsiteX495" fmla="*/ 6985327 w 10799257"/>
              <a:gd name="connsiteY495" fmla="*/ 2883377 h 3098304"/>
              <a:gd name="connsiteX496" fmla="*/ 6907590 w 10799257"/>
              <a:gd name="connsiteY496" fmla="*/ 2805639 h 3098304"/>
              <a:gd name="connsiteX497" fmla="*/ 6985327 w 10799257"/>
              <a:gd name="connsiteY497" fmla="*/ 2727902 h 3098304"/>
              <a:gd name="connsiteX498" fmla="*/ 6801810 w 10799257"/>
              <a:gd name="connsiteY498" fmla="*/ 2727902 h 3098304"/>
              <a:gd name="connsiteX499" fmla="*/ 6879546 w 10799257"/>
              <a:gd name="connsiteY499" fmla="*/ 2805639 h 3098304"/>
              <a:gd name="connsiteX500" fmla="*/ 6801810 w 10799257"/>
              <a:gd name="connsiteY500" fmla="*/ 2883377 h 3098304"/>
              <a:gd name="connsiteX501" fmla="*/ 6724073 w 10799257"/>
              <a:gd name="connsiteY501" fmla="*/ 2805639 h 3098304"/>
              <a:gd name="connsiteX502" fmla="*/ 6801810 w 10799257"/>
              <a:gd name="connsiteY502" fmla="*/ 2727902 h 3098304"/>
              <a:gd name="connsiteX503" fmla="*/ 6613588 w 10799257"/>
              <a:gd name="connsiteY503" fmla="*/ 2727902 h 3098304"/>
              <a:gd name="connsiteX504" fmla="*/ 6691325 w 10799257"/>
              <a:gd name="connsiteY504" fmla="*/ 2805639 h 3098304"/>
              <a:gd name="connsiteX505" fmla="*/ 6613588 w 10799257"/>
              <a:gd name="connsiteY505" fmla="*/ 2883377 h 3098304"/>
              <a:gd name="connsiteX506" fmla="*/ 6535852 w 10799257"/>
              <a:gd name="connsiteY506" fmla="*/ 2805639 h 3098304"/>
              <a:gd name="connsiteX507" fmla="*/ 6613588 w 10799257"/>
              <a:gd name="connsiteY507" fmla="*/ 2727902 h 3098304"/>
              <a:gd name="connsiteX508" fmla="*/ 6425367 w 10799257"/>
              <a:gd name="connsiteY508" fmla="*/ 2727902 h 3098304"/>
              <a:gd name="connsiteX509" fmla="*/ 6503104 w 10799257"/>
              <a:gd name="connsiteY509" fmla="*/ 2805639 h 3098304"/>
              <a:gd name="connsiteX510" fmla="*/ 6425367 w 10799257"/>
              <a:gd name="connsiteY510" fmla="*/ 2883377 h 3098304"/>
              <a:gd name="connsiteX511" fmla="*/ 6347631 w 10799257"/>
              <a:gd name="connsiteY511" fmla="*/ 2805639 h 3098304"/>
              <a:gd name="connsiteX512" fmla="*/ 6425367 w 10799257"/>
              <a:gd name="connsiteY512" fmla="*/ 2727902 h 3098304"/>
              <a:gd name="connsiteX513" fmla="*/ 6241850 w 10799257"/>
              <a:gd name="connsiteY513" fmla="*/ 2727902 h 3098304"/>
              <a:gd name="connsiteX514" fmla="*/ 6319587 w 10799257"/>
              <a:gd name="connsiteY514" fmla="*/ 2805639 h 3098304"/>
              <a:gd name="connsiteX515" fmla="*/ 6241850 w 10799257"/>
              <a:gd name="connsiteY515" fmla="*/ 2883377 h 3098304"/>
              <a:gd name="connsiteX516" fmla="*/ 6164113 w 10799257"/>
              <a:gd name="connsiteY516" fmla="*/ 2805639 h 3098304"/>
              <a:gd name="connsiteX517" fmla="*/ 6241850 w 10799257"/>
              <a:gd name="connsiteY517" fmla="*/ 2727902 h 3098304"/>
              <a:gd name="connsiteX518" fmla="*/ 6053630 w 10799257"/>
              <a:gd name="connsiteY518" fmla="*/ 2727902 h 3098304"/>
              <a:gd name="connsiteX519" fmla="*/ 6131367 w 10799257"/>
              <a:gd name="connsiteY519" fmla="*/ 2805639 h 3098304"/>
              <a:gd name="connsiteX520" fmla="*/ 6053630 w 10799257"/>
              <a:gd name="connsiteY520" fmla="*/ 2883377 h 3098304"/>
              <a:gd name="connsiteX521" fmla="*/ 5975894 w 10799257"/>
              <a:gd name="connsiteY521" fmla="*/ 2805639 h 3098304"/>
              <a:gd name="connsiteX522" fmla="*/ 6053630 w 10799257"/>
              <a:gd name="connsiteY522" fmla="*/ 2727902 h 3098304"/>
              <a:gd name="connsiteX523" fmla="*/ 5870113 w 10799257"/>
              <a:gd name="connsiteY523" fmla="*/ 2727902 h 3098304"/>
              <a:gd name="connsiteX524" fmla="*/ 5947850 w 10799257"/>
              <a:gd name="connsiteY524" fmla="*/ 2805639 h 3098304"/>
              <a:gd name="connsiteX525" fmla="*/ 5870113 w 10799257"/>
              <a:gd name="connsiteY525" fmla="*/ 2883377 h 3098304"/>
              <a:gd name="connsiteX526" fmla="*/ 5792376 w 10799257"/>
              <a:gd name="connsiteY526" fmla="*/ 2805639 h 3098304"/>
              <a:gd name="connsiteX527" fmla="*/ 5870113 w 10799257"/>
              <a:gd name="connsiteY527" fmla="*/ 2727902 h 3098304"/>
              <a:gd name="connsiteX528" fmla="*/ 5310163 w 10799257"/>
              <a:gd name="connsiteY528" fmla="*/ 2727902 h 3098304"/>
              <a:gd name="connsiteX529" fmla="*/ 5387896 w 10799257"/>
              <a:gd name="connsiteY529" fmla="*/ 2805639 h 3098304"/>
              <a:gd name="connsiteX530" fmla="*/ 5310163 w 10799257"/>
              <a:gd name="connsiteY530" fmla="*/ 2883377 h 3098304"/>
              <a:gd name="connsiteX531" fmla="*/ 5232434 w 10799257"/>
              <a:gd name="connsiteY531" fmla="*/ 2805639 h 3098304"/>
              <a:gd name="connsiteX532" fmla="*/ 5310163 w 10799257"/>
              <a:gd name="connsiteY532" fmla="*/ 2727902 h 3098304"/>
              <a:gd name="connsiteX533" fmla="*/ 5126655 w 10799257"/>
              <a:gd name="connsiteY533" fmla="*/ 2727902 h 3098304"/>
              <a:gd name="connsiteX534" fmla="*/ 5204391 w 10799257"/>
              <a:gd name="connsiteY534" fmla="*/ 2805639 h 3098304"/>
              <a:gd name="connsiteX535" fmla="*/ 5126655 w 10799257"/>
              <a:gd name="connsiteY535" fmla="*/ 2883377 h 3098304"/>
              <a:gd name="connsiteX536" fmla="*/ 5048924 w 10799257"/>
              <a:gd name="connsiteY536" fmla="*/ 2805639 h 3098304"/>
              <a:gd name="connsiteX537" fmla="*/ 5126655 w 10799257"/>
              <a:gd name="connsiteY537" fmla="*/ 2727902 h 3098304"/>
              <a:gd name="connsiteX538" fmla="*/ 4938438 w 10799257"/>
              <a:gd name="connsiteY538" fmla="*/ 2727902 h 3098304"/>
              <a:gd name="connsiteX539" fmla="*/ 5016170 w 10799257"/>
              <a:gd name="connsiteY539" fmla="*/ 2805639 h 3098304"/>
              <a:gd name="connsiteX540" fmla="*/ 4938438 w 10799257"/>
              <a:gd name="connsiteY540" fmla="*/ 2883377 h 3098304"/>
              <a:gd name="connsiteX541" fmla="*/ 4860701 w 10799257"/>
              <a:gd name="connsiteY541" fmla="*/ 2805639 h 3098304"/>
              <a:gd name="connsiteX542" fmla="*/ 4938438 w 10799257"/>
              <a:gd name="connsiteY542" fmla="*/ 2727902 h 3098304"/>
              <a:gd name="connsiteX543" fmla="*/ 2510472 w 10799257"/>
              <a:gd name="connsiteY543" fmla="*/ 2727902 h 3098304"/>
              <a:gd name="connsiteX544" fmla="*/ 2588214 w 10799257"/>
              <a:gd name="connsiteY544" fmla="*/ 2805639 h 3098304"/>
              <a:gd name="connsiteX545" fmla="*/ 2510472 w 10799257"/>
              <a:gd name="connsiteY545" fmla="*/ 2883377 h 3098304"/>
              <a:gd name="connsiteX546" fmla="*/ 2432721 w 10799257"/>
              <a:gd name="connsiteY546" fmla="*/ 2805639 h 3098304"/>
              <a:gd name="connsiteX547" fmla="*/ 2510472 w 10799257"/>
              <a:gd name="connsiteY547" fmla="*/ 2727902 h 3098304"/>
              <a:gd name="connsiteX548" fmla="*/ 2317522 w 10799257"/>
              <a:gd name="connsiteY548" fmla="*/ 2727902 h 3098304"/>
              <a:gd name="connsiteX549" fmla="*/ 2395263 w 10799257"/>
              <a:gd name="connsiteY549" fmla="*/ 2805639 h 3098304"/>
              <a:gd name="connsiteX550" fmla="*/ 2317522 w 10799257"/>
              <a:gd name="connsiteY550" fmla="*/ 2883377 h 3098304"/>
              <a:gd name="connsiteX551" fmla="*/ 2239793 w 10799257"/>
              <a:gd name="connsiteY551" fmla="*/ 2805639 h 3098304"/>
              <a:gd name="connsiteX552" fmla="*/ 2317522 w 10799257"/>
              <a:gd name="connsiteY552" fmla="*/ 2727902 h 3098304"/>
              <a:gd name="connsiteX553" fmla="*/ 2129319 w 10799257"/>
              <a:gd name="connsiteY553" fmla="*/ 2727902 h 3098304"/>
              <a:gd name="connsiteX554" fmla="*/ 2207048 w 10799257"/>
              <a:gd name="connsiteY554" fmla="*/ 2805639 h 3098304"/>
              <a:gd name="connsiteX555" fmla="*/ 2129319 w 10799257"/>
              <a:gd name="connsiteY555" fmla="*/ 2883377 h 3098304"/>
              <a:gd name="connsiteX556" fmla="*/ 2051590 w 10799257"/>
              <a:gd name="connsiteY556" fmla="*/ 2805639 h 3098304"/>
              <a:gd name="connsiteX557" fmla="*/ 2129319 w 10799257"/>
              <a:gd name="connsiteY557" fmla="*/ 2727902 h 3098304"/>
              <a:gd name="connsiteX558" fmla="*/ 1941117 w 10799257"/>
              <a:gd name="connsiteY558" fmla="*/ 2727902 h 3098304"/>
              <a:gd name="connsiteX559" fmla="*/ 2018846 w 10799257"/>
              <a:gd name="connsiteY559" fmla="*/ 2805639 h 3098304"/>
              <a:gd name="connsiteX560" fmla="*/ 1941117 w 10799257"/>
              <a:gd name="connsiteY560" fmla="*/ 2883377 h 3098304"/>
              <a:gd name="connsiteX561" fmla="*/ 1863389 w 10799257"/>
              <a:gd name="connsiteY561" fmla="*/ 2805639 h 3098304"/>
              <a:gd name="connsiteX562" fmla="*/ 1941117 w 10799257"/>
              <a:gd name="connsiteY562" fmla="*/ 2727902 h 3098304"/>
              <a:gd name="connsiteX563" fmla="*/ 1757621 w 10799257"/>
              <a:gd name="connsiteY563" fmla="*/ 2727902 h 3098304"/>
              <a:gd name="connsiteX564" fmla="*/ 1835350 w 10799257"/>
              <a:gd name="connsiteY564" fmla="*/ 2805639 h 3098304"/>
              <a:gd name="connsiteX565" fmla="*/ 1757621 w 10799257"/>
              <a:gd name="connsiteY565" fmla="*/ 2883377 h 3098304"/>
              <a:gd name="connsiteX566" fmla="*/ 1679891 w 10799257"/>
              <a:gd name="connsiteY566" fmla="*/ 2805639 h 3098304"/>
              <a:gd name="connsiteX567" fmla="*/ 1757621 w 10799257"/>
              <a:gd name="connsiteY567" fmla="*/ 2727902 h 3098304"/>
              <a:gd name="connsiteX568" fmla="*/ 1569401 w 10799257"/>
              <a:gd name="connsiteY568" fmla="*/ 2727902 h 3098304"/>
              <a:gd name="connsiteX569" fmla="*/ 1647145 w 10799257"/>
              <a:gd name="connsiteY569" fmla="*/ 2805639 h 3098304"/>
              <a:gd name="connsiteX570" fmla="*/ 1569401 w 10799257"/>
              <a:gd name="connsiteY570" fmla="*/ 2883377 h 3098304"/>
              <a:gd name="connsiteX571" fmla="*/ 1491668 w 10799257"/>
              <a:gd name="connsiteY571" fmla="*/ 2805639 h 3098304"/>
              <a:gd name="connsiteX572" fmla="*/ 1569401 w 10799257"/>
              <a:gd name="connsiteY572" fmla="*/ 2727902 h 3098304"/>
              <a:gd name="connsiteX573" fmla="*/ 1385867 w 10799257"/>
              <a:gd name="connsiteY573" fmla="*/ 2727902 h 3098304"/>
              <a:gd name="connsiteX574" fmla="*/ 1463620 w 10799257"/>
              <a:gd name="connsiteY574" fmla="*/ 2805639 h 3098304"/>
              <a:gd name="connsiteX575" fmla="*/ 1385867 w 10799257"/>
              <a:gd name="connsiteY575" fmla="*/ 2883377 h 3098304"/>
              <a:gd name="connsiteX576" fmla="*/ 1308114 w 10799257"/>
              <a:gd name="connsiteY576" fmla="*/ 2805639 h 3098304"/>
              <a:gd name="connsiteX577" fmla="*/ 1385867 w 10799257"/>
              <a:gd name="connsiteY577" fmla="*/ 2727902 h 3098304"/>
              <a:gd name="connsiteX578" fmla="*/ 10538005 w 10799257"/>
              <a:gd name="connsiteY578" fmla="*/ 2558507 h 3098304"/>
              <a:gd name="connsiteX579" fmla="*/ 10615742 w 10799257"/>
              <a:gd name="connsiteY579" fmla="*/ 2636244 h 3098304"/>
              <a:gd name="connsiteX580" fmla="*/ 10538005 w 10799257"/>
              <a:gd name="connsiteY580" fmla="*/ 2713981 h 3098304"/>
              <a:gd name="connsiteX581" fmla="*/ 10460268 w 10799257"/>
              <a:gd name="connsiteY581" fmla="*/ 2636244 h 3098304"/>
              <a:gd name="connsiteX582" fmla="*/ 10538005 w 10799257"/>
              <a:gd name="connsiteY582" fmla="*/ 2558507 h 3098304"/>
              <a:gd name="connsiteX583" fmla="*/ 10349782 w 10799257"/>
              <a:gd name="connsiteY583" fmla="*/ 2558507 h 3098304"/>
              <a:gd name="connsiteX584" fmla="*/ 10427519 w 10799257"/>
              <a:gd name="connsiteY584" fmla="*/ 2636244 h 3098304"/>
              <a:gd name="connsiteX585" fmla="*/ 10349782 w 10799257"/>
              <a:gd name="connsiteY585" fmla="*/ 2713981 h 3098304"/>
              <a:gd name="connsiteX586" fmla="*/ 10272045 w 10799257"/>
              <a:gd name="connsiteY586" fmla="*/ 2636244 h 3098304"/>
              <a:gd name="connsiteX587" fmla="*/ 10349782 w 10799257"/>
              <a:gd name="connsiteY587" fmla="*/ 2558507 h 3098304"/>
              <a:gd name="connsiteX588" fmla="*/ 10166265 w 10799257"/>
              <a:gd name="connsiteY588" fmla="*/ 2558507 h 3098304"/>
              <a:gd name="connsiteX589" fmla="*/ 10244002 w 10799257"/>
              <a:gd name="connsiteY589" fmla="*/ 2636244 h 3098304"/>
              <a:gd name="connsiteX590" fmla="*/ 10166265 w 10799257"/>
              <a:gd name="connsiteY590" fmla="*/ 2713981 h 3098304"/>
              <a:gd name="connsiteX591" fmla="*/ 10088528 w 10799257"/>
              <a:gd name="connsiteY591" fmla="*/ 2636244 h 3098304"/>
              <a:gd name="connsiteX592" fmla="*/ 10166265 w 10799257"/>
              <a:gd name="connsiteY592" fmla="*/ 2558507 h 3098304"/>
              <a:gd name="connsiteX593" fmla="*/ 9978044 w 10799257"/>
              <a:gd name="connsiteY593" fmla="*/ 2558507 h 3098304"/>
              <a:gd name="connsiteX594" fmla="*/ 10055781 w 10799257"/>
              <a:gd name="connsiteY594" fmla="*/ 2636244 h 3098304"/>
              <a:gd name="connsiteX595" fmla="*/ 9978044 w 10799257"/>
              <a:gd name="connsiteY595" fmla="*/ 2713981 h 3098304"/>
              <a:gd name="connsiteX596" fmla="*/ 9900307 w 10799257"/>
              <a:gd name="connsiteY596" fmla="*/ 2636244 h 3098304"/>
              <a:gd name="connsiteX597" fmla="*/ 9978044 w 10799257"/>
              <a:gd name="connsiteY597" fmla="*/ 2558507 h 3098304"/>
              <a:gd name="connsiteX598" fmla="*/ 9789823 w 10799257"/>
              <a:gd name="connsiteY598" fmla="*/ 2558507 h 3098304"/>
              <a:gd name="connsiteX599" fmla="*/ 9867560 w 10799257"/>
              <a:gd name="connsiteY599" fmla="*/ 2636244 h 3098304"/>
              <a:gd name="connsiteX600" fmla="*/ 9789823 w 10799257"/>
              <a:gd name="connsiteY600" fmla="*/ 2713981 h 3098304"/>
              <a:gd name="connsiteX601" fmla="*/ 9712086 w 10799257"/>
              <a:gd name="connsiteY601" fmla="*/ 2636244 h 3098304"/>
              <a:gd name="connsiteX602" fmla="*/ 9789823 w 10799257"/>
              <a:gd name="connsiteY602" fmla="*/ 2558507 h 3098304"/>
              <a:gd name="connsiteX603" fmla="*/ 9606308 w 10799257"/>
              <a:gd name="connsiteY603" fmla="*/ 2558507 h 3098304"/>
              <a:gd name="connsiteX604" fmla="*/ 9684045 w 10799257"/>
              <a:gd name="connsiteY604" fmla="*/ 2636244 h 3098304"/>
              <a:gd name="connsiteX605" fmla="*/ 9606308 w 10799257"/>
              <a:gd name="connsiteY605" fmla="*/ 2713981 h 3098304"/>
              <a:gd name="connsiteX606" fmla="*/ 9528571 w 10799257"/>
              <a:gd name="connsiteY606" fmla="*/ 2636244 h 3098304"/>
              <a:gd name="connsiteX607" fmla="*/ 9606308 w 10799257"/>
              <a:gd name="connsiteY607" fmla="*/ 2558507 h 3098304"/>
              <a:gd name="connsiteX608" fmla="*/ 9413381 w 10799257"/>
              <a:gd name="connsiteY608" fmla="*/ 2558507 h 3098304"/>
              <a:gd name="connsiteX609" fmla="*/ 9491118 w 10799257"/>
              <a:gd name="connsiteY609" fmla="*/ 2636244 h 3098304"/>
              <a:gd name="connsiteX610" fmla="*/ 9413381 w 10799257"/>
              <a:gd name="connsiteY610" fmla="*/ 2713981 h 3098304"/>
              <a:gd name="connsiteX611" fmla="*/ 9335644 w 10799257"/>
              <a:gd name="connsiteY611" fmla="*/ 2636244 h 3098304"/>
              <a:gd name="connsiteX612" fmla="*/ 9413381 w 10799257"/>
              <a:gd name="connsiteY612" fmla="*/ 2558507 h 3098304"/>
              <a:gd name="connsiteX613" fmla="*/ 9234570 w 10799257"/>
              <a:gd name="connsiteY613" fmla="*/ 2558507 h 3098304"/>
              <a:gd name="connsiteX614" fmla="*/ 9312307 w 10799257"/>
              <a:gd name="connsiteY614" fmla="*/ 2636244 h 3098304"/>
              <a:gd name="connsiteX615" fmla="*/ 9234570 w 10799257"/>
              <a:gd name="connsiteY615" fmla="*/ 2713981 h 3098304"/>
              <a:gd name="connsiteX616" fmla="*/ 9156833 w 10799257"/>
              <a:gd name="connsiteY616" fmla="*/ 2636244 h 3098304"/>
              <a:gd name="connsiteX617" fmla="*/ 9234570 w 10799257"/>
              <a:gd name="connsiteY617" fmla="*/ 2558507 h 3098304"/>
              <a:gd name="connsiteX618" fmla="*/ 9036939 w 10799257"/>
              <a:gd name="connsiteY618" fmla="*/ 2558507 h 3098304"/>
              <a:gd name="connsiteX619" fmla="*/ 9114675 w 10799257"/>
              <a:gd name="connsiteY619" fmla="*/ 2636244 h 3098304"/>
              <a:gd name="connsiteX620" fmla="*/ 9036939 w 10799257"/>
              <a:gd name="connsiteY620" fmla="*/ 2713981 h 3098304"/>
              <a:gd name="connsiteX621" fmla="*/ 8959202 w 10799257"/>
              <a:gd name="connsiteY621" fmla="*/ 2636244 h 3098304"/>
              <a:gd name="connsiteX622" fmla="*/ 9036939 w 10799257"/>
              <a:gd name="connsiteY622" fmla="*/ 2558507 h 3098304"/>
              <a:gd name="connsiteX623" fmla="*/ 8853421 w 10799257"/>
              <a:gd name="connsiteY623" fmla="*/ 2558507 h 3098304"/>
              <a:gd name="connsiteX624" fmla="*/ 8931158 w 10799257"/>
              <a:gd name="connsiteY624" fmla="*/ 2636244 h 3098304"/>
              <a:gd name="connsiteX625" fmla="*/ 8853421 w 10799257"/>
              <a:gd name="connsiteY625" fmla="*/ 2713981 h 3098304"/>
              <a:gd name="connsiteX626" fmla="*/ 8775685 w 10799257"/>
              <a:gd name="connsiteY626" fmla="*/ 2636244 h 3098304"/>
              <a:gd name="connsiteX627" fmla="*/ 8853421 w 10799257"/>
              <a:gd name="connsiteY627" fmla="*/ 2558507 h 3098304"/>
              <a:gd name="connsiteX628" fmla="*/ 8669908 w 10799257"/>
              <a:gd name="connsiteY628" fmla="*/ 2558507 h 3098304"/>
              <a:gd name="connsiteX629" fmla="*/ 8747645 w 10799257"/>
              <a:gd name="connsiteY629" fmla="*/ 2636244 h 3098304"/>
              <a:gd name="connsiteX630" fmla="*/ 8669908 w 10799257"/>
              <a:gd name="connsiteY630" fmla="*/ 2713981 h 3098304"/>
              <a:gd name="connsiteX631" fmla="*/ 8592171 w 10799257"/>
              <a:gd name="connsiteY631" fmla="*/ 2636244 h 3098304"/>
              <a:gd name="connsiteX632" fmla="*/ 8669908 w 10799257"/>
              <a:gd name="connsiteY632" fmla="*/ 2558507 h 3098304"/>
              <a:gd name="connsiteX633" fmla="*/ 8481684 w 10799257"/>
              <a:gd name="connsiteY633" fmla="*/ 2558507 h 3098304"/>
              <a:gd name="connsiteX634" fmla="*/ 8559421 w 10799257"/>
              <a:gd name="connsiteY634" fmla="*/ 2636244 h 3098304"/>
              <a:gd name="connsiteX635" fmla="*/ 8481684 w 10799257"/>
              <a:gd name="connsiteY635" fmla="*/ 2713981 h 3098304"/>
              <a:gd name="connsiteX636" fmla="*/ 8403948 w 10799257"/>
              <a:gd name="connsiteY636" fmla="*/ 2636244 h 3098304"/>
              <a:gd name="connsiteX637" fmla="*/ 8481684 w 10799257"/>
              <a:gd name="connsiteY637" fmla="*/ 2558507 h 3098304"/>
              <a:gd name="connsiteX638" fmla="*/ 8298167 w 10799257"/>
              <a:gd name="connsiteY638" fmla="*/ 2558507 h 3098304"/>
              <a:gd name="connsiteX639" fmla="*/ 8375904 w 10799257"/>
              <a:gd name="connsiteY639" fmla="*/ 2636244 h 3098304"/>
              <a:gd name="connsiteX640" fmla="*/ 8298167 w 10799257"/>
              <a:gd name="connsiteY640" fmla="*/ 2713981 h 3098304"/>
              <a:gd name="connsiteX641" fmla="*/ 8220430 w 10799257"/>
              <a:gd name="connsiteY641" fmla="*/ 2636244 h 3098304"/>
              <a:gd name="connsiteX642" fmla="*/ 8298167 w 10799257"/>
              <a:gd name="connsiteY642" fmla="*/ 2558507 h 3098304"/>
              <a:gd name="connsiteX643" fmla="*/ 8109949 w 10799257"/>
              <a:gd name="connsiteY643" fmla="*/ 2558507 h 3098304"/>
              <a:gd name="connsiteX644" fmla="*/ 8187686 w 10799257"/>
              <a:gd name="connsiteY644" fmla="*/ 2636244 h 3098304"/>
              <a:gd name="connsiteX645" fmla="*/ 8109949 w 10799257"/>
              <a:gd name="connsiteY645" fmla="*/ 2713981 h 3098304"/>
              <a:gd name="connsiteX646" fmla="*/ 8032212 w 10799257"/>
              <a:gd name="connsiteY646" fmla="*/ 2636244 h 3098304"/>
              <a:gd name="connsiteX647" fmla="*/ 8109949 w 10799257"/>
              <a:gd name="connsiteY647" fmla="*/ 2558507 h 3098304"/>
              <a:gd name="connsiteX648" fmla="*/ 7926434 w 10799257"/>
              <a:gd name="connsiteY648" fmla="*/ 2558507 h 3098304"/>
              <a:gd name="connsiteX649" fmla="*/ 8004171 w 10799257"/>
              <a:gd name="connsiteY649" fmla="*/ 2636244 h 3098304"/>
              <a:gd name="connsiteX650" fmla="*/ 7926434 w 10799257"/>
              <a:gd name="connsiteY650" fmla="*/ 2713981 h 3098304"/>
              <a:gd name="connsiteX651" fmla="*/ 7848697 w 10799257"/>
              <a:gd name="connsiteY651" fmla="*/ 2636244 h 3098304"/>
              <a:gd name="connsiteX652" fmla="*/ 7926434 w 10799257"/>
              <a:gd name="connsiteY652" fmla="*/ 2558507 h 3098304"/>
              <a:gd name="connsiteX653" fmla="*/ 7554693 w 10799257"/>
              <a:gd name="connsiteY653" fmla="*/ 2558507 h 3098304"/>
              <a:gd name="connsiteX654" fmla="*/ 7632430 w 10799257"/>
              <a:gd name="connsiteY654" fmla="*/ 2636244 h 3098304"/>
              <a:gd name="connsiteX655" fmla="*/ 7554693 w 10799257"/>
              <a:gd name="connsiteY655" fmla="*/ 2713981 h 3098304"/>
              <a:gd name="connsiteX656" fmla="*/ 7476957 w 10799257"/>
              <a:gd name="connsiteY656" fmla="*/ 2636244 h 3098304"/>
              <a:gd name="connsiteX657" fmla="*/ 7554693 w 10799257"/>
              <a:gd name="connsiteY657" fmla="*/ 2558507 h 3098304"/>
              <a:gd name="connsiteX658" fmla="*/ 7366472 w 10799257"/>
              <a:gd name="connsiteY658" fmla="*/ 2558507 h 3098304"/>
              <a:gd name="connsiteX659" fmla="*/ 7444209 w 10799257"/>
              <a:gd name="connsiteY659" fmla="*/ 2636244 h 3098304"/>
              <a:gd name="connsiteX660" fmla="*/ 7366472 w 10799257"/>
              <a:gd name="connsiteY660" fmla="*/ 2713981 h 3098304"/>
              <a:gd name="connsiteX661" fmla="*/ 7288736 w 10799257"/>
              <a:gd name="connsiteY661" fmla="*/ 2636244 h 3098304"/>
              <a:gd name="connsiteX662" fmla="*/ 7366472 w 10799257"/>
              <a:gd name="connsiteY662" fmla="*/ 2558507 h 3098304"/>
              <a:gd name="connsiteX663" fmla="*/ 7178251 w 10799257"/>
              <a:gd name="connsiteY663" fmla="*/ 2558507 h 3098304"/>
              <a:gd name="connsiteX664" fmla="*/ 7255988 w 10799257"/>
              <a:gd name="connsiteY664" fmla="*/ 2636244 h 3098304"/>
              <a:gd name="connsiteX665" fmla="*/ 7178251 w 10799257"/>
              <a:gd name="connsiteY665" fmla="*/ 2713981 h 3098304"/>
              <a:gd name="connsiteX666" fmla="*/ 7100514 w 10799257"/>
              <a:gd name="connsiteY666" fmla="*/ 2636244 h 3098304"/>
              <a:gd name="connsiteX667" fmla="*/ 7178251 w 10799257"/>
              <a:gd name="connsiteY667" fmla="*/ 2558507 h 3098304"/>
              <a:gd name="connsiteX668" fmla="*/ 6985327 w 10799257"/>
              <a:gd name="connsiteY668" fmla="*/ 2558507 h 3098304"/>
              <a:gd name="connsiteX669" fmla="*/ 7063064 w 10799257"/>
              <a:gd name="connsiteY669" fmla="*/ 2636244 h 3098304"/>
              <a:gd name="connsiteX670" fmla="*/ 6985327 w 10799257"/>
              <a:gd name="connsiteY670" fmla="*/ 2713981 h 3098304"/>
              <a:gd name="connsiteX671" fmla="*/ 6907590 w 10799257"/>
              <a:gd name="connsiteY671" fmla="*/ 2636244 h 3098304"/>
              <a:gd name="connsiteX672" fmla="*/ 6985327 w 10799257"/>
              <a:gd name="connsiteY672" fmla="*/ 2558507 h 3098304"/>
              <a:gd name="connsiteX673" fmla="*/ 6801810 w 10799257"/>
              <a:gd name="connsiteY673" fmla="*/ 2558507 h 3098304"/>
              <a:gd name="connsiteX674" fmla="*/ 6879546 w 10799257"/>
              <a:gd name="connsiteY674" fmla="*/ 2636244 h 3098304"/>
              <a:gd name="connsiteX675" fmla="*/ 6801810 w 10799257"/>
              <a:gd name="connsiteY675" fmla="*/ 2713981 h 3098304"/>
              <a:gd name="connsiteX676" fmla="*/ 6724073 w 10799257"/>
              <a:gd name="connsiteY676" fmla="*/ 2636244 h 3098304"/>
              <a:gd name="connsiteX677" fmla="*/ 6801810 w 10799257"/>
              <a:gd name="connsiteY677" fmla="*/ 2558507 h 3098304"/>
              <a:gd name="connsiteX678" fmla="*/ 6425367 w 10799257"/>
              <a:gd name="connsiteY678" fmla="*/ 2558507 h 3098304"/>
              <a:gd name="connsiteX679" fmla="*/ 6503104 w 10799257"/>
              <a:gd name="connsiteY679" fmla="*/ 2636244 h 3098304"/>
              <a:gd name="connsiteX680" fmla="*/ 6425367 w 10799257"/>
              <a:gd name="connsiteY680" fmla="*/ 2713981 h 3098304"/>
              <a:gd name="connsiteX681" fmla="*/ 6347631 w 10799257"/>
              <a:gd name="connsiteY681" fmla="*/ 2636244 h 3098304"/>
              <a:gd name="connsiteX682" fmla="*/ 6425367 w 10799257"/>
              <a:gd name="connsiteY682" fmla="*/ 2558507 h 3098304"/>
              <a:gd name="connsiteX683" fmla="*/ 6241850 w 10799257"/>
              <a:gd name="connsiteY683" fmla="*/ 2558507 h 3098304"/>
              <a:gd name="connsiteX684" fmla="*/ 6319587 w 10799257"/>
              <a:gd name="connsiteY684" fmla="*/ 2636244 h 3098304"/>
              <a:gd name="connsiteX685" fmla="*/ 6241850 w 10799257"/>
              <a:gd name="connsiteY685" fmla="*/ 2713981 h 3098304"/>
              <a:gd name="connsiteX686" fmla="*/ 6164113 w 10799257"/>
              <a:gd name="connsiteY686" fmla="*/ 2636244 h 3098304"/>
              <a:gd name="connsiteX687" fmla="*/ 6241850 w 10799257"/>
              <a:gd name="connsiteY687" fmla="*/ 2558507 h 3098304"/>
              <a:gd name="connsiteX688" fmla="*/ 6053630 w 10799257"/>
              <a:gd name="connsiteY688" fmla="*/ 2558507 h 3098304"/>
              <a:gd name="connsiteX689" fmla="*/ 6131367 w 10799257"/>
              <a:gd name="connsiteY689" fmla="*/ 2636244 h 3098304"/>
              <a:gd name="connsiteX690" fmla="*/ 6053630 w 10799257"/>
              <a:gd name="connsiteY690" fmla="*/ 2713981 h 3098304"/>
              <a:gd name="connsiteX691" fmla="*/ 5975894 w 10799257"/>
              <a:gd name="connsiteY691" fmla="*/ 2636244 h 3098304"/>
              <a:gd name="connsiteX692" fmla="*/ 6053630 w 10799257"/>
              <a:gd name="connsiteY692" fmla="*/ 2558507 h 3098304"/>
              <a:gd name="connsiteX693" fmla="*/ 5870113 w 10799257"/>
              <a:gd name="connsiteY693" fmla="*/ 2558507 h 3098304"/>
              <a:gd name="connsiteX694" fmla="*/ 5947850 w 10799257"/>
              <a:gd name="connsiteY694" fmla="*/ 2636244 h 3098304"/>
              <a:gd name="connsiteX695" fmla="*/ 5870113 w 10799257"/>
              <a:gd name="connsiteY695" fmla="*/ 2713981 h 3098304"/>
              <a:gd name="connsiteX696" fmla="*/ 5792376 w 10799257"/>
              <a:gd name="connsiteY696" fmla="*/ 2636244 h 3098304"/>
              <a:gd name="connsiteX697" fmla="*/ 5870113 w 10799257"/>
              <a:gd name="connsiteY697" fmla="*/ 2558507 h 3098304"/>
              <a:gd name="connsiteX698" fmla="*/ 5681926 w 10799257"/>
              <a:gd name="connsiteY698" fmla="*/ 2558507 h 3098304"/>
              <a:gd name="connsiteX699" fmla="*/ 5759629 w 10799257"/>
              <a:gd name="connsiteY699" fmla="*/ 2636244 h 3098304"/>
              <a:gd name="connsiteX700" fmla="*/ 5681926 w 10799257"/>
              <a:gd name="connsiteY700" fmla="*/ 2713981 h 3098304"/>
              <a:gd name="connsiteX701" fmla="*/ 5604173 w 10799257"/>
              <a:gd name="connsiteY701" fmla="*/ 2636244 h 3098304"/>
              <a:gd name="connsiteX702" fmla="*/ 5681926 w 10799257"/>
              <a:gd name="connsiteY702" fmla="*/ 2558507 h 3098304"/>
              <a:gd name="connsiteX703" fmla="*/ 5498378 w 10799257"/>
              <a:gd name="connsiteY703" fmla="*/ 2558507 h 3098304"/>
              <a:gd name="connsiteX704" fmla="*/ 5576123 w 10799257"/>
              <a:gd name="connsiteY704" fmla="*/ 2636244 h 3098304"/>
              <a:gd name="connsiteX705" fmla="*/ 5498378 w 10799257"/>
              <a:gd name="connsiteY705" fmla="*/ 2713981 h 3098304"/>
              <a:gd name="connsiteX706" fmla="*/ 5420640 w 10799257"/>
              <a:gd name="connsiteY706" fmla="*/ 2636244 h 3098304"/>
              <a:gd name="connsiteX707" fmla="*/ 5498378 w 10799257"/>
              <a:gd name="connsiteY707" fmla="*/ 2558507 h 3098304"/>
              <a:gd name="connsiteX708" fmla="*/ 5310163 w 10799257"/>
              <a:gd name="connsiteY708" fmla="*/ 2558507 h 3098304"/>
              <a:gd name="connsiteX709" fmla="*/ 5387897 w 10799257"/>
              <a:gd name="connsiteY709" fmla="*/ 2636244 h 3098304"/>
              <a:gd name="connsiteX710" fmla="*/ 5310163 w 10799257"/>
              <a:gd name="connsiteY710" fmla="*/ 2713981 h 3098304"/>
              <a:gd name="connsiteX711" fmla="*/ 5232437 w 10799257"/>
              <a:gd name="connsiteY711" fmla="*/ 2636244 h 3098304"/>
              <a:gd name="connsiteX712" fmla="*/ 5310163 w 10799257"/>
              <a:gd name="connsiteY712" fmla="*/ 2558507 h 3098304"/>
              <a:gd name="connsiteX713" fmla="*/ 2689303 w 10799257"/>
              <a:gd name="connsiteY713" fmla="*/ 2558507 h 3098304"/>
              <a:gd name="connsiteX714" fmla="*/ 2767023 w 10799257"/>
              <a:gd name="connsiteY714" fmla="*/ 2636244 h 3098304"/>
              <a:gd name="connsiteX715" fmla="*/ 2689303 w 10799257"/>
              <a:gd name="connsiteY715" fmla="*/ 2713981 h 3098304"/>
              <a:gd name="connsiteX716" fmla="*/ 2611568 w 10799257"/>
              <a:gd name="connsiteY716" fmla="*/ 2636244 h 3098304"/>
              <a:gd name="connsiteX717" fmla="*/ 2689303 w 10799257"/>
              <a:gd name="connsiteY717" fmla="*/ 2558507 h 3098304"/>
              <a:gd name="connsiteX718" fmla="*/ 2510482 w 10799257"/>
              <a:gd name="connsiteY718" fmla="*/ 2558507 h 3098304"/>
              <a:gd name="connsiteX719" fmla="*/ 2588226 w 10799257"/>
              <a:gd name="connsiteY719" fmla="*/ 2636244 h 3098304"/>
              <a:gd name="connsiteX720" fmla="*/ 2510482 w 10799257"/>
              <a:gd name="connsiteY720" fmla="*/ 2713981 h 3098304"/>
              <a:gd name="connsiteX721" fmla="*/ 2432727 w 10799257"/>
              <a:gd name="connsiteY721" fmla="*/ 2636244 h 3098304"/>
              <a:gd name="connsiteX722" fmla="*/ 2510482 w 10799257"/>
              <a:gd name="connsiteY722" fmla="*/ 2558507 h 3098304"/>
              <a:gd name="connsiteX723" fmla="*/ 2317528 w 10799257"/>
              <a:gd name="connsiteY723" fmla="*/ 2558507 h 3098304"/>
              <a:gd name="connsiteX724" fmla="*/ 2395269 w 10799257"/>
              <a:gd name="connsiteY724" fmla="*/ 2636244 h 3098304"/>
              <a:gd name="connsiteX725" fmla="*/ 2317528 w 10799257"/>
              <a:gd name="connsiteY725" fmla="*/ 2713981 h 3098304"/>
              <a:gd name="connsiteX726" fmla="*/ 2239801 w 10799257"/>
              <a:gd name="connsiteY726" fmla="*/ 2636244 h 3098304"/>
              <a:gd name="connsiteX727" fmla="*/ 2317528 w 10799257"/>
              <a:gd name="connsiteY727" fmla="*/ 2558507 h 3098304"/>
              <a:gd name="connsiteX728" fmla="*/ 2129326 w 10799257"/>
              <a:gd name="connsiteY728" fmla="*/ 2558507 h 3098304"/>
              <a:gd name="connsiteX729" fmla="*/ 2207055 w 10799257"/>
              <a:gd name="connsiteY729" fmla="*/ 2636244 h 3098304"/>
              <a:gd name="connsiteX730" fmla="*/ 2129326 w 10799257"/>
              <a:gd name="connsiteY730" fmla="*/ 2713981 h 3098304"/>
              <a:gd name="connsiteX731" fmla="*/ 2051598 w 10799257"/>
              <a:gd name="connsiteY731" fmla="*/ 2636244 h 3098304"/>
              <a:gd name="connsiteX732" fmla="*/ 2129326 w 10799257"/>
              <a:gd name="connsiteY732" fmla="*/ 2558507 h 3098304"/>
              <a:gd name="connsiteX733" fmla="*/ 1941126 w 10799257"/>
              <a:gd name="connsiteY733" fmla="*/ 2558507 h 3098304"/>
              <a:gd name="connsiteX734" fmla="*/ 2018854 w 10799257"/>
              <a:gd name="connsiteY734" fmla="*/ 2636244 h 3098304"/>
              <a:gd name="connsiteX735" fmla="*/ 1941126 w 10799257"/>
              <a:gd name="connsiteY735" fmla="*/ 2713981 h 3098304"/>
              <a:gd name="connsiteX736" fmla="*/ 1863399 w 10799257"/>
              <a:gd name="connsiteY736" fmla="*/ 2636244 h 3098304"/>
              <a:gd name="connsiteX737" fmla="*/ 1941126 w 10799257"/>
              <a:gd name="connsiteY737" fmla="*/ 2558507 h 3098304"/>
              <a:gd name="connsiteX738" fmla="*/ 1757630 w 10799257"/>
              <a:gd name="connsiteY738" fmla="*/ 2558507 h 3098304"/>
              <a:gd name="connsiteX739" fmla="*/ 1835361 w 10799257"/>
              <a:gd name="connsiteY739" fmla="*/ 2636244 h 3098304"/>
              <a:gd name="connsiteX740" fmla="*/ 1757630 w 10799257"/>
              <a:gd name="connsiteY740" fmla="*/ 2713981 h 3098304"/>
              <a:gd name="connsiteX741" fmla="*/ 1679901 w 10799257"/>
              <a:gd name="connsiteY741" fmla="*/ 2636244 h 3098304"/>
              <a:gd name="connsiteX742" fmla="*/ 1757630 w 10799257"/>
              <a:gd name="connsiteY742" fmla="*/ 2558507 h 3098304"/>
              <a:gd name="connsiteX743" fmla="*/ 1569401 w 10799257"/>
              <a:gd name="connsiteY743" fmla="*/ 2558507 h 3098304"/>
              <a:gd name="connsiteX744" fmla="*/ 1647158 w 10799257"/>
              <a:gd name="connsiteY744" fmla="*/ 2636244 h 3098304"/>
              <a:gd name="connsiteX745" fmla="*/ 1569401 w 10799257"/>
              <a:gd name="connsiteY745" fmla="*/ 2713981 h 3098304"/>
              <a:gd name="connsiteX746" fmla="*/ 1491678 w 10799257"/>
              <a:gd name="connsiteY746" fmla="*/ 2636244 h 3098304"/>
              <a:gd name="connsiteX747" fmla="*/ 1569401 w 10799257"/>
              <a:gd name="connsiteY747" fmla="*/ 2558507 h 3098304"/>
              <a:gd name="connsiteX748" fmla="*/ 1385875 w 10799257"/>
              <a:gd name="connsiteY748" fmla="*/ 2558507 h 3098304"/>
              <a:gd name="connsiteX749" fmla="*/ 1463629 w 10799257"/>
              <a:gd name="connsiteY749" fmla="*/ 2636244 h 3098304"/>
              <a:gd name="connsiteX750" fmla="*/ 1385875 w 10799257"/>
              <a:gd name="connsiteY750" fmla="*/ 2713981 h 3098304"/>
              <a:gd name="connsiteX751" fmla="*/ 1308122 w 10799257"/>
              <a:gd name="connsiteY751" fmla="*/ 2636244 h 3098304"/>
              <a:gd name="connsiteX752" fmla="*/ 1385875 w 10799257"/>
              <a:gd name="connsiteY752" fmla="*/ 2558507 h 3098304"/>
              <a:gd name="connsiteX753" fmla="*/ 1202337 w 10799257"/>
              <a:gd name="connsiteY753" fmla="*/ 2558507 h 3098304"/>
              <a:gd name="connsiteX754" fmla="*/ 1280074 w 10799257"/>
              <a:gd name="connsiteY754" fmla="*/ 2636244 h 3098304"/>
              <a:gd name="connsiteX755" fmla="*/ 1202337 w 10799257"/>
              <a:gd name="connsiteY755" fmla="*/ 2713981 h 3098304"/>
              <a:gd name="connsiteX756" fmla="*/ 1124620 w 10799257"/>
              <a:gd name="connsiteY756" fmla="*/ 2636244 h 3098304"/>
              <a:gd name="connsiteX757" fmla="*/ 1202337 w 10799257"/>
              <a:gd name="connsiteY757" fmla="*/ 2558507 h 3098304"/>
              <a:gd name="connsiteX758" fmla="*/ 1014100 w 10799257"/>
              <a:gd name="connsiteY758" fmla="*/ 2558507 h 3098304"/>
              <a:gd name="connsiteX759" fmla="*/ 1091865 w 10799257"/>
              <a:gd name="connsiteY759" fmla="*/ 2636244 h 3098304"/>
              <a:gd name="connsiteX760" fmla="*/ 1014100 w 10799257"/>
              <a:gd name="connsiteY760" fmla="*/ 2713981 h 3098304"/>
              <a:gd name="connsiteX761" fmla="*/ 936398 w 10799257"/>
              <a:gd name="connsiteY761" fmla="*/ 2636244 h 3098304"/>
              <a:gd name="connsiteX762" fmla="*/ 1014100 w 10799257"/>
              <a:gd name="connsiteY762" fmla="*/ 2558507 h 3098304"/>
              <a:gd name="connsiteX763" fmla="*/ 830602 w 10799257"/>
              <a:gd name="connsiteY763" fmla="*/ 2558507 h 3098304"/>
              <a:gd name="connsiteX764" fmla="*/ 908355 w 10799257"/>
              <a:gd name="connsiteY764" fmla="*/ 2636244 h 3098304"/>
              <a:gd name="connsiteX765" fmla="*/ 830602 w 10799257"/>
              <a:gd name="connsiteY765" fmla="*/ 2713981 h 3098304"/>
              <a:gd name="connsiteX766" fmla="*/ 752860 w 10799257"/>
              <a:gd name="connsiteY766" fmla="*/ 2636244 h 3098304"/>
              <a:gd name="connsiteX767" fmla="*/ 830602 w 10799257"/>
              <a:gd name="connsiteY767" fmla="*/ 2558507 h 3098304"/>
              <a:gd name="connsiteX768" fmla="*/ 642371 w 10799257"/>
              <a:gd name="connsiteY768" fmla="*/ 2558507 h 3098304"/>
              <a:gd name="connsiteX769" fmla="*/ 720112 w 10799257"/>
              <a:gd name="connsiteY769" fmla="*/ 2636244 h 3098304"/>
              <a:gd name="connsiteX770" fmla="*/ 642371 w 10799257"/>
              <a:gd name="connsiteY770" fmla="*/ 2713981 h 3098304"/>
              <a:gd name="connsiteX771" fmla="*/ 564637 w 10799257"/>
              <a:gd name="connsiteY771" fmla="*/ 2636244 h 3098304"/>
              <a:gd name="connsiteX772" fmla="*/ 642371 w 10799257"/>
              <a:gd name="connsiteY772" fmla="*/ 2558507 h 3098304"/>
              <a:gd name="connsiteX773" fmla="*/ 458857 w 10799257"/>
              <a:gd name="connsiteY773" fmla="*/ 2558507 h 3098304"/>
              <a:gd name="connsiteX774" fmla="*/ 536594 w 10799257"/>
              <a:gd name="connsiteY774" fmla="*/ 2636244 h 3098304"/>
              <a:gd name="connsiteX775" fmla="*/ 458857 w 10799257"/>
              <a:gd name="connsiteY775" fmla="*/ 2713981 h 3098304"/>
              <a:gd name="connsiteX776" fmla="*/ 381122 w 10799257"/>
              <a:gd name="connsiteY776" fmla="*/ 2636244 h 3098304"/>
              <a:gd name="connsiteX777" fmla="*/ 458857 w 10799257"/>
              <a:gd name="connsiteY777" fmla="*/ 2558507 h 3098304"/>
              <a:gd name="connsiteX778" fmla="*/ 5126663 w 10799257"/>
              <a:gd name="connsiteY778" fmla="*/ 2558503 h 3098304"/>
              <a:gd name="connsiteX779" fmla="*/ 5204402 w 10799257"/>
              <a:gd name="connsiteY779" fmla="*/ 2636239 h 3098304"/>
              <a:gd name="connsiteX780" fmla="*/ 5126663 w 10799257"/>
              <a:gd name="connsiteY780" fmla="*/ 2713978 h 3098304"/>
              <a:gd name="connsiteX781" fmla="*/ 5048937 w 10799257"/>
              <a:gd name="connsiteY781" fmla="*/ 2636239 h 3098304"/>
              <a:gd name="connsiteX782" fmla="*/ 5126663 w 10799257"/>
              <a:gd name="connsiteY782" fmla="*/ 2558503 h 3098304"/>
              <a:gd name="connsiteX783" fmla="*/ 4938418 w 10799257"/>
              <a:gd name="connsiteY783" fmla="*/ 2558503 h 3098304"/>
              <a:gd name="connsiteX784" fmla="*/ 5016155 w 10799257"/>
              <a:gd name="connsiteY784" fmla="*/ 2636239 h 3098304"/>
              <a:gd name="connsiteX785" fmla="*/ 4938418 w 10799257"/>
              <a:gd name="connsiteY785" fmla="*/ 2713976 h 3098304"/>
              <a:gd name="connsiteX786" fmla="*/ 4860682 w 10799257"/>
              <a:gd name="connsiteY786" fmla="*/ 2636239 h 3098304"/>
              <a:gd name="connsiteX787" fmla="*/ 4938418 w 10799257"/>
              <a:gd name="connsiteY787" fmla="*/ 2558503 h 3098304"/>
              <a:gd name="connsiteX788" fmla="*/ 10721520 w 10799257"/>
              <a:gd name="connsiteY788" fmla="*/ 2393812 h 3098304"/>
              <a:gd name="connsiteX789" fmla="*/ 10731545 w 10799257"/>
              <a:gd name="connsiteY789" fmla="*/ 2395836 h 3098304"/>
              <a:gd name="connsiteX790" fmla="*/ 10799249 w 10799257"/>
              <a:gd name="connsiteY790" fmla="*/ 2471590 h 3098304"/>
              <a:gd name="connsiteX791" fmla="*/ 10793148 w 10799257"/>
              <a:gd name="connsiteY791" fmla="*/ 2501808 h 3098304"/>
              <a:gd name="connsiteX792" fmla="*/ 10721520 w 10799257"/>
              <a:gd name="connsiteY792" fmla="*/ 2549287 h 3098304"/>
              <a:gd name="connsiteX793" fmla="*/ 10643783 w 10799257"/>
              <a:gd name="connsiteY793" fmla="*/ 2471549 h 3098304"/>
              <a:gd name="connsiteX794" fmla="*/ 10721520 w 10799257"/>
              <a:gd name="connsiteY794" fmla="*/ 2393812 h 3098304"/>
              <a:gd name="connsiteX795" fmla="*/ 10538005 w 10799257"/>
              <a:gd name="connsiteY795" fmla="*/ 2393812 h 3098304"/>
              <a:gd name="connsiteX796" fmla="*/ 10615742 w 10799257"/>
              <a:gd name="connsiteY796" fmla="*/ 2471549 h 3098304"/>
              <a:gd name="connsiteX797" fmla="*/ 10538005 w 10799257"/>
              <a:gd name="connsiteY797" fmla="*/ 2549287 h 3098304"/>
              <a:gd name="connsiteX798" fmla="*/ 10460268 w 10799257"/>
              <a:gd name="connsiteY798" fmla="*/ 2471549 h 3098304"/>
              <a:gd name="connsiteX799" fmla="*/ 10538005 w 10799257"/>
              <a:gd name="connsiteY799" fmla="*/ 2393812 h 3098304"/>
              <a:gd name="connsiteX800" fmla="*/ 10349782 w 10799257"/>
              <a:gd name="connsiteY800" fmla="*/ 2393812 h 3098304"/>
              <a:gd name="connsiteX801" fmla="*/ 10427519 w 10799257"/>
              <a:gd name="connsiteY801" fmla="*/ 2471549 h 3098304"/>
              <a:gd name="connsiteX802" fmla="*/ 10349782 w 10799257"/>
              <a:gd name="connsiteY802" fmla="*/ 2549287 h 3098304"/>
              <a:gd name="connsiteX803" fmla="*/ 10272045 w 10799257"/>
              <a:gd name="connsiteY803" fmla="*/ 2471549 h 3098304"/>
              <a:gd name="connsiteX804" fmla="*/ 10349782 w 10799257"/>
              <a:gd name="connsiteY804" fmla="*/ 2393812 h 3098304"/>
              <a:gd name="connsiteX805" fmla="*/ 10166265 w 10799257"/>
              <a:gd name="connsiteY805" fmla="*/ 2393812 h 3098304"/>
              <a:gd name="connsiteX806" fmla="*/ 10244002 w 10799257"/>
              <a:gd name="connsiteY806" fmla="*/ 2471549 h 3098304"/>
              <a:gd name="connsiteX807" fmla="*/ 10166265 w 10799257"/>
              <a:gd name="connsiteY807" fmla="*/ 2549287 h 3098304"/>
              <a:gd name="connsiteX808" fmla="*/ 10088528 w 10799257"/>
              <a:gd name="connsiteY808" fmla="*/ 2471549 h 3098304"/>
              <a:gd name="connsiteX809" fmla="*/ 10166265 w 10799257"/>
              <a:gd name="connsiteY809" fmla="*/ 2393812 h 3098304"/>
              <a:gd name="connsiteX810" fmla="*/ 9978044 w 10799257"/>
              <a:gd name="connsiteY810" fmla="*/ 2393812 h 3098304"/>
              <a:gd name="connsiteX811" fmla="*/ 10055781 w 10799257"/>
              <a:gd name="connsiteY811" fmla="*/ 2471549 h 3098304"/>
              <a:gd name="connsiteX812" fmla="*/ 9978044 w 10799257"/>
              <a:gd name="connsiteY812" fmla="*/ 2549287 h 3098304"/>
              <a:gd name="connsiteX813" fmla="*/ 9900307 w 10799257"/>
              <a:gd name="connsiteY813" fmla="*/ 2471549 h 3098304"/>
              <a:gd name="connsiteX814" fmla="*/ 9978044 w 10799257"/>
              <a:gd name="connsiteY814" fmla="*/ 2393812 h 3098304"/>
              <a:gd name="connsiteX815" fmla="*/ 9789823 w 10799257"/>
              <a:gd name="connsiteY815" fmla="*/ 2393812 h 3098304"/>
              <a:gd name="connsiteX816" fmla="*/ 9867560 w 10799257"/>
              <a:gd name="connsiteY816" fmla="*/ 2471549 h 3098304"/>
              <a:gd name="connsiteX817" fmla="*/ 9789823 w 10799257"/>
              <a:gd name="connsiteY817" fmla="*/ 2549287 h 3098304"/>
              <a:gd name="connsiteX818" fmla="*/ 9712086 w 10799257"/>
              <a:gd name="connsiteY818" fmla="*/ 2471549 h 3098304"/>
              <a:gd name="connsiteX819" fmla="*/ 9789823 w 10799257"/>
              <a:gd name="connsiteY819" fmla="*/ 2393812 h 3098304"/>
              <a:gd name="connsiteX820" fmla="*/ 9606308 w 10799257"/>
              <a:gd name="connsiteY820" fmla="*/ 2393812 h 3098304"/>
              <a:gd name="connsiteX821" fmla="*/ 9684045 w 10799257"/>
              <a:gd name="connsiteY821" fmla="*/ 2471549 h 3098304"/>
              <a:gd name="connsiteX822" fmla="*/ 9606308 w 10799257"/>
              <a:gd name="connsiteY822" fmla="*/ 2549287 h 3098304"/>
              <a:gd name="connsiteX823" fmla="*/ 9528571 w 10799257"/>
              <a:gd name="connsiteY823" fmla="*/ 2471549 h 3098304"/>
              <a:gd name="connsiteX824" fmla="*/ 9606308 w 10799257"/>
              <a:gd name="connsiteY824" fmla="*/ 2393812 h 3098304"/>
              <a:gd name="connsiteX825" fmla="*/ 9413381 w 10799257"/>
              <a:gd name="connsiteY825" fmla="*/ 2393812 h 3098304"/>
              <a:gd name="connsiteX826" fmla="*/ 9491118 w 10799257"/>
              <a:gd name="connsiteY826" fmla="*/ 2471549 h 3098304"/>
              <a:gd name="connsiteX827" fmla="*/ 9413381 w 10799257"/>
              <a:gd name="connsiteY827" fmla="*/ 2549287 h 3098304"/>
              <a:gd name="connsiteX828" fmla="*/ 9335644 w 10799257"/>
              <a:gd name="connsiteY828" fmla="*/ 2471549 h 3098304"/>
              <a:gd name="connsiteX829" fmla="*/ 9413381 w 10799257"/>
              <a:gd name="connsiteY829" fmla="*/ 2393812 h 3098304"/>
              <a:gd name="connsiteX830" fmla="*/ 9234570 w 10799257"/>
              <a:gd name="connsiteY830" fmla="*/ 2393812 h 3098304"/>
              <a:gd name="connsiteX831" fmla="*/ 9312307 w 10799257"/>
              <a:gd name="connsiteY831" fmla="*/ 2471549 h 3098304"/>
              <a:gd name="connsiteX832" fmla="*/ 9234570 w 10799257"/>
              <a:gd name="connsiteY832" fmla="*/ 2549287 h 3098304"/>
              <a:gd name="connsiteX833" fmla="*/ 9156833 w 10799257"/>
              <a:gd name="connsiteY833" fmla="*/ 2471549 h 3098304"/>
              <a:gd name="connsiteX834" fmla="*/ 9234570 w 10799257"/>
              <a:gd name="connsiteY834" fmla="*/ 2393812 h 3098304"/>
              <a:gd name="connsiteX835" fmla="*/ 9036939 w 10799257"/>
              <a:gd name="connsiteY835" fmla="*/ 2393812 h 3098304"/>
              <a:gd name="connsiteX836" fmla="*/ 9114675 w 10799257"/>
              <a:gd name="connsiteY836" fmla="*/ 2471549 h 3098304"/>
              <a:gd name="connsiteX837" fmla="*/ 9036939 w 10799257"/>
              <a:gd name="connsiteY837" fmla="*/ 2549287 h 3098304"/>
              <a:gd name="connsiteX838" fmla="*/ 8959202 w 10799257"/>
              <a:gd name="connsiteY838" fmla="*/ 2471549 h 3098304"/>
              <a:gd name="connsiteX839" fmla="*/ 9036939 w 10799257"/>
              <a:gd name="connsiteY839" fmla="*/ 2393812 h 3098304"/>
              <a:gd name="connsiteX840" fmla="*/ 8853421 w 10799257"/>
              <a:gd name="connsiteY840" fmla="*/ 2393812 h 3098304"/>
              <a:gd name="connsiteX841" fmla="*/ 8931158 w 10799257"/>
              <a:gd name="connsiteY841" fmla="*/ 2471549 h 3098304"/>
              <a:gd name="connsiteX842" fmla="*/ 8853421 w 10799257"/>
              <a:gd name="connsiteY842" fmla="*/ 2549287 h 3098304"/>
              <a:gd name="connsiteX843" fmla="*/ 8775685 w 10799257"/>
              <a:gd name="connsiteY843" fmla="*/ 2471549 h 3098304"/>
              <a:gd name="connsiteX844" fmla="*/ 8853421 w 10799257"/>
              <a:gd name="connsiteY844" fmla="*/ 2393812 h 3098304"/>
              <a:gd name="connsiteX845" fmla="*/ 8669908 w 10799257"/>
              <a:gd name="connsiteY845" fmla="*/ 2393812 h 3098304"/>
              <a:gd name="connsiteX846" fmla="*/ 8747645 w 10799257"/>
              <a:gd name="connsiteY846" fmla="*/ 2471549 h 3098304"/>
              <a:gd name="connsiteX847" fmla="*/ 8669908 w 10799257"/>
              <a:gd name="connsiteY847" fmla="*/ 2549287 h 3098304"/>
              <a:gd name="connsiteX848" fmla="*/ 8592171 w 10799257"/>
              <a:gd name="connsiteY848" fmla="*/ 2471549 h 3098304"/>
              <a:gd name="connsiteX849" fmla="*/ 8669908 w 10799257"/>
              <a:gd name="connsiteY849" fmla="*/ 2393812 h 3098304"/>
              <a:gd name="connsiteX850" fmla="*/ 8481684 w 10799257"/>
              <a:gd name="connsiteY850" fmla="*/ 2393812 h 3098304"/>
              <a:gd name="connsiteX851" fmla="*/ 8559421 w 10799257"/>
              <a:gd name="connsiteY851" fmla="*/ 2471549 h 3098304"/>
              <a:gd name="connsiteX852" fmla="*/ 8481684 w 10799257"/>
              <a:gd name="connsiteY852" fmla="*/ 2549287 h 3098304"/>
              <a:gd name="connsiteX853" fmla="*/ 8403948 w 10799257"/>
              <a:gd name="connsiteY853" fmla="*/ 2471549 h 3098304"/>
              <a:gd name="connsiteX854" fmla="*/ 8481684 w 10799257"/>
              <a:gd name="connsiteY854" fmla="*/ 2393812 h 3098304"/>
              <a:gd name="connsiteX855" fmla="*/ 8298167 w 10799257"/>
              <a:gd name="connsiteY855" fmla="*/ 2393812 h 3098304"/>
              <a:gd name="connsiteX856" fmla="*/ 8375904 w 10799257"/>
              <a:gd name="connsiteY856" fmla="*/ 2471549 h 3098304"/>
              <a:gd name="connsiteX857" fmla="*/ 8298167 w 10799257"/>
              <a:gd name="connsiteY857" fmla="*/ 2549287 h 3098304"/>
              <a:gd name="connsiteX858" fmla="*/ 8220430 w 10799257"/>
              <a:gd name="connsiteY858" fmla="*/ 2471549 h 3098304"/>
              <a:gd name="connsiteX859" fmla="*/ 8298167 w 10799257"/>
              <a:gd name="connsiteY859" fmla="*/ 2393812 h 3098304"/>
              <a:gd name="connsiteX860" fmla="*/ 8109949 w 10799257"/>
              <a:gd name="connsiteY860" fmla="*/ 2393812 h 3098304"/>
              <a:gd name="connsiteX861" fmla="*/ 8187686 w 10799257"/>
              <a:gd name="connsiteY861" fmla="*/ 2471549 h 3098304"/>
              <a:gd name="connsiteX862" fmla="*/ 8109949 w 10799257"/>
              <a:gd name="connsiteY862" fmla="*/ 2549287 h 3098304"/>
              <a:gd name="connsiteX863" fmla="*/ 8032212 w 10799257"/>
              <a:gd name="connsiteY863" fmla="*/ 2471549 h 3098304"/>
              <a:gd name="connsiteX864" fmla="*/ 8109949 w 10799257"/>
              <a:gd name="connsiteY864" fmla="*/ 2393812 h 3098304"/>
              <a:gd name="connsiteX865" fmla="*/ 7926434 w 10799257"/>
              <a:gd name="connsiteY865" fmla="*/ 2393812 h 3098304"/>
              <a:gd name="connsiteX866" fmla="*/ 8004171 w 10799257"/>
              <a:gd name="connsiteY866" fmla="*/ 2471549 h 3098304"/>
              <a:gd name="connsiteX867" fmla="*/ 7926434 w 10799257"/>
              <a:gd name="connsiteY867" fmla="*/ 2549287 h 3098304"/>
              <a:gd name="connsiteX868" fmla="*/ 7848697 w 10799257"/>
              <a:gd name="connsiteY868" fmla="*/ 2471549 h 3098304"/>
              <a:gd name="connsiteX869" fmla="*/ 7926434 w 10799257"/>
              <a:gd name="connsiteY869" fmla="*/ 2393812 h 3098304"/>
              <a:gd name="connsiteX870" fmla="*/ 7738213 w 10799257"/>
              <a:gd name="connsiteY870" fmla="*/ 2393812 h 3098304"/>
              <a:gd name="connsiteX871" fmla="*/ 7815950 w 10799257"/>
              <a:gd name="connsiteY871" fmla="*/ 2471549 h 3098304"/>
              <a:gd name="connsiteX872" fmla="*/ 7738213 w 10799257"/>
              <a:gd name="connsiteY872" fmla="*/ 2549287 h 3098304"/>
              <a:gd name="connsiteX873" fmla="*/ 7660476 w 10799257"/>
              <a:gd name="connsiteY873" fmla="*/ 2471549 h 3098304"/>
              <a:gd name="connsiteX874" fmla="*/ 7738213 w 10799257"/>
              <a:gd name="connsiteY874" fmla="*/ 2393812 h 3098304"/>
              <a:gd name="connsiteX875" fmla="*/ 7554693 w 10799257"/>
              <a:gd name="connsiteY875" fmla="*/ 2393812 h 3098304"/>
              <a:gd name="connsiteX876" fmla="*/ 7632430 w 10799257"/>
              <a:gd name="connsiteY876" fmla="*/ 2471549 h 3098304"/>
              <a:gd name="connsiteX877" fmla="*/ 7554693 w 10799257"/>
              <a:gd name="connsiteY877" fmla="*/ 2549287 h 3098304"/>
              <a:gd name="connsiteX878" fmla="*/ 7476957 w 10799257"/>
              <a:gd name="connsiteY878" fmla="*/ 2471549 h 3098304"/>
              <a:gd name="connsiteX879" fmla="*/ 7554693 w 10799257"/>
              <a:gd name="connsiteY879" fmla="*/ 2393812 h 3098304"/>
              <a:gd name="connsiteX880" fmla="*/ 7366472 w 10799257"/>
              <a:gd name="connsiteY880" fmla="*/ 2393812 h 3098304"/>
              <a:gd name="connsiteX881" fmla="*/ 7444209 w 10799257"/>
              <a:gd name="connsiteY881" fmla="*/ 2471549 h 3098304"/>
              <a:gd name="connsiteX882" fmla="*/ 7366472 w 10799257"/>
              <a:gd name="connsiteY882" fmla="*/ 2549287 h 3098304"/>
              <a:gd name="connsiteX883" fmla="*/ 7288736 w 10799257"/>
              <a:gd name="connsiteY883" fmla="*/ 2471549 h 3098304"/>
              <a:gd name="connsiteX884" fmla="*/ 7366472 w 10799257"/>
              <a:gd name="connsiteY884" fmla="*/ 2393812 h 3098304"/>
              <a:gd name="connsiteX885" fmla="*/ 7178251 w 10799257"/>
              <a:gd name="connsiteY885" fmla="*/ 2393812 h 3098304"/>
              <a:gd name="connsiteX886" fmla="*/ 7255988 w 10799257"/>
              <a:gd name="connsiteY886" fmla="*/ 2471549 h 3098304"/>
              <a:gd name="connsiteX887" fmla="*/ 7178251 w 10799257"/>
              <a:gd name="connsiteY887" fmla="*/ 2549287 h 3098304"/>
              <a:gd name="connsiteX888" fmla="*/ 7100514 w 10799257"/>
              <a:gd name="connsiteY888" fmla="*/ 2471549 h 3098304"/>
              <a:gd name="connsiteX889" fmla="*/ 7178251 w 10799257"/>
              <a:gd name="connsiteY889" fmla="*/ 2393812 h 3098304"/>
              <a:gd name="connsiteX890" fmla="*/ 6985327 w 10799257"/>
              <a:gd name="connsiteY890" fmla="*/ 2393812 h 3098304"/>
              <a:gd name="connsiteX891" fmla="*/ 7063064 w 10799257"/>
              <a:gd name="connsiteY891" fmla="*/ 2471549 h 3098304"/>
              <a:gd name="connsiteX892" fmla="*/ 6985327 w 10799257"/>
              <a:gd name="connsiteY892" fmla="*/ 2549287 h 3098304"/>
              <a:gd name="connsiteX893" fmla="*/ 6907590 w 10799257"/>
              <a:gd name="connsiteY893" fmla="*/ 2471549 h 3098304"/>
              <a:gd name="connsiteX894" fmla="*/ 6985327 w 10799257"/>
              <a:gd name="connsiteY894" fmla="*/ 2393812 h 3098304"/>
              <a:gd name="connsiteX895" fmla="*/ 6801810 w 10799257"/>
              <a:gd name="connsiteY895" fmla="*/ 2393812 h 3098304"/>
              <a:gd name="connsiteX896" fmla="*/ 6879546 w 10799257"/>
              <a:gd name="connsiteY896" fmla="*/ 2471549 h 3098304"/>
              <a:gd name="connsiteX897" fmla="*/ 6801810 w 10799257"/>
              <a:gd name="connsiteY897" fmla="*/ 2549287 h 3098304"/>
              <a:gd name="connsiteX898" fmla="*/ 6724073 w 10799257"/>
              <a:gd name="connsiteY898" fmla="*/ 2471549 h 3098304"/>
              <a:gd name="connsiteX899" fmla="*/ 6801810 w 10799257"/>
              <a:gd name="connsiteY899" fmla="*/ 2393812 h 3098304"/>
              <a:gd name="connsiteX900" fmla="*/ 6613588 w 10799257"/>
              <a:gd name="connsiteY900" fmla="*/ 2393812 h 3098304"/>
              <a:gd name="connsiteX901" fmla="*/ 6691325 w 10799257"/>
              <a:gd name="connsiteY901" fmla="*/ 2471549 h 3098304"/>
              <a:gd name="connsiteX902" fmla="*/ 6613588 w 10799257"/>
              <a:gd name="connsiteY902" fmla="*/ 2549287 h 3098304"/>
              <a:gd name="connsiteX903" fmla="*/ 6535852 w 10799257"/>
              <a:gd name="connsiteY903" fmla="*/ 2471549 h 3098304"/>
              <a:gd name="connsiteX904" fmla="*/ 6613588 w 10799257"/>
              <a:gd name="connsiteY904" fmla="*/ 2393812 h 3098304"/>
              <a:gd name="connsiteX905" fmla="*/ 6425367 w 10799257"/>
              <a:gd name="connsiteY905" fmla="*/ 2393812 h 3098304"/>
              <a:gd name="connsiteX906" fmla="*/ 6503104 w 10799257"/>
              <a:gd name="connsiteY906" fmla="*/ 2471549 h 3098304"/>
              <a:gd name="connsiteX907" fmla="*/ 6425367 w 10799257"/>
              <a:gd name="connsiteY907" fmla="*/ 2549287 h 3098304"/>
              <a:gd name="connsiteX908" fmla="*/ 6347631 w 10799257"/>
              <a:gd name="connsiteY908" fmla="*/ 2471549 h 3098304"/>
              <a:gd name="connsiteX909" fmla="*/ 6425367 w 10799257"/>
              <a:gd name="connsiteY909" fmla="*/ 2393812 h 3098304"/>
              <a:gd name="connsiteX910" fmla="*/ 6241850 w 10799257"/>
              <a:gd name="connsiteY910" fmla="*/ 2393812 h 3098304"/>
              <a:gd name="connsiteX911" fmla="*/ 6319587 w 10799257"/>
              <a:gd name="connsiteY911" fmla="*/ 2471549 h 3098304"/>
              <a:gd name="connsiteX912" fmla="*/ 6241850 w 10799257"/>
              <a:gd name="connsiteY912" fmla="*/ 2549287 h 3098304"/>
              <a:gd name="connsiteX913" fmla="*/ 6164113 w 10799257"/>
              <a:gd name="connsiteY913" fmla="*/ 2471549 h 3098304"/>
              <a:gd name="connsiteX914" fmla="*/ 6241850 w 10799257"/>
              <a:gd name="connsiteY914" fmla="*/ 2393812 h 3098304"/>
              <a:gd name="connsiteX915" fmla="*/ 6053630 w 10799257"/>
              <a:gd name="connsiteY915" fmla="*/ 2393812 h 3098304"/>
              <a:gd name="connsiteX916" fmla="*/ 6131367 w 10799257"/>
              <a:gd name="connsiteY916" fmla="*/ 2471549 h 3098304"/>
              <a:gd name="connsiteX917" fmla="*/ 6053630 w 10799257"/>
              <a:gd name="connsiteY917" fmla="*/ 2549287 h 3098304"/>
              <a:gd name="connsiteX918" fmla="*/ 5975894 w 10799257"/>
              <a:gd name="connsiteY918" fmla="*/ 2471549 h 3098304"/>
              <a:gd name="connsiteX919" fmla="*/ 6053630 w 10799257"/>
              <a:gd name="connsiteY919" fmla="*/ 2393812 h 3098304"/>
              <a:gd name="connsiteX920" fmla="*/ 5870113 w 10799257"/>
              <a:gd name="connsiteY920" fmla="*/ 2393812 h 3098304"/>
              <a:gd name="connsiteX921" fmla="*/ 5947850 w 10799257"/>
              <a:gd name="connsiteY921" fmla="*/ 2471549 h 3098304"/>
              <a:gd name="connsiteX922" fmla="*/ 5870113 w 10799257"/>
              <a:gd name="connsiteY922" fmla="*/ 2549287 h 3098304"/>
              <a:gd name="connsiteX923" fmla="*/ 5792376 w 10799257"/>
              <a:gd name="connsiteY923" fmla="*/ 2471549 h 3098304"/>
              <a:gd name="connsiteX924" fmla="*/ 5870113 w 10799257"/>
              <a:gd name="connsiteY924" fmla="*/ 2393812 h 3098304"/>
              <a:gd name="connsiteX925" fmla="*/ 5681928 w 10799257"/>
              <a:gd name="connsiteY925" fmla="*/ 2393812 h 3098304"/>
              <a:gd name="connsiteX926" fmla="*/ 5759629 w 10799257"/>
              <a:gd name="connsiteY926" fmla="*/ 2471549 h 3098304"/>
              <a:gd name="connsiteX927" fmla="*/ 5681928 w 10799257"/>
              <a:gd name="connsiteY927" fmla="*/ 2549287 h 3098304"/>
              <a:gd name="connsiteX928" fmla="*/ 5604173 w 10799257"/>
              <a:gd name="connsiteY928" fmla="*/ 2471549 h 3098304"/>
              <a:gd name="connsiteX929" fmla="*/ 5681928 w 10799257"/>
              <a:gd name="connsiteY929" fmla="*/ 2393812 h 3098304"/>
              <a:gd name="connsiteX930" fmla="*/ 5498381 w 10799257"/>
              <a:gd name="connsiteY930" fmla="*/ 2393812 h 3098304"/>
              <a:gd name="connsiteX931" fmla="*/ 5576126 w 10799257"/>
              <a:gd name="connsiteY931" fmla="*/ 2471549 h 3098304"/>
              <a:gd name="connsiteX932" fmla="*/ 5498381 w 10799257"/>
              <a:gd name="connsiteY932" fmla="*/ 2549287 h 3098304"/>
              <a:gd name="connsiteX933" fmla="*/ 5420642 w 10799257"/>
              <a:gd name="connsiteY933" fmla="*/ 2471549 h 3098304"/>
              <a:gd name="connsiteX934" fmla="*/ 5498381 w 10799257"/>
              <a:gd name="connsiteY934" fmla="*/ 2393812 h 3098304"/>
              <a:gd name="connsiteX935" fmla="*/ 5310166 w 10799257"/>
              <a:gd name="connsiteY935" fmla="*/ 2393812 h 3098304"/>
              <a:gd name="connsiteX936" fmla="*/ 5387897 w 10799257"/>
              <a:gd name="connsiteY936" fmla="*/ 2471549 h 3098304"/>
              <a:gd name="connsiteX937" fmla="*/ 5310166 w 10799257"/>
              <a:gd name="connsiteY937" fmla="*/ 2549287 h 3098304"/>
              <a:gd name="connsiteX938" fmla="*/ 5232438 w 10799257"/>
              <a:gd name="connsiteY938" fmla="*/ 2471549 h 3098304"/>
              <a:gd name="connsiteX939" fmla="*/ 5310166 w 10799257"/>
              <a:gd name="connsiteY939" fmla="*/ 2393812 h 3098304"/>
              <a:gd name="connsiteX940" fmla="*/ 3061035 w 10799257"/>
              <a:gd name="connsiteY940" fmla="*/ 2393812 h 3098304"/>
              <a:gd name="connsiteX941" fmla="*/ 3138771 w 10799257"/>
              <a:gd name="connsiteY941" fmla="*/ 2471549 h 3098304"/>
              <a:gd name="connsiteX942" fmla="*/ 3061035 w 10799257"/>
              <a:gd name="connsiteY942" fmla="*/ 2549287 h 3098304"/>
              <a:gd name="connsiteX943" fmla="*/ 2983286 w 10799257"/>
              <a:gd name="connsiteY943" fmla="*/ 2471549 h 3098304"/>
              <a:gd name="connsiteX944" fmla="*/ 3061035 w 10799257"/>
              <a:gd name="connsiteY944" fmla="*/ 2393812 h 3098304"/>
              <a:gd name="connsiteX945" fmla="*/ 2882217 w 10799257"/>
              <a:gd name="connsiteY945" fmla="*/ 2393812 h 3098304"/>
              <a:gd name="connsiteX946" fmla="*/ 2959955 w 10799257"/>
              <a:gd name="connsiteY946" fmla="*/ 2471549 h 3098304"/>
              <a:gd name="connsiteX947" fmla="*/ 2882217 w 10799257"/>
              <a:gd name="connsiteY947" fmla="*/ 2549287 h 3098304"/>
              <a:gd name="connsiteX948" fmla="*/ 2804490 w 10799257"/>
              <a:gd name="connsiteY948" fmla="*/ 2471549 h 3098304"/>
              <a:gd name="connsiteX949" fmla="*/ 2882217 w 10799257"/>
              <a:gd name="connsiteY949" fmla="*/ 2393812 h 3098304"/>
              <a:gd name="connsiteX950" fmla="*/ 2689313 w 10799257"/>
              <a:gd name="connsiteY950" fmla="*/ 2393812 h 3098304"/>
              <a:gd name="connsiteX951" fmla="*/ 2767029 w 10799257"/>
              <a:gd name="connsiteY951" fmla="*/ 2471549 h 3098304"/>
              <a:gd name="connsiteX952" fmla="*/ 2689313 w 10799257"/>
              <a:gd name="connsiteY952" fmla="*/ 2549287 h 3098304"/>
              <a:gd name="connsiteX953" fmla="*/ 2611576 w 10799257"/>
              <a:gd name="connsiteY953" fmla="*/ 2471549 h 3098304"/>
              <a:gd name="connsiteX954" fmla="*/ 2689313 w 10799257"/>
              <a:gd name="connsiteY954" fmla="*/ 2393812 h 3098304"/>
              <a:gd name="connsiteX955" fmla="*/ 2510490 w 10799257"/>
              <a:gd name="connsiteY955" fmla="*/ 2393812 h 3098304"/>
              <a:gd name="connsiteX956" fmla="*/ 2588235 w 10799257"/>
              <a:gd name="connsiteY956" fmla="*/ 2471549 h 3098304"/>
              <a:gd name="connsiteX957" fmla="*/ 2510490 w 10799257"/>
              <a:gd name="connsiteY957" fmla="*/ 2549287 h 3098304"/>
              <a:gd name="connsiteX958" fmla="*/ 2432737 w 10799257"/>
              <a:gd name="connsiteY958" fmla="*/ 2471549 h 3098304"/>
              <a:gd name="connsiteX959" fmla="*/ 2510490 w 10799257"/>
              <a:gd name="connsiteY959" fmla="*/ 2393812 h 3098304"/>
              <a:gd name="connsiteX960" fmla="*/ 2317537 w 10799257"/>
              <a:gd name="connsiteY960" fmla="*/ 2393812 h 3098304"/>
              <a:gd name="connsiteX961" fmla="*/ 2395277 w 10799257"/>
              <a:gd name="connsiteY961" fmla="*/ 2471549 h 3098304"/>
              <a:gd name="connsiteX962" fmla="*/ 2317537 w 10799257"/>
              <a:gd name="connsiteY962" fmla="*/ 2549287 h 3098304"/>
              <a:gd name="connsiteX963" fmla="*/ 2239808 w 10799257"/>
              <a:gd name="connsiteY963" fmla="*/ 2471549 h 3098304"/>
              <a:gd name="connsiteX964" fmla="*/ 2317537 w 10799257"/>
              <a:gd name="connsiteY964" fmla="*/ 2393812 h 3098304"/>
              <a:gd name="connsiteX965" fmla="*/ 2129335 w 10799257"/>
              <a:gd name="connsiteY965" fmla="*/ 2393812 h 3098304"/>
              <a:gd name="connsiteX966" fmla="*/ 2207063 w 10799257"/>
              <a:gd name="connsiteY966" fmla="*/ 2471549 h 3098304"/>
              <a:gd name="connsiteX967" fmla="*/ 2129335 w 10799257"/>
              <a:gd name="connsiteY967" fmla="*/ 2549287 h 3098304"/>
              <a:gd name="connsiteX968" fmla="*/ 2051608 w 10799257"/>
              <a:gd name="connsiteY968" fmla="*/ 2471549 h 3098304"/>
              <a:gd name="connsiteX969" fmla="*/ 2129335 w 10799257"/>
              <a:gd name="connsiteY969" fmla="*/ 2393812 h 3098304"/>
              <a:gd name="connsiteX970" fmla="*/ 1941137 w 10799257"/>
              <a:gd name="connsiteY970" fmla="*/ 2393812 h 3098304"/>
              <a:gd name="connsiteX971" fmla="*/ 2018865 w 10799257"/>
              <a:gd name="connsiteY971" fmla="*/ 2471549 h 3098304"/>
              <a:gd name="connsiteX972" fmla="*/ 1941137 w 10799257"/>
              <a:gd name="connsiteY972" fmla="*/ 2549287 h 3098304"/>
              <a:gd name="connsiteX973" fmla="*/ 1863409 w 10799257"/>
              <a:gd name="connsiteY973" fmla="*/ 2471549 h 3098304"/>
              <a:gd name="connsiteX974" fmla="*/ 1941137 w 10799257"/>
              <a:gd name="connsiteY974" fmla="*/ 2393812 h 3098304"/>
              <a:gd name="connsiteX975" fmla="*/ 1757643 w 10799257"/>
              <a:gd name="connsiteY975" fmla="*/ 2393812 h 3098304"/>
              <a:gd name="connsiteX976" fmla="*/ 1835373 w 10799257"/>
              <a:gd name="connsiteY976" fmla="*/ 2471549 h 3098304"/>
              <a:gd name="connsiteX977" fmla="*/ 1757643 w 10799257"/>
              <a:gd name="connsiteY977" fmla="*/ 2549287 h 3098304"/>
              <a:gd name="connsiteX978" fmla="*/ 1679914 w 10799257"/>
              <a:gd name="connsiteY978" fmla="*/ 2471549 h 3098304"/>
              <a:gd name="connsiteX979" fmla="*/ 1757643 w 10799257"/>
              <a:gd name="connsiteY979" fmla="*/ 2393812 h 3098304"/>
              <a:gd name="connsiteX980" fmla="*/ 1569401 w 10799257"/>
              <a:gd name="connsiteY980" fmla="*/ 2393812 h 3098304"/>
              <a:gd name="connsiteX981" fmla="*/ 1647173 w 10799257"/>
              <a:gd name="connsiteY981" fmla="*/ 2471549 h 3098304"/>
              <a:gd name="connsiteX982" fmla="*/ 1569401 w 10799257"/>
              <a:gd name="connsiteY982" fmla="*/ 2549287 h 3098304"/>
              <a:gd name="connsiteX983" fmla="*/ 1491692 w 10799257"/>
              <a:gd name="connsiteY983" fmla="*/ 2471549 h 3098304"/>
              <a:gd name="connsiteX984" fmla="*/ 1569401 w 10799257"/>
              <a:gd name="connsiteY984" fmla="*/ 2393812 h 3098304"/>
              <a:gd name="connsiteX985" fmla="*/ 1385887 w 10799257"/>
              <a:gd name="connsiteY985" fmla="*/ 2393812 h 3098304"/>
              <a:gd name="connsiteX986" fmla="*/ 1463642 w 10799257"/>
              <a:gd name="connsiteY986" fmla="*/ 2471549 h 3098304"/>
              <a:gd name="connsiteX987" fmla="*/ 1385887 w 10799257"/>
              <a:gd name="connsiteY987" fmla="*/ 2549287 h 3098304"/>
              <a:gd name="connsiteX988" fmla="*/ 1308132 w 10799257"/>
              <a:gd name="connsiteY988" fmla="*/ 2471549 h 3098304"/>
              <a:gd name="connsiteX989" fmla="*/ 1385887 w 10799257"/>
              <a:gd name="connsiteY989" fmla="*/ 2393812 h 3098304"/>
              <a:gd name="connsiteX990" fmla="*/ 1202350 w 10799257"/>
              <a:gd name="connsiteY990" fmla="*/ 2393812 h 3098304"/>
              <a:gd name="connsiteX991" fmla="*/ 1280082 w 10799257"/>
              <a:gd name="connsiteY991" fmla="*/ 2471549 h 3098304"/>
              <a:gd name="connsiteX992" fmla="*/ 1202350 w 10799257"/>
              <a:gd name="connsiteY992" fmla="*/ 2549287 h 3098304"/>
              <a:gd name="connsiteX993" fmla="*/ 1124636 w 10799257"/>
              <a:gd name="connsiteY993" fmla="*/ 2471549 h 3098304"/>
              <a:gd name="connsiteX994" fmla="*/ 1202350 w 10799257"/>
              <a:gd name="connsiteY994" fmla="*/ 2393812 h 3098304"/>
              <a:gd name="connsiteX995" fmla="*/ 1014115 w 10799257"/>
              <a:gd name="connsiteY995" fmla="*/ 2393812 h 3098304"/>
              <a:gd name="connsiteX996" fmla="*/ 1091874 w 10799257"/>
              <a:gd name="connsiteY996" fmla="*/ 2471549 h 3098304"/>
              <a:gd name="connsiteX997" fmla="*/ 1014115 w 10799257"/>
              <a:gd name="connsiteY997" fmla="*/ 2549287 h 3098304"/>
              <a:gd name="connsiteX998" fmla="*/ 936408 w 10799257"/>
              <a:gd name="connsiteY998" fmla="*/ 2471549 h 3098304"/>
              <a:gd name="connsiteX999" fmla="*/ 1014115 w 10799257"/>
              <a:gd name="connsiteY999" fmla="*/ 2393812 h 3098304"/>
              <a:gd name="connsiteX1000" fmla="*/ 830610 w 10799257"/>
              <a:gd name="connsiteY1000" fmla="*/ 2393812 h 3098304"/>
              <a:gd name="connsiteX1001" fmla="*/ 908364 w 10799257"/>
              <a:gd name="connsiteY1001" fmla="*/ 2471549 h 3098304"/>
              <a:gd name="connsiteX1002" fmla="*/ 830610 w 10799257"/>
              <a:gd name="connsiteY1002" fmla="*/ 2549287 h 3098304"/>
              <a:gd name="connsiteX1003" fmla="*/ 752869 w 10799257"/>
              <a:gd name="connsiteY1003" fmla="*/ 2471549 h 3098304"/>
              <a:gd name="connsiteX1004" fmla="*/ 830610 w 10799257"/>
              <a:gd name="connsiteY1004" fmla="*/ 2393812 h 3098304"/>
              <a:gd name="connsiteX1005" fmla="*/ 642380 w 10799257"/>
              <a:gd name="connsiteY1005" fmla="*/ 2393812 h 3098304"/>
              <a:gd name="connsiteX1006" fmla="*/ 720120 w 10799257"/>
              <a:gd name="connsiteY1006" fmla="*/ 2471549 h 3098304"/>
              <a:gd name="connsiteX1007" fmla="*/ 642380 w 10799257"/>
              <a:gd name="connsiteY1007" fmla="*/ 2549287 h 3098304"/>
              <a:gd name="connsiteX1008" fmla="*/ 564646 w 10799257"/>
              <a:gd name="connsiteY1008" fmla="*/ 2471549 h 3098304"/>
              <a:gd name="connsiteX1009" fmla="*/ 642380 w 10799257"/>
              <a:gd name="connsiteY1009" fmla="*/ 2393812 h 3098304"/>
              <a:gd name="connsiteX1010" fmla="*/ 458865 w 10799257"/>
              <a:gd name="connsiteY1010" fmla="*/ 2393812 h 3098304"/>
              <a:gd name="connsiteX1011" fmla="*/ 536602 w 10799257"/>
              <a:gd name="connsiteY1011" fmla="*/ 2471549 h 3098304"/>
              <a:gd name="connsiteX1012" fmla="*/ 458865 w 10799257"/>
              <a:gd name="connsiteY1012" fmla="*/ 2549287 h 3098304"/>
              <a:gd name="connsiteX1013" fmla="*/ 381131 w 10799257"/>
              <a:gd name="connsiteY1013" fmla="*/ 2471549 h 3098304"/>
              <a:gd name="connsiteX1014" fmla="*/ 458865 w 10799257"/>
              <a:gd name="connsiteY1014" fmla="*/ 2393812 h 3098304"/>
              <a:gd name="connsiteX1015" fmla="*/ 10645056 w 10799257"/>
              <a:gd name="connsiteY1015" fmla="*/ 2299063 h 3098304"/>
              <a:gd name="connsiteX1016" fmla="*/ 10706096 w 10799257"/>
              <a:gd name="connsiteY1016" fmla="*/ 2367361 h 3098304"/>
              <a:gd name="connsiteX1017" fmla="*/ 10691261 w 10799257"/>
              <a:gd name="connsiteY1017" fmla="*/ 2364368 h 3098304"/>
              <a:gd name="connsiteX1018" fmla="*/ 10649892 w 10799257"/>
              <a:gd name="connsiteY1018" fmla="*/ 2323015 h 3098304"/>
              <a:gd name="connsiteX1019" fmla="*/ 1385897 w 10799257"/>
              <a:gd name="connsiteY1019" fmla="*/ 2215028 h 3098304"/>
              <a:gd name="connsiteX1020" fmla="*/ 1463653 w 10799257"/>
              <a:gd name="connsiteY1020" fmla="*/ 2292764 h 3098304"/>
              <a:gd name="connsiteX1021" fmla="*/ 1385897 w 10799257"/>
              <a:gd name="connsiteY1021" fmla="*/ 2370478 h 3098304"/>
              <a:gd name="connsiteX1022" fmla="*/ 1308140 w 10799257"/>
              <a:gd name="connsiteY1022" fmla="*/ 2292764 h 3098304"/>
              <a:gd name="connsiteX1023" fmla="*/ 1385897 w 10799257"/>
              <a:gd name="connsiteY1023" fmla="*/ 2215028 h 3098304"/>
              <a:gd name="connsiteX1024" fmla="*/ 1202355 w 10799257"/>
              <a:gd name="connsiteY1024" fmla="*/ 2215028 h 3098304"/>
              <a:gd name="connsiteX1025" fmla="*/ 1280090 w 10799257"/>
              <a:gd name="connsiteY1025" fmla="*/ 2292764 h 3098304"/>
              <a:gd name="connsiteX1026" fmla="*/ 1202355 w 10799257"/>
              <a:gd name="connsiteY1026" fmla="*/ 2370478 h 3098304"/>
              <a:gd name="connsiteX1027" fmla="*/ 1124647 w 10799257"/>
              <a:gd name="connsiteY1027" fmla="*/ 2292764 h 3098304"/>
              <a:gd name="connsiteX1028" fmla="*/ 1202355 w 10799257"/>
              <a:gd name="connsiteY1028" fmla="*/ 2215028 h 3098304"/>
              <a:gd name="connsiteX1029" fmla="*/ 1014115 w 10799257"/>
              <a:gd name="connsiteY1029" fmla="*/ 2215028 h 3098304"/>
              <a:gd name="connsiteX1030" fmla="*/ 1091884 w 10799257"/>
              <a:gd name="connsiteY1030" fmla="*/ 2292764 h 3098304"/>
              <a:gd name="connsiteX1031" fmla="*/ 1014115 w 10799257"/>
              <a:gd name="connsiteY1031" fmla="*/ 2370478 h 3098304"/>
              <a:gd name="connsiteX1032" fmla="*/ 936418 w 10799257"/>
              <a:gd name="connsiteY1032" fmla="*/ 2292764 h 3098304"/>
              <a:gd name="connsiteX1033" fmla="*/ 1014115 w 10799257"/>
              <a:gd name="connsiteY1033" fmla="*/ 2215028 h 3098304"/>
              <a:gd name="connsiteX1034" fmla="*/ 830617 w 10799257"/>
              <a:gd name="connsiteY1034" fmla="*/ 2215028 h 3098304"/>
              <a:gd name="connsiteX1035" fmla="*/ 908371 w 10799257"/>
              <a:gd name="connsiteY1035" fmla="*/ 2292764 h 3098304"/>
              <a:gd name="connsiteX1036" fmla="*/ 830617 w 10799257"/>
              <a:gd name="connsiteY1036" fmla="*/ 2370478 h 3098304"/>
              <a:gd name="connsiteX1037" fmla="*/ 752876 w 10799257"/>
              <a:gd name="connsiteY1037" fmla="*/ 2292764 h 3098304"/>
              <a:gd name="connsiteX1038" fmla="*/ 830617 w 10799257"/>
              <a:gd name="connsiteY1038" fmla="*/ 2215028 h 3098304"/>
              <a:gd name="connsiteX1039" fmla="*/ 642384 w 10799257"/>
              <a:gd name="connsiteY1039" fmla="*/ 2215028 h 3098304"/>
              <a:gd name="connsiteX1040" fmla="*/ 720128 w 10799257"/>
              <a:gd name="connsiteY1040" fmla="*/ 2292764 h 3098304"/>
              <a:gd name="connsiteX1041" fmla="*/ 642384 w 10799257"/>
              <a:gd name="connsiteY1041" fmla="*/ 2370478 h 3098304"/>
              <a:gd name="connsiteX1042" fmla="*/ 564651 w 10799257"/>
              <a:gd name="connsiteY1042" fmla="*/ 2292764 h 3098304"/>
              <a:gd name="connsiteX1043" fmla="*/ 642384 w 10799257"/>
              <a:gd name="connsiteY1043" fmla="*/ 2215028 h 3098304"/>
              <a:gd name="connsiteX1044" fmla="*/ 10538005 w 10799257"/>
              <a:gd name="connsiteY1044" fmla="*/ 2215026 h 3098304"/>
              <a:gd name="connsiteX1045" fmla="*/ 10568264 w 10799257"/>
              <a:gd name="connsiteY1045" fmla="*/ 2221134 h 3098304"/>
              <a:gd name="connsiteX1046" fmla="*/ 10574001 w 10799257"/>
              <a:gd name="connsiteY1046" fmla="*/ 2225002 h 3098304"/>
              <a:gd name="connsiteX1047" fmla="*/ 10605231 w 10799257"/>
              <a:gd name="connsiteY1047" fmla="*/ 2255973 h 3098304"/>
              <a:gd name="connsiteX1048" fmla="*/ 10609633 w 10799257"/>
              <a:gd name="connsiteY1048" fmla="*/ 2262502 h 3098304"/>
              <a:gd name="connsiteX1049" fmla="*/ 10615742 w 10799257"/>
              <a:gd name="connsiteY1049" fmla="*/ 2292760 h 3098304"/>
              <a:gd name="connsiteX1050" fmla="*/ 10538005 w 10799257"/>
              <a:gd name="connsiteY1050" fmla="*/ 2370473 h 3098304"/>
              <a:gd name="connsiteX1051" fmla="*/ 10460268 w 10799257"/>
              <a:gd name="connsiteY1051" fmla="*/ 2292760 h 3098304"/>
              <a:gd name="connsiteX1052" fmla="*/ 10538005 w 10799257"/>
              <a:gd name="connsiteY1052" fmla="*/ 2215026 h 3098304"/>
              <a:gd name="connsiteX1053" fmla="*/ 10349782 w 10799257"/>
              <a:gd name="connsiteY1053" fmla="*/ 2215026 h 3098304"/>
              <a:gd name="connsiteX1054" fmla="*/ 10427519 w 10799257"/>
              <a:gd name="connsiteY1054" fmla="*/ 2292760 h 3098304"/>
              <a:gd name="connsiteX1055" fmla="*/ 10349782 w 10799257"/>
              <a:gd name="connsiteY1055" fmla="*/ 2370473 h 3098304"/>
              <a:gd name="connsiteX1056" fmla="*/ 10272045 w 10799257"/>
              <a:gd name="connsiteY1056" fmla="*/ 2292760 h 3098304"/>
              <a:gd name="connsiteX1057" fmla="*/ 10349782 w 10799257"/>
              <a:gd name="connsiteY1057" fmla="*/ 2215026 h 3098304"/>
              <a:gd name="connsiteX1058" fmla="*/ 10166265 w 10799257"/>
              <a:gd name="connsiteY1058" fmla="*/ 2215026 h 3098304"/>
              <a:gd name="connsiteX1059" fmla="*/ 10244002 w 10799257"/>
              <a:gd name="connsiteY1059" fmla="*/ 2292760 h 3098304"/>
              <a:gd name="connsiteX1060" fmla="*/ 10166265 w 10799257"/>
              <a:gd name="connsiteY1060" fmla="*/ 2370473 h 3098304"/>
              <a:gd name="connsiteX1061" fmla="*/ 10088528 w 10799257"/>
              <a:gd name="connsiteY1061" fmla="*/ 2292760 h 3098304"/>
              <a:gd name="connsiteX1062" fmla="*/ 10166265 w 10799257"/>
              <a:gd name="connsiteY1062" fmla="*/ 2215026 h 3098304"/>
              <a:gd name="connsiteX1063" fmla="*/ 9978044 w 10799257"/>
              <a:gd name="connsiteY1063" fmla="*/ 2215026 h 3098304"/>
              <a:gd name="connsiteX1064" fmla="*/ 10055781 w 10799257"/>
              <a:gd name="connsiteY1064" fmla="*/ 2292760 h 3098304"/>
              <a:gd name="connsiteX1065" fmla="*/ 9978044 w 10799257"/>
              <a:gd name="connsiteY1065" fmla="*/ 2370473 h 3098304"/>
              <a:gd name="connsiteX1066" fmla="*/ 9900307 w 10799257"/>
              <a:gd name="connsiteY1066" fmla="*/ 2292760 h 3098304"/>
              <a:gd name="connsiteX1067" fmla="*/ 9978044 w 10799257"/>
              <a:gd name="connsiteY1067" fmla="*/ 2215026 h 3098304"/>
              <a:gd name="connsiteX1068" fmla="*/ 9789823 w 10799257"/>
              <a:gd name="connsiteY1068" fmla="*/ 2215026 h 3098304"/>
              <a:gd name="connsiteX1069" fmla="*/ 9867560 w 10799257"/>
              <a:gd name="connsiteY1069" fmla="*/ 2292760 h 3098304"/>
              <a:gd name="connsiteX1070" fmla="*/ 9789823 w 10799257"/>
              <a:gd name="connsiteY1070" fmla="*/ 2370473 h 3098304"/>
              <a:gd name="connsiteX1071" fmla="*/ 9712086 w 10799257"/>
              <a:gd name="connsiteY1071" fmla="*/ 2292760 h 3098304"/>
              <a:gd name="connsiteX1072" fmla="*/ 9789823 w 10799257"/>
              <a:gd name="connsiteY1072" fmla="*/ 2215026 h 3098304"/>
              <a:gd name="connsiteX1073" fmla="*/ 9606308 w 10799257"/>
              <a:gd name="connsiteY1073" fmla="*/ 2215026 h 3098304"/>
              <a:gd name="connsiteX1074" fmla="*/ 9684045 w 10799257"/>
              <a:gd name="connsiteY1074" fmla="*/ 2292760 h 3098304"/>
              <a:gd name="connsiteX1075" fmla="*/ 9606308 w 10799257"/>
              <a:gd name="connsiteY1075" fmla="*/ 2370473 h 3098304"/>
              <a:gd name="connsiteX1076" fmla="*/ 9528571 w 10799257"/>
              <a:gd name="connsiteY1076" fmla="*/ 2292760 h 3098304"/>
              <a:gd name="connsiteX1077" fmla="*/ 9606308 w 10799257"/>
              <a:gd name="connsiteY1077" fmla="*/ 2215026 h 3098304"/>
              <a:gd name="connsiteX1078" fmla="*/ 9413381 w 10799257"/>
              <a:gd name="connsiteY1078" fmla="*/ 2215026 h 3098304"/>
              <a:gd name="connsiteX1079" fmla="*/ 9491118 w 10799257"/>
              <a:gd name="connsiteY1079" fmla="*/ 2292760 h 3098304"/>
              <a:gd name="connsiteX1080" fmla="*/ 9413381 w 10799257"/>
              <a:gd name="connsiteY1080" fmla="*/ 2370473 h 3098304"/>
              <a:gd name="connsiteX1081" fmla="*/ 9335644 w 10799257"/>
              <a:gd name="connsiteY1081" fmla="*/ 2292760 h 3098304"/>
              <a:gd name="connsiteX1082" fmla="*/ 9413381 w 10799257"/>
              <a:gd name="connsiteY1082" fmla="*/ 2215026 h 3098304"/>
              <a:gd name="connsiteX1083" fmla="*/ 9234570 w 10799257"/>
              <a:gd name="connsiteY1083" fmla="*/ 2215026 h 3098304"/>
              <a:gd name="connsiteX1084" fmla="*/ 9312307 w 10799257"/>
              <a:gd name="connsiteY1084" fmla="*/ 2292760 h 3098304"/>
              <a:gd name="connsiteX1085" fmla="*/ 9234570 w 10799257"/>
              <a:gd name="connsiteY1085" fmla="*/ 2370473 h 3098304"/>
              <a:gd name="connsiteX1086" fmla="*/ 9156833 w 10799257"/>
              <a:gd name="connsiteY1086" fmla="*/ 2292760 h 3098304"/>
              <a:gd name="connsiteX1087" fmla="*/ 9234570 w 10799257"/>
              <a:gd name="connsiteY1087" fmla="*/ 2215026 h 3098304"/>
              <a:gd name="connsiteX1088" fmla="*/ 9036939 w 10799257"/>
              <a:gd name="connsiteY1088" fmla="*/ 2215026 h 3098304"/>
              <a:gd name="connsiteX1089" fmla="*/ 9114675 w 10799257"/>
              <a:gd name="connsiteY1089" fmla="*/ 2292760 h 3098304"/>
              <a:gd name="connsiteX1090" fmla="*/ 9036939 w 10799257"/>
              <a:gd name="connsiteY1090" fmla="*/ 2370473 h 3098304"/>
              <a:gd name="connsiteX1091" fmla="*/ 8959202 w 10799257"/>
              <a:gd name="connsiteY1091" fmla="*/ 2292760 h 3098304"/>
              <a:gd name="connsiteX1092" fmla="*/ 9036939 w 10799257"/>
              <a:gd name="connsiteY1092" fmla="*/ 2215026 h 3098304"/>
              <a:gd name="connsiteX1093" fmla="*/ 8853421 w 10799257"/>
              <a:gd name="connsiteY1093" fmla="*/ 2215026 h 3098304"/>
              <a:gd name="connsiteX1094" fmla="*/ 8931158 w 10799257"/>
              <a:gd name="connsiteY1094" fmla="*/ 2292760 h 3098304"/>
              <a:gd name="connsiteX1095" fmla="*/ 8853421 w 10799257"/>
              <a:gd name="connsiteY1095" fmla="*/ 2370473 h 3098304"/>
              <a:gd name="connsiteX1096" fmla="*/ 8775685 w 10799257"/>
              <a:gd name="connsiteY1096" fmla="*/ 2292760 h 3098304"/>
              <a:gd name="connsiteX1097" fmla="*/ 8853421 w 10799257"/>
              <a:gd name="connsiteY1097" fmla="*/ 2215026 h 3098304"/>
              <a:gd name="connsiteX1098" fmla="*/ 8669908 w 10799257"/>
              <a:gd name="connsiteY1098" fmla="*/ 2215026 h 3098304"/>
              <a:gd name="connsiteX1099" fmla="*/ 8747645 w 10799257"/>
              <a:gd name="connsiteY1099" fmla="*/ 2292760 h 3098304"/>
              <a:gd name="connsiteX1100" fmla="*/ 8669908 w 10799257"/>
              <a:gd name="connsiteY1100" fmla="*/ 2370473 h 3098304"/>
              <a:gd name="connsiteX1101" fmla="*/ 8592171 w 10799257"/>
              <a:gd name="connsiteY1101" fmla="*/ 2292760 h 3098304"/>
              <a:gd name="connsiteX1102" fmla="*/ 8669908 w 10799257"/>
              <a:gd name="connsiteY1102" fmla="*/ 2215026 h 3098304"/>
              <a:gd name="connsiteX1103" fmla="*/ 8481684 w 10799257"/>
              <a:gd name="connsiteY1103" fmla="*/ 2215026 h 3098304"/>
              <a:gd name="connsiteX1104" fmla="*/ 8559421 w 10799257"/>
              <a:gd name="connsiteY1104" fmla="*/ 2292760 h 3098304"/>
              <a:gd name="connsiteX1105" fmla="*/ 8481684 w 10799257"/>
              <a:gd name="connsiteY1105" fmla="*/ 2370473 h 3098304"/>
              <a:gd name="connsiteX1106" fmla="*/ 8403948 w 10799257"/>
              <a:gd name="connsiteY1106" fmla="*/ 2292760 h 3098304"/>
              <a:gd name="connsiteX1107" fmla="*/ 8481684 w 10799257"/>
              <a:gd name="connsiteY1107" fmla="*/ 2215026 h 3098304"/>
              <a:gd name="connsiteX1108" fmla="*/ 8298167 w 10799257"/>
              <a:gd name="connsiteY1108" fmla="*/ 2215026 h 3098304"/>
              <a:gd name="connsiteX1109" fmla="*/ 8375904 w 10799257"/>
              <a:gd name="connsiteY1109" fmla="*/ 2292760 h 3098304"/>
              <a:gd name="connsiteX1110" fmla="*/ 8298167 w 10799257"/>
              <a:gd name="connsiteY1110" fmla="*/ 2370473 h 3098304"/>
              <a:gd name="connsiteX1111" fmla="*/ 8220430 w 10799257"/>
              <a:gd name="connsiteY1111" fmla="*/ 2292760 h 3098304"/>
              <a:gd name="connsiteX1112" fmla="*/ 8298167 w 10799257"/>
              <a:gd name="connsiteY1112" fmla="*/ 2215026 h 3098304"/>
              <a:gd name="connsiteX1113" fmla="*/ 8109949 w 10799257"/>
              <a:gd name="connsiteY1113" fmla="*/ 2215026 h 3098304"/>
              <a:gd name="connsiteX1114" fmla="*/ 8187686 w 10799257"/>
              <a:gd name="connsiteY1114" fmla="*/ 2292760 h 3098304"/>
              <a:gd name="connsiteX1115" fmla="*/ 8109949 w 10799257"/>
              <a:gd name="connsiteY1115" fmla="*/ 2370473 h 3098304"/>
              <a:gd name="connsiteX1116" fmla="*/ 8032212 w 10799257"/>
              <a:gd name="connsiteY1116" fmla="*/ 2292760 h 3098304"/>
              <a:gd name="connsiteX1117" fmla="*/ 8109949 w 10799257"/>
              <a:gd name="connsiteY1117" fmla="*/ 2215026 h 3098304"/>
              <a:gd name="connsiteX1118" fmla="*/ 7926434 w 10799257"/>
              <a:gd name="connsiteY1118" fmla="*/ 2215026 h 3098304"/>
              <a:gd name="connsiteX1119" fmla="*/ 8004171 w 10799257"/>
              <a:gd name="connsiteY1119" fmla="*/ 2292760 h 3098304"/>
              <a:gd name="connsiteX1120" fmla="*/ 7926434 w 10799257"/>
              <a:gd name="connsiteY1120" fmla="*/ 2370473 h 3098304"/>
              <a:gd name="connsiteX1121" fmla="*/ 7848697 w 10799257"/>
              <a:gd name="connsiteY1121" fmla="*/ 2292760 h 3098304"/>
              <a:gd name="connsiteX1122" fmla="*/ 7926434 w 10799257"/>
              <a:gd name="connsiteY1122" fmla="*/ 2215026 h 3098304"/>
              <a:gd name="connsiteX1123" fmla="*/ 7738213 w 10799257"/>
              <a:gd name="connsiteY1123" fmla="*/ 2215026 h 3098304"/>
              <a:gd name="connsiteX1124" fmla="*/ 7815950 w 10799257"/>
              <a:gd name="connsiteY1124" fmla="*/ 2292760 h 3098304"/>
              <a:gd name="connsiteX1125" fmla="*/ 7738213 w 10799257"/>
              <a:gd name="connsiteY1125" fmla="*/ 2370473 h 3098304"/>
              <a:gd name="connsiteX1126" fmla="*/ 7660476 w 10799257"/>
              <a:gd name="connsiteY1126" fmla="*/ 2292760 h 3098304"/>
              <a:gd name="connsiteX1127" fmla="*/ 7738213 w 10799257"/>
              <a:gd name="connsiteY1127" fmla="*/ 2215026 h 3098304"/>
              <a:gd name="connsiteX1128" fmla="*/ 7554696 w 10799257"/>
              <a:gd name="connsiteY1128" fmla="*/ 2215026 h 3098304"/>
              <a:gd name="connsiteX1129" fmla="*/ 7632433 w 10799257"/>
              <a:gd name="connsiteY1129" fmla="*/ 2292760 h 3098304"/>
              <a:gd name="connsiteX1130" fmla="*/ 7554696 w 10799257"/>
              <a:gd name="connsiteY1130" fmla="*/ 2370473 h 3098304"/>
              <a:gd name="connsiteX1131" fmla="*/ 7476959 w 10799257"/>
              <a:gd name="connsiteY1131" fmla="*/ 2292760 h 3098304"/>
              <a:gd name="connsiteX1132" fmla="*/ 7554696 w 10799257"/>
              <a:gd name="connsiteY1132" fmla="*/ 2215026 h 3098304"/>
              <a:gd name="connsiteX1133" fmla="*/ 7366472 w 10799257"/>
              <a:gd name="connsiteY1133" fmla="*/ 2215026 h 3098304"/>
              <a:gd name="connsiteX1134" fmla="*/ 7444209 w 10799257"/>
              <a:gd name="connsiteY1134" fmla="*/ 2292760 h 3098304"/>
              <a:gd name="connsiteX1135" fmla="*/ 7366472 w 10799257"/>
              <a:gd name="connsiteY1135" fmla="*/ 2370473 h 3098304"/>
              <a:gd name="connsiteX1136" fmla="*/ 7288736 w 10799257"/>
              <a:gd name="connsiteY1136" fmla="*/ 2292760 h 3098304"/>
              <a:gd name="connsiteX1137" fmla="*/ 7366472 w 10799257"/>
              <a:gd name="connsiteY1137" fmla="*/ 2215026 h 3098304"/>
              <a:gd name="connsiteX1138" fmla="*/ 7178251 w 10799257"/>
              <a:gd name="connsiteY1138" fmla="*/ 2215026 h 3098304"/>
              <a:gd name="connsiteX1139" fmla="*/ 7255988 w 10799257"/>
              <a:gd name="connsiteY1139" fmla="*/ 2292760 h 3098304"/>
              <a:gd name="connsiteX1140" fmla="*/ 7178251 w 10799257"/>
              <a:gd name="connsiteY1140" fmla="*/ 2370473 h 3098304"/>
              <a:gd name="connsiteX1141" fmla="*/ 7100514 w 10799257"/>
              <a:gd name="connsiteY1141" fmla="*/ 2292760 h 3098304"/>
              <a:gd name="connsiteX1142" fmla="*/ 7178251 w 10799257"/>
              <a:gd name="connsiteY1142" fmla="*/ 2215026 h 3098304"/>
              <a:gd name="connsiteX1143" fmla="*/ 6985327 w 10799257"/>
              <a:gd name="connsiteY1143" fmla="*/ 2215026 h 3098304"/>
              <a:gd name="connsiteX1144" fmla="*/ 7063064 w 10799257"/>
              <a:gd name="connsiteY1144" fmla="*/ 2292760 h 3098304"/>
              <a:gd name="connsiteX1145" fmla="*/ 6985327 w 10799257"/>
              <a:gd name="connsiteY1145" fmla="*/ 2370473 h 3098304"/>
              <a:gd name="connsiteX1146" fmla="*/ 6907590 w 10799257"/>
              <a:gd name="connsiteY1146" fmla="*/ 2292760 h 3098304"/>
              <a:gd name="connsiteX1147" fmla="*/ 6985327 w 10799257"/>
              <a:gd name="connsiteY1147" fmla="*/ 2215026 h 3098304"/>
              <a:gd name="connsiteX1148" fmla="*/ 6801810 w 10799257"/>
              <a:gd name="connsiteY1148" fmla="*/ 2215026 h 3098304"/>
              <a:gd name="connsiteX1149" fmla="*/ 6879546 w 10799257"/>
              <a:gd name="connsiteY1149" fmla="*/ 2292760 h 3098304"/>
              <a:gd name="connsiteX1150" fmla="*/ 6801810 w 10799257"/>
              <a:gd name="connsiteY1150" fmla="*/ 2370473 h 3098304"/>
              <a:gd name="connsiteX1151" fmla="*/ 6724073 w 10799257"/>
              <a:gd name="connsiteY1151" fmla="*/ 2292760 h 3098304"/>
              <a:gd name="connsiteX1152" fmla="*/ 6801810 w 10799257"/>
              <a:gd name="connsiteY1152" fmla="*/ 2215026 h 3098304"/>
              <a:gd name="connsiteX1153" fmla="*/ 6613588 w 10799257"/>
              <a:gd name="connsiteY1153" fmla="*/ 2215026 h 3098304"/>
              <a:gd name="connsiteX1154" fmla="*/ 6691325 w 10799257"/>
              <a:gd name="connsiteY1154" fmla="*/ 2292760 h 3098304"/>
              <a:gd name="connsiteX1155" fmla="*/ 6613588 w 10799257"/>
              <a:gd name="connsiteY1155" fmla="*/ 2370473 h 3098304"/>
              <a:gd name="connsiteX1156" fmla="*/ 6535852 w 10799257"/>
              <a:gd name="connsiteY1156" fmla="*/ 2292760 h 3098304"/>
              <a:gd name="connsiteX1157" fmla="*/ 6613588 w 10799257"/>
              <a:gd name="connsiteY1157" fmla="*/ 2215026 h 3098304"/>
              <a:gd name="connsiteX1158" fmla="*/ 6241850 w 10799257"/>
              <a:gd name="connsiteY1158" fmla="*/ 2215026 h 3098304"/>
              <a:gd name="connsiteX1159" fmla="*/ 6319587 w 10799257"/>
              <a:gd name="connsiteY1159" fmla="*/ 2292760 h 3098304"/>
              <a:gd name="connsiteX1160" fmla="*/ 6241850 w 10799257"/>
              <a:gd name="connsiteY1160" fmla="*/ 2370473 h 3098304"/>
              <a:gd name="connsiteX1161" fmla="*/ 6164113 w 10799257"/>
              <a:gd name="connsiteY1161" fmla="*/ 2292760 h 3098304"/>
              <a:gd name="connsiteX1162" fmla="*/ 6241850 w 10799257"/>
              <a:gd name="connsiteY1162" fmla="*/ 2215026 h 3098304"/>
              <a:gd name="connsiteX1163" fmla="*/ 6053630 w 10799257"/>
              <a:gd name="connsiteY1163" fmla="*/ 2215026 h 3098304"/>
              <a:gd name="connsiteX1164" fmla="*/ 6131367 w 10799257"/>
              <a:gd name="connsiteY1164" fmla="*/ 2292760 h 3098304"/>
              <a:gd name="connsiteX1165" fmla="*/ 6053630 w 10799257"/>
              <a:gd name="connsiteY1165" fmla="*/ 2370473 h 3098304"/>
              <a:gd name="connsiteX1166" fmla="*/ 5975894 w 10799257"/>
              <a:gd name="connsiteY1166" fmla="*/ 2292760 h 3098304"/>
              <a:gd name="connsiteX1167" fmla="*/ 6053630 w 10799257"/>
              <a:gd name="connsiteY1167" fmla="*/ 2215026 h 3098304"/>
              <a:gd name="connsiteX1168" fmla="*/ 5870113 w 10799257"/>
              <a:gd name="connsiteY1168" fmla="*/ 2215026 h 3098304"/>
              <a:gd name="connsiteX1169" fmla="*/ 5947850 w 10799257"/>
              <a:gd name="connsiteY1169" fmla="*/ 2292760 h 3098304"/>
              <a:gd name="connsiteX1170" fmla="*/ 5870113 w 10799257"/>
              <a:gd name="connsiteY1170" fmla="*/ 2370473 h 3098304"/>
              <a:gd name="connsiteX1171" fmla="*/ 5792376 w 10799257"/>
              <a:gd name="connsiteY1171" fmla="*/ 2292760 h 3098304"/>
              <a:gd name="connsiteX1172" fmla="*/ 5870113 w 10799257"/>
              <a:gd name="connsiteY1172" fmla="*/ 2215026 h 3098304"/>
              <a:gd name="connsiteX1173" fmla="*/ 5681931 w 10799257"/>
              <a:gd name="connsiteY1173" fmla="*/ 2215026 h 3098304"/>
              <a:gd name="connsiteX1174" fmla="*/ 5759629 w 10799257"/>
              <a:gd name="connsiteY1174" fmla="*/ 2292760 h 3098304"/>
              <a:gd name="connsiteX1175" fmla="*/ 5681931 w 10799257"/>
              <a:gd name="connsiteY1175" fmla="*/ 2370473 h 3098304"/>
              <a:gd name="connsiteX1176" fmla="*/ 5604176 w 10799257"/>
              <a:gd name="connsiteY1176" fmla="*/ 2292760 h 3098304"/>
              <a:gd name="connsiteX1177" fmla="*/ 5681931 w 10799257"/>
              <a:gd name="connsiteY1177" fmla="*/ 2215026 h 3098304"/>
              <a:gd name="connsiteX1178" fmla="*/ 5498381 w 10799257"/>
              <a:gd name="connsiteY1178" fmla="*/ 2215026 h 3098304"/>
              <a:gd name="connsiteX1179" fmla="*/ 5576126 w 10799257"/>
              <a:gd name="connsiteY1179" fmla="*/ 2292760 h 3098304"/>
              <a:gd name="connsiteX1180" fmla="*/ 5498381 w 10799257"/>
              <a:gd name="connsiteY1180" fmla="*/ 2370473 h 3098304"/>
              <a:gd name="connsiteX1181" fmla="*/ 5420642 w 10799257"/>
              <a:gd name="connsiteY1181" fmla="*/ 2292760 h 3098304"/>
              <a:gd name="connsiteX1182" fmla="*/ 5498381 w 10799257"/>
              <a:gd name="connsiteY1182" fmla="*/ 2215026 h 3098304"/>
              <a:gd name="connsiteX1183" fmla="*/ 5310166 w 10799257"/>
              <a:gd name="connsiteY1183" fmla="*/ 2215026 h 3098304"/>
              <a:gd name="connsiteX1184" fmla="*/ 5387897 w 10799257"/>
              <a:gd name="connsiteY1184" fmla="*/ 2292760 h 3098304"/>
              <a:gd name="connsiteX1185" fmla="*/ 5310166 w 10799257"/>
              <a:gd name="connsiteY1185" fmla="*/ 2370473 h 3098304"/>
              <a:gd name="connsiteX1186" fmla="*/ 5232439 w 10799257"/>
              <a:gd name="connsiteY1186" fmla="*/ 2292760 h 3098304"/>
              <a:gd name="connsiteX1187" fmla="*/ 5310166 w 10799257"/>
              <a:gd name="connsiteY1187" fmla="*/ 2215026 h 3098304"/>
              <a:gd name="connsiteX1188" fmla="*/ 5126655 w 10799257"/>
              <a:gd name="connsiteY1188" fmla="*/ 2215026 h 3098304"/>
              <a:gd name="connsiteX1189" fmla="*/ 5204392 w 10799257"/>
              <a:gd name="connsiteY1189" fmla="*/ 2292760 h 3098304"/>
              <a:gd name="connsiteX1190" fmla="*/ 5126655 w 10799257"/>
              <a:gd name="connsiteY1190" fmla="*/ 2370473 h 3098304"/>
              <a:gd name="connsiteX1191" fmla="*/ 5048928 w 10799257"/>
              <a:gd name="connsiteY1191" fmla="*/ 2292760 h 3098304"/>
              <a:gd name="connsiteX1192" fmla="*/ 5126655 w 10799257"/>
              <a:gd name="connsiteY1192" fmla="*/ 2215026 h 3098304"/>
              <a:gd name="connsiteX1193" fmla="*/ 3061043 w 10799257"/>
              <a:gd name="connsiteY1193" fmla="*/ 2215026 h 3098304"/>
              <a:gd name="connsiteX1194" fmla="*/ 3138780 w 10799257"/>
              <a:gd name="connsiteY1194" fmla="*/ 2292760 h 3098304"/>
              <a:gd name="connsiteX1195" fmla="*/ 3061043 w 10799257"/>
              <a:gd name="connsiteY1195" fmla="*/ 2370473 h 3098304"/>
              <a:gd name="connsiteX1196" fmla="*/ 2983293 w 10799257"/>
              <a:gd name="connsiteY1196" fmla="*/ 2292760 h 3098304"/>
              <a:gd name="connsiteX1197" fmla="*/ 3061043 w 10799257"/>
              <a:gd name="connsiteY1197" fmla="*/ 2215026 h 3098304"/>
              <a:gd name="connsiteX1198" fmla="*/ 2882225 w 10799257"/>
              <a:gd name="connsiteY1198" fmla="*/ 2215026 h 3098304"/>
              <a:gd name="connsiteX1199" fmla="*/ 2959965 w 10799257"/>
              <a:gd name="connsiteY1199" fmla="*/ 2292760 h 3098304"/>
              <a:gd name="connsiteX1200" fmla="*/ 2882225 w 10799257"/>
              <a:gd name="connsiteY1200" fmla="*/ 2370473 h 3098304"/>
              <a:gd name="connsiteX1201" fmla="*/ 2804499 w 10799257"/>
              <a:gd name="connsiteY1201" fmla="*/ 2292760 h 3098304"/>
              <a:gd name="connsiteX1202" fmla="*/ 2882225 w 10799257"/>
              <a:gd name="connsiteY1202" fmla="*/ 2215026 h 3098304"/>
              <a:gd name="connsiteX1203" fmla="*/ 2689321 w 10799257"/>
              <a:gd name="connsiteY1203" fmla="*/ 2215026 h 3098304"/>
              <a:gd name="connsiteX1204" fmla="*/ 2767032 w 10799257"/>
              <a:gd name="connsiteY1204" fmla="*/ 2292760 h 3098304"/>
              <a:gd name="connsiteX1205" fmla="*/ 2689321 w 10799257"/>
              <a:gd name="connsiteY1205" fmla="*/ 2370473 h 3098304"/>
              <a:gd name="connsiteX1206" fmla="*/ 2611585 w 10799257"/>
              <a:gd name="connsiteY1206" fmla="*/ 2292760 h 3098304"/>
              <a:gd name="connsiteX1207" fmla="*/ 2689321 w 10799257"/>
              <a:gd name="connsiteY1207" fmla="*/ 2215026 h 3098304"/>
              <a:gd name="connsiteX1208" fmla="*/ 2510500 w 10799257"/>
              <a:gd name="connsiteY1208" fmla="*/ 2215026 h 3098304"/>
              <a:gd name="connsiteX1209" fmla="*/ 2588245 w 10799257"/>
              <a:gd name="connsiteY1209" fmla="*/ 2292760 h 3098304"/>
              <a:gd name="connsiteX1210" fmla="*/ 2510500 w 10799257"/>
              <a:gd name="connsiteY1210" fmla="*/ 2370473 h 3098304"/>
              <a:gd name="connsiteX1211" fmla="*/ 2432745 w 10799257"/>
              <a:gd name="connsiteY1211" fmla="*/ 2292760 h 3098304"/>
              <a:gd name="connsiteX1212" fmla="*/ 2510500 w 10799257"/>
              <a:gd name="connsiteY1212" fmla="*/ 2215026 h 3098304"/>
              <a:gd name="connsiteX1213" fmla="*/ 2317543 w 10799257"/>
              <a:gd name="connsiteY1213" fmla="*/ 2215026 h 3098304"/>
              <a:gd name="connsiteX1214" fmla="*/ 2395284 w 10799257"/>
              <a:gd name="connsiteY1214" fmla="*/ 2292760 h 3098304"/>
              <a:gd name="connsiteX1215" fmla="*/ 2317543 w 10799257"/>
              <a:gd name="connsiteY1215" fmla="*/ 2370473 h 3098304"/>
              <a:gd name="connsiteX1216" fmla="*/ 2239817 w 10799257"/>
              <a:gd name="connsiteY1216" fmla="*/ 2292760 h 3098304"/>
              <a:gd name="connsiteX1217" fmla="*/ 2317543 w 10799257"/>
              <a:gd name="connsiteY1217" fmla="*/ 2215026 h 3098304"/>
              <a:gd name="connsiteX1218" fmla="*/ 2129344 w 10799257"/>
              <a:gd name="connsiteY1218" fmla="*/ 2215026 h 3098304"/>
              <a:gd name="connsiteX1219" fmla="*/ 2207072 w 10799257"/>
              <a:gd name="connsiteY1219" fmla="*/ 2292760 h 3098304"/>
              <a:gd name="connsiteX1220" fmla="*/ 2129344 w 10799257"/>
              <a:gd name="connsiteY1220" fmla="*/ 2370473 h 3098304"/>
              <a:gd name="connsiteX1221" fmla="*/ 2051618 w 10799257"/>
              <a:gd name="connsiteY1221" fmla="*/ 2292760 h 3098304"/>
              <a:gd name="connsiteX1222" fmla="*/ 2129344 w 10799257"/>
              <a:gd name="connsiteY1222" fmla="*/ 2215026 h 3098304"/>
              <a:gd name="connsiteX1223" fmla="*/ 1941149 w 10799257"/>
              <a:gd name="connsiteY1223" fmla="*/ 2215026 h 3098304"/>
              <a:gd name="connsiteX1224" fmla="*/ 2018875 w 10799257"/>
              <a:gd name="connsiteY1224" fmla="*/ 2292760 h 3098304"/>
              <a:gd name="connsiteX1225" fmla="*/ 1941149 w 10799257"/>
              <a:gd name="connsiteY1225" fmla="*/ 2370473 h 3098304"/>
              <a:gd name="connsiteX1226" fmla="*/ 1863421 w 10799257"/>
              <a:gd name="connsiteY1226" fmla="*/ 2292760 h 3098304"/>
              <a:gd name="connsiteX1227" fmla="*/ 1941149 w 10799257"/>
              <a:gd name="connsiteY1227" fmla="*/ 2215026 h 3098304"/>
              <a:gd name="connsiteX1228" fmla="*/ 1757654 w 10799257"/>
              <a:gd name="connsiteY1228" fmla="*/ 2215026 h 3098304"/>
              <a:gd name="connsiteX1229" fmla="*/ 1835384 w 10799257"/>
              <a:gd name="connsiteY1229" fmla="*/ 2292760 h 3098304"/>
              <a:gd name="connsiteX1230" fmla="*/ 1757654 w 10799257"/>
              <a:gd name="connsiteY1230" fmla="*/ 2370473 h 3098304"/>
              <a:gd name="connsiteX1231" fmla="*/ 1679928 w 10799257"/>
              <a:gd name="connsiteY1231" fmla="*/ 2292760 h 3098304"/>
              <a:gd name="connsiteX1232" fmla="*/ 1757654 w 10799257"/>
              <a:gd name="connsiteY1232" fmla="*/ 2215026 h 3098304"/>
              <a:gd name="connsiteX1233" fmla="*/ 1569426 w 10799257"/>
              <a:gd name="connsiteY1233" fmla="*/ 2215026 h 3098304"/>
              <a:gd name="connsiteX1234" fmla="*/ 1647186 w 10799257"/>
              <a:gd name="connsiteY1234" fmla="*/ 2292760 h 3098304"/>
              <a:gd name="connsiteX1235" fmla="*/ 1569426 w 10799257"/>
              <a:gd name="connsiteY1235" fmla="*/ 2370473 h 3098304"/>
              <a:gd name="connsiteX1236" fmla="*/ 1491704 w 10799257"/>
              <a:gd name="connsiteY1236" fmla="*/ 2292760 h 3098304"/>
              <a:gd name="connsiteX1237" fmla="*/ 1569426 w 10799257"/>
              <a:gd name="connsiteY1237" fmla="*/ 2215026 h 3098304"/>
              <a:gd name="connsiteX1238" fmla="*/ 458872 w 10799257"/>
              <a:gd name="connsiteY1238" fmla="*/ 2215026 h 3098304"/>
              <a:gd name="connsiteX1239" fmla="*/ 536609 w 10799257"/>
              <a:gd name="connsiteY1239" fmla="*/ 2292761 h 3098304"/>
              <a:gd name="connsiteX1240" fmla="*/ 458872 w 10799257"/>
              <a:gd name="connsiteY1240" fmla="*/ 2370474 h 3098304"/>
              <a:gd name="connsiteX1241" fmla="*/ 381138 w 10799257"/>
              <a:gd name="connsiteY1241" fmla="*/ 2292761 h 3098304"/>
              <a:gd name="connsiteX1242" fmla="*/ 458872 w 10799257"/>
              <a:gd name="connsiteY1242" fmla="*/ 2215026 h 3098304"/>
              <a:gd name="connsiteX1243" fmla="*/ 10462142 w 10799257"/>
              <a:gd name="connsiteY1243" fmla="*/ 2114072 h 3098304"/>
              <a:gd name="connsiteX1244" fmla="*/ 10547886 w 10799257"/>
              <a:gd name="connsiteY1244" fmla="*/ 2199104 h 3098304"/>
              <a:gd name="connsiteX1245" fmla="*/ 10538003 w 10799257"/>
              <a:gd name="connsiteY1245" fmla="*/ 2201099 h 3098304"/>
              <a:gd name="connsiteX1246" fmla="*/ 10460266 w 10799257"/>
              <a:gd name="connsiteY1246" fmla="*/ 2123364 h 3098304"/>
              <a:gd name="connsiteX1247" fmla="*/ 10349781 w 10799257"/>
              <a:gd name="connsiteY1247" fmla="*/ 2045628 h 3098304"/>
              <a:gd name="connsiteX1248" fmla="*/ 10427518 w 10799257"/>
              <a:gd name="connsiteY1248" fmla="*/ 2123364 h 3098304"/>
              <a:gd name="connsiteX1249" fmla="*/ 10349781 w 10799257"/>
              <a:gd name="connsiteY1249" fmla="*/ 2201099 h 3098304"/>
              <a:gd name="connsiteX1250" fmla="*/ 10272044 w 10799257"/>
              <a:gd name="connsiteY1250" fmla="*/ 2123364 h 3098304"/>
              <a:gd name="connsiteX1251" fmla="*/ 10349781 w 10799257"/>
              <a:gd name="connsiteY1251" fmla="*/ 2045628 h 3098304"/>
              <a:gd name="connsiteX1252" fmla="*/ 10166265 w 10799257"/>
              <a:gd name="connsiteY1252" fmla="*/ 2045628 h 3098304"/>
              <a:gd name="connsiteX1253" fmla="*/ 10244002 w 10799257"/>
              <a:gd name="connsiteY1253" fmla="*/ 2123364 h 3098304"/>
              <a:gd name="connsiteX1254" fmla="*/ 10166265 w 10799257"/>
              <a:gd name="connsiteY1254" fmla="*/ 2201099 h 3098304"/>
              <a:gd name="connsiteX1255" fmla="*/ 10088528 w 10799257"/>
              <a:gd name="connsiteY1255" fmla="*/ 2123364 h 3098304"/>
              <a:gd name="connsiteX1256" fmla="*/ 10166265 w 10799257"/>
              <a:gd name="connsiteY1256" fmla="*/ 2045628 h 3098304"/>
              <a:gd name="connsiteX1257" fmla="*/ 9978044 w 10799257"/>
              <a:gd name="connsiteY1257" fmla="*/ 2045628 h 3098304"/>
              <a:gd name="connsiteX1258" fmla="*/ 10055781 w 10799257"/>
              <a:gd name="connsiteY1258" fmla="*/ 2123364 h 3098304"/>
              <a:gd name="connsiteX1259" fmla="*/ 9978044 w 10799257"/>
              <a:gd name="connsiteY1259" fmla="*/ 2201099 h 3098304"/>
              <a:gd name="connsiteX1260" fmla="*/ 9900307 w 10799257"/>
              <a:gd name="connsiteY1260" fmla="*/ 2123364 h 3098304"/>
              <a:gd name="connsiteX1261" fmla="*/ 9978044 w 10799257"/>
              <a:gd name="connsiteY1261" fmla="*/ 2045628 h 3098304"/>
              <a:gd name="connsiteX1262" fmla="*/ 9789823 w 10799257"/>
              <a:gd name="connsiteY1262" fmla="*/ 2045628 h 3098304"/>
              <a:gd name="connsiteX1263" fmla="*/ 9867560 w 10799257"/>
              <a:gd name="connsiteY1263" fmla="*/ 2123364 h 3098304"/>
              <a:gd name="connsiteX1264" fmla="*/ 9789823 w 10799257"/>
              <a:gd name="connsiteY1264" fmla="*/ 2201099 h 3098304"/>
              <a:gd name="connsiteX1265" fmla="*/ 9712086 w 10799257"/>
              <a:gd name="connsiteY1265" fmla="*/ 2123364 h 3098304"/>
              <a:gd name="connsiteX1266" fmla="*/ 9789823 w 10799257"/>
              <a:gd name="connsiteY1266" fmla="*/ 2045628 h 3098304"/>
              <a:gd name="connsiteX1267" fmla="*/ 9606306 w 10799257"/>
              <a:gd name="connsiteY1267" fmla="*/ 2045628 h 3098304"/>
              <a:gd name="connsiteX1268" fmla="*/ 9684043 w 10799257"/>
              <a:gd name="connsiteY1268" fmla="*/ 2123364 h 3098304"/>
              <a:gd name="connsiteX1269" fmla="*/ 9606306 w 10799257"/>
              <a:gd name="connsiteY1269" fmla="*/ 2201099 h 3098304"/>
              <a:gd name="connsiteX1270" fmla="*/ 9528569 w 10799257"/>
              <a:gd name="connsiteY1270" fmla="*/ 2123364 h 3098304"/>
              <a:gd name="connsiteX1271" fmla="*/ 9606306 w 10799257"/>
              <a:gd name="connsiteY1271" fmla="*/ 2045628 h 3098304"/>
              <a:gd name="connsiteX1272" fmla="*/ 9413378 w 10799257"/>
              <a:gd name="connsiteY1272" fmla="*/ 2045628 h 3098304"/>
              <a:gd name="connsiteX1273" fmla="*/ 9491115 w 10799257"/>
              <a:gd name="connsiteY1273" fmla="*/ 2123364 h 3098304"/>
              <a:gd name="connsiteX1274" fmla="*/ 9413378 w 10799257"/>
              <a:gd name="connsiteY1274" fmla="*/ 2201099 h 3098304"/>
              <a:gd name="connsiteX1275" fmla="*/ 9335641 w 10799257"/>
              <a:gd name="connsiteY1275" fmla="*/ 2123364 h 3098304"/>
              <a:gd name="connsiteX1276" fmla="*/ 9413378 w 10799257"/>
              <a:gd name="connsiteY1276" fmla="*/ 2045628 h 3098304"/>
              <a:gd name="connsiteX1277" fmla="*/ 9234570 w 10799257"/>
              <a:gd name="connsiteY1277" fmla="*/ 2045628 h 3098304"/>
              <a:gd name="connsiteX1278" fmla="*/ 9312307 w 10799257"/>
              <a:gd name="connsiteY1278" fmla="*/ 2123364 h 3098304"/>
              <a:gd name="connsiteX1279" fmla="*/ 9234570 w 10799257"/>
              <a:gd name="connsiteY1279" fmla="*/ 2201099 h 3098304"/>
              <a:gd name="connsiteX1280" fmla="*/ 9156833 w 10799257"/>
              <a:gd name="connsiteY1280" fmla="*/ 2123364 h 3098304"/>
              <a:gd name="connsiteX1281" fmla="*/ 9234570 w 10799257"/>
              <a:gd name="connsiteY1281" fmla="*/ 2045628 h 3098304"/>
              <a:gd name="connsiteX1282" fmla="*/ 9036936 w 10799257"/>
              <a:gd name="connsiteY1282" fmla="*/ 2045628 h 3098304"/>
              <a:gd name="connsiteX1283" fmla="*/ 9114673 w 10799257"/>
              <a:gd name="connsiteY1283" fmla="*/ 2123364 h 3098304"/>
              <a:gd name="connsiteX1284" fmla="*/ 9036936 w 10799257"/>
              <a:gd name="connsiteY1284" fmla="*/ 2201099 h 3098304"/>
              <a:gd name="connsiteX1285" fmla="*/ 8959199 w 10799257"/>
              <a:gd name="connsiteY1285" fmla="*/ 2123364 h 3098304"/>
              <a:gd name="connsiteX1286" fmla="*/ 9036936 w 10799257"/>
              <a:gd name="connsiteY1286" fmla="*/ 2045628 h 3098304"/>
              <a:gd name="connsiteX1287" fmla="*/ 8853421 w 10799257"/>
              <a:gd name="connsiteY1287" fmla="*/ 2045628 h 3098304"/>
              <a:gd name="connsiteX1288" fmla="*/ 8931158 w 10799257"/>
              <a:gd name="connsiteY1288" fmla="*/ 2123364 h 3098304"/>
              <a:gd name="connsiteX1289" fmla="*/ 8853421 w 10799257"/>
              <a:gd name="connsiteY1289" fmla="*/ 2201099 h 3098304"/>
              <a:gd name="connsiteX1290" fmla="*/ 8775685 w 10799257"/>
              <a:gd name="connsiteY1290" fmla="*/ 2123364 h 3098304"/>
              <a:gd name="connsiteX1291" fmla="*/ 8853421 w 10799257"/>
              <a:gd name="connsiteY1291" fmla="*/ 2045628 h 3098304"/>
              <a:gd name="connsiteX1292" fmla="*/ 8669907 w 10799257"/>
              <a:gd name="connsiteY1292" fmla="*/ 2045628 h 3098304"/>
              <a:gd name="connsiteX1293" fmla="*/ 8747644 w 10799257"/>
              <a:gd name="connsiteY1293" fmla="*/ 2123364 h 3098304"/>
              <a:gd name="connsiteX1294" fmla="*/ 8669907 w 10799257"/>
              <a:gd name="connsiteY1294" fmla="*/ 2201099 h 3098304"/>
              <a:gd name="connsiteX1295" fmla="*/ 8592170 w 10799257"/>
              <a:gd name="connsiteY1295" fmla="*/ 2123364 h 3098304"/>
              <a:gd name="connsiteX1296" fmla="*/ 8669907 w 10799257"/>
              <a:gd name="connsiteY1296" fmla="*/ 2045628 h 3098304"/>
              <a:gd name="connsiteX1297" fmla="*/ 8481683 w 10799257"/>
              <a:gd name="connsiteY1297" fmla="*/ 2045628 h 3098304"/>
              <a:gd name="connsiteX1298" fmla="*/ 8559420 w 10799257"/>
              <a:gd name="connsiteY1298" fmla="*/ 2123364 h 3098304"/>
              <a:gd name="connsiteX1299" fmla="*/ 8481683 w 10799257"/>
              <a:gd name="connsiteY1299" fmla="*/ 2201099 h 3098304"/>
              <a:gd name="connsiteX1300" fmla="*/ 8403946 w 10799257"/>
              <a:gd name="connsiteY1300" fmla="*/ 2123364 h 3098304"/>
              <a:gd name="connsiteX1301" fmla="*/ 8481683 w 10799257"/>
              <a:gd name="connsiteY1301" fmla="*/ 2045628 h 3098304"/>
              <a:gd name="connsiteX1302" fmla="*/ 8298167 w 10799257"/>
              <a:gd name="connsiteY1302" fmla="*/ 2045628 h 3098304"/>
              <a:gd name="connsiteX1303" fmla="*/ 8375904 w 10799257"/>
              <a:gd name="connsiteY1303" fmla="*/ 2123364 h 3098304"/>
              <a:gd name="connsiteX1304" fmla="*/ 8298167 w 10799257"/>
              <a:gd name="connsiteY1304" fmla="*/ 2201099 h 3098304"/>
              <a:gd name="connsiteX1305" fmla="*/ 8220430 w 10799257"/>
              <a:gd name="connsiteY1305" fmla="*/ 2123364 h 3098304"/>
              <a:gd name="connsiteX1306" fmla="*/ 8298167 w 10799257"/>
              <a:gd name="connsiteY1306" fmla="*/ 2045628 h 3098304"/>
              <a:gd name="connsiteX1307" fmla="*/ 8109949 w 10799257"/>
              <a:gd name="connsiteY1307" fmla="*/ 2045628 h 3098304"/>
              <a:gd name="connsiteX1308" fmla="*/ 8187686 w 10799257"/>
              <a:gd name="connsiteY1308" fmla="*/ 2123364 h 3098304"/>
              <a:gd name="connsiteX1309" fmla="*/ 8109949 w 10799257"/>
              <a:gd name="connsiteY1309" fmla="*/ 2201099 h 3098304"/>
              <a:gd name="connsiteX1310" fmla="*/ 8032212 w 10799257"/>
              <a:gd name="connsiteY1310" fmla="*/ 2123364 h 3098304"/>
              <a:gd name="connsiteX1311" fmla="*/ 8109949 w 10799257"/>
              <a:gd name="connsiteY1311" fmla="*/ 2045628 h 3098304"/>
              <a:gd name="connsiteX1312" fmla="*/ 7926432 w 10799257"/>
              <a:gd name="connsiteY1312" fmla="*/ 2045628 h 3098304"/>
              <a:gd name="connsiteX1313" fmla="*/ 8004169 w 10799257"/>
              <a:gd name="connsiteY1313" fmla="*/ 2123364 h 3098304"/>
              <a:gd name="connsiteX1314" fmla="*/ 7926432 w 10799257"/>
              <a:gd name="connsiteY1314" fmla="*/ 2201099 h 3098304"/>
              <a:gd name="connsiteX1315" fmla="*/ 7848695 w 10799257"/>
              <a:gd name="connsiteY1315" fmla="*/ 2123364 h 3098304"/>
              <a:gd name="connsiteX1316" fmla="*/ 7926432 w 10799257"/>
              <a:gd name="connsiteY1316" fmla="*/ 2045628 h 3098304"/>
              <a:gd name="connsiteX1317" fmla="*/ 7738211 w 10799257"/>
              <a:gd name="connsiteY1317" fmla="*/ 2045628 h 3098304"/>
              <a:gd name="connsiteX1318" fmla="*/ 7815947 w 10799257"/>
              <a:gd name="connsiteY1318" fmla="*/ 2123364 h 3098304"/>
              <a:gd name="connsiteX1319" fmla="*/ 7738211 w 10799257"/>
              <a:gd name="connsiteY1319" fmla="*/ 2201099 h 3098304"/>
              <a:gd name="connsiteX1320" fmla="*/ 7660474 w 10799257"/>
              <a:gd name="connsiteY1320" fmla="*/ 2123364 h 3098304"/>
              <a:gd name="connsiteX1321" fmla="*/ 7738211 w 10799257"/>
              <a:gd name="connsiteY1321" fmla="*/ 2045628 h 3098304"/>
              <a:gd name="connsiteX1322" fmla="*/ 7554693 w 10799257"/>
              <a:gd name="connsiteY1322" fmla="*/ 2045628 h 3098304"/>
              <a:gd name="connsiteX1323" fmla="*/ 7632430 w 10799257"/>
              <a:gd name="connsiteY1323" fmla="*/ 2123364 h 3098304"/>
              <a:gd name="connsiteX1324" fmla="*/ 7554693 w 10799257"/>
              <a:gd name="connsiteY1324" fmla="*/ 2201099 h 3098304"/>
              <a:gd name="connsiteX1325" fmla="*/ 7476957 w 10799257"/>
              <a:gd name="connsiteY1325" fmla="*/ 2123364 h 3098304"/>
              <a:gd name="connsiteX1326" fmla="*/ 7554693 w 10799257"/>
              <a:gd name="connsiteY1326" fmla="*/ 2045628 h 3098304"/>
              <a:gd name="connsiteX1327" fmla="*/ 7366472 w 10799257"/>
              <a:gd name="connsiteY1327" fmla="*/ 2045628 h 3098304"/>
              <a:gd name="connsiteX1328" fmla="*/ 7444209 w 10799257"/>
              <a:gd name="connsiteY1328" fmla="*/ 2123364 h 3098304"/>
              <a:gd name="connsiteX1329" fmla="*/ 7366472 w 10799257"/>
              <a:gd name="connsiteY1329" fmla="*/ 2201099 h 3098304"/>
              <a:gd name="connsiteX1330" fmla="*/ 7288736 w 10799257"/>
              <a:gd name="connsiteY1330" fmla="*/ 2123364 h 3098304"/>
              <a:gd name="connsiteX1331" fmla="*/ 7366472 w 10799257"/>
              <a:gd name="connsiteY1331" fmla="*/ 2045628 h 3098304"/>
              <a:gd name="connsiteX1332" fmla="*/ 7178251 w 10799257"/>
              <a:gd name="connsiteY1332" fmla="*/ 2045628 h 3098304"/>
              <a:gd name="connsiteX1333" fmla="*/ 7255988 w 10799257"/>
              <a:gd name="connsiteY1333" fmla="*/ 2123364 h 3098304"/>
              <a:gd name="connsiteX1334" fmla="*/ 7178251 w 10799257"/>
              <a:gd name="connsiteY1334" fmla="*/ 2201099 h 3098304"/>
              <a:gd name="connsiteX1335" fmla="*/ 7100514 w 10799257"/>
              <a:gd name="connsiteY1335" fmla="*/ 2123364 h 3098304"/>
              <a:gd name="connsiteX1336" fmla="*/ 7178251 w 10799257"/>
              <a:gd name="connsiteY1336" fmla="*/ 2045628 h 3098304"/>
              <a:gd name="connsiteX1337" fmla="*/ 6985327 w 10799257"/>
              <a:gd name="connsiteY1337" fmla="*/ 2045628 h 3098304"/>
              <a:gd name="connsiteX1338" fmla="*/ 7063064 w 10799257"/>
              <a:gd name="connsiteY1338" fmla="*/ 2123364 h 3098304"/>
              <a:gd name="connsiteX1339" fmla="*/ 6985327 w 10799257"/>
              <a:gd name="connsiteY1339" fmla="*/ 2201099 h 3098304"/>
              <a:gd name="connsiteX1340" fmla="*/ 6907590 w 10799257"/>
              <a:gd name="connsiteY1340" fmla="*/ 2123364 h 3098304"/>
              <a:gd name="connsiteX1341" fmla="*/ 6985327 w 10799257"/>
              <a:gd name="connsiteY1341" fmla="*/ 2045628 h 3098304"/>
              <a:gd name="connsiteX1342" fmla="*/ 6801807 w 10799257"/>
              <a:gd name="connsiteY1342" fmla="*/ 2045628 h 3098304"/>
              <a:gd name="connsiteX1343" fmla="*/ 6879544 w 10799257"/>
              <a:gd name="connsiteY1343" fmla="*/ 2123364 h 3098304"/>
              <a:gd name="connsiteX1344" fmla="*/ 6801807 w 10799257"/>
              <a:gd name="connsiteY1344" fmla="*/ 2201099 h 3098304"/>
              <a:gd name="connsiteX1345" fmla="*/ 6724070 w 10799257"/>
              <a:gd name="connsiteY1345" fmla="*/ 2123364 h 3098304"/>
              <a:gd name="connsiteX1346" fmla="*/ 6801807 w 10799257"/>
              <a:gd name="connsiteY1346" fmla="*/ 2045628 h 3098304"/>
              <a:gd name="connsiteX1347" fmla="*/ 6613586 w 10799257"/>
              <a:gd name="connsiteY1347" fmla="*/ 2045628 h 3098304"/>
              <a:gd name="connsiteX1348" fmla="*/ 6691323 w 10799257"/>
              <a:gd name="connsiteY1348" fmla="*/ 2123364 h 3098304"/>
              <a:gd name="connsiteX1349" fmla="*/ 6613586 w 10799257"/>
              <a:gd name="connsiteY1349" fmla="*/ 2201099 h 3098304"/>
              <a:gd name="connsiteX1350" fmla="*/ 6535849 w 10799257"/>
              <a:gd name="connsiteY1350" fmla="*/ 2123364 h 3098304"/>
              <a:gd name="connsiteX1351" fmla="*/ 6613586 w 10799257"/>
              <a:gd name="connsiteY1351" fmla="*/ 2045628 h 3098304"/>
              <a:gd name="connsiteX1352" fmla="*/ 6425365 w 10799257"/>
              <a:gd name="connsiteY1352" fmla="*/ 2045628 h 3098304"/>
              <a:gd name="connsiteX1353" fmla="*/ 6503102 w 10799257"/>
              <a:gd name="connsiteY1353" fmla="*/ 2123364 h 3098304"/>
              <a:gd name="connsiteX1354" fmla="*/ 6425365 w 10799257"/>
              <a:gd name="connsiteY1354" fmla="*/ 2201099 h 3098304"/>
              <a:gd name="connsiteX1355" fmla="*/ 6347628 w 10799257"/>
              <a:gd name="connsiteY1355" fmla="*/ 2123364 h 3098304"/>
              <a:gd name="connsiteX1356" fmla="*/ 6425365 w 10799257"/>
              <a:gd name="connsiteY1356" fmla="*/ 2045628 h 3098304"/>
              <a:gd name="connsiteX1357" fmla="*/ 6241850 w 10799257"/>
              <a:gd name="connsiteY1357" fmla="*/ 2045628 h 3098304"/>
              <a:gd name="connsiteX1358" fmla="*/ 6319587 w 10799257"/>
              <a:gd name="connsiteY1358" fmla="*/ 2123364 h 3098304"/>
              <a:gd name="connsiteX1359" fmla="*/ 6241850 w 10799257"/>
              <a:gd name="connsiteY1359" fmla="*/ 2201099 h 3098304"/>
              <a:gd name="connsiteX1360" fmla="*/ 6164113 w 10799257"/>
              <a:gd name="connsiteY1360" fmla="*/ 2123364 h 3098304"/>
              <a:gd name="connsiteX1361" fmla="*/ 6241850 w 10799257"/>
              <a:gd name="connsiteY1361" fmla="*/ 2045628 h 3098304"/>
              <a:gd name="connsiteX1362" fmla="*/ 6053630 w 10799257"/>
              <a:gd name="connsiteY1362" fmla="*/ 2045628 h 3098304"/>
              <a:gd name="connsiteX1363" fmla="*/ 6131367 w 10799257"/>
              <a:gd name="connsiteY1363" fmla="*/ 2123364 h 3098304"/>
              <a:gd name="connsiteX1364" fmla="*/ 6053630 w 10799257"/>
              <a:gd name="connsiteY1364" fmla="*/ 2201099 h 3098304"/>
              <a:gd name="connsiteX1365" fmla="*/ 5975894 w 10799257"/>
              <a:gd name="connsiteY1365" fmla="*/ 2123364 h 3098304"/>
              <a:gd name="connsiteX1366" fmla="*/ 6053630 w 10799257"/>
              <a:gd name="connsiteY1366" fmla="*/ 2045628 h 3098304"/>
              <a:gd name="connsiteX1367" fmla="*/ 5870112 w 10799257"/>
              <a:gd name="connsiteY1367" fmla="*/ 2045628 h 3098304"/>
              <a:gd name="connsiteX1368" fmla="*/ 5947849 w 10799257"/>
              <a:gd name="connsiteY1368" fmla="*/ 2123364 h 3098304"/>
              <a:gd name="connsiteX1369" fmla="*/ 5870112 w 10799257"/>
              <a:gd name="connsiteY1369" fmla="*/ 2201099 h 3098304"/>
              <a:gd name="connsiteX1370" fmla="*/ 5792375 w 10799257"/>
              <a:gd name="connsiteY1370" fmla="*/ 2123364 h 3098304"/>
              <a:gd name="connsiteX1371" fmla="*/ 5870112 w 10799257"/>
              <a:gd name="connsiteY1371" fmla="*/ 2045628 h 3098304"/>
              <a:gd name="connsiteX1372" fmla="*/ 5681933 w 10799257"/>
              <a:gd name="connsiteY1372" fmla="*/ 2045628 h 3098304"/>
              <a:gd name="connsiteX1373" fmla="*/ 5759628 w 10799257"/>
              <a:gd name="connsiteY1373" fmla="*/ 2123364 h 3098304"/>
              <a:gd name="connsiteX1374" fmla="*/ 5681933 w 10799257"/>
              <a:gd name="connsiteY1374" fmla="*/ 2201099 h 3098304"/>
              <a:gd name="connsiteX1375" fmla="*/ 5604176 w 10799257"/>
              <a:gd name="connsiteY1375" fmla="*/ 2123364 h 3098304"/>
              <a:gd name="connsiteX1376" fmla="*/ 5681933 w 10799257"/>
              <a:gd name="connsiteY1376" fmla="*/ 2045628 h 3098304"/>
              <a:gd name="connsiteX1377" fmla="*/ 5498378 w 10799257"/>
              <a:gd name="connsiteY1377" fmla="*/ 2045628 h 3098304"/>
              <a:gd name="connsiteX1378" fmla="*/ 5576126 w 10799257"/>
              <a:gd name="connsiteY1378" fmla="*/ 2123364 h 3098304"/>
              <a:gd name="connsiteX1379" fmla="*/ 5498378 w 10799257"/>
              <a:gd name="connsiteY1379" fmla="*/ 2201099 h 3098304"/>
              <a:gd name="connsiteX1380" fmla="*/ 5420640 w 10799257"/>
              <a:gd name="connsiteY1380" fmla="*/ 2123364 h 3098304"/>
              <a:gd name="connsiteX1381" fmla="*/ 5498378 w 10799257"/>
              <a:gd name="connsiteY1381" fmla="*/ 2045628 h 3098304"/>
              <a:gd name="connsiteX1382" fmla="*/ 5310166 w 10799257"/>
              <a:gd name="connsiteY1382" fmla="*/ 2045628 h 3098304"/>
              <a:gd name="connsiteX1383" fmla="*/ 5387898 w 10799257"/>
              <a:gd name="connsiteY1383" fmla="*/ 2123364 h 3098304"/>
              <a:gd name="connsiteX1384" fmla="*/ 5310166 w 10799257"/>
              <a:gd name="connsiteY1384" fmla="*/ 2201099 h 3098304"/>
              <a:gd name="connsiteX1385" fmla="*/ 5232440 w 10799257"/>
              <a:gd name="connsiteY1385" fmla="*/ 2123364 h 3098304"/>
              <a:gd name="connsiteX1386" fmla="*/ 5310166 w 10799257"/>
              <a:gd name="connsiteY1386" fmla="*/ 2045628 h 3098304"/>
              <a:gd name="connsiteX1387" fmla="*/ 5126655 w 10799257"/>
              <a:gd name="connsiteY1387" fmla="*/ 2045628 h 3098304"/>
              <a:gd name="connsiteX1388" fmla="*/ 5204392 w 10799257"/>
              <a:gd name="connsiteY1388" fmla="*/ 2123364 h 3098304"/>
              <a:gd name="connsiteX1389" fmla="*/ 5126655 w 10799257"/>
              <a:gd name="connsiteY1389" fmla="*/ 2201099 h 3098304"/>
              <a:gd name="connsiteX1390" fmla="*/ 5048928 w 10799257"/>
              <a:gd name="connsiteY1390" fmla="*/ 2123364 h 3098304"/>
              <a:gd name="connsiteX1391" fmla="*/ 5126655 w 10799257"/>
              <a:gd name="connsiteY1391" fmla="*/ 2045628 h 3098304"/>
              <a:gd name="connsiteX1392" fmla="*/ 4938442 w 10799257"/>
              <a:gd name="connsiteY1392" fmla="*/ 2045628 h 3098304"/>
              <a:gd name="connsiteX1393" fmla="*/ 5016173 w 10799257"/>
              <a:gd name="connsiteY1393" fmla="*/ 2123364 h 3098304"/>
              <a:gd name="connsiteX1394" fmla="*/ 4938442 w 10799257"/>
              <a:gd name="connsiteY1394" fmla="*/ 2201099 h 3098304"/>
              <a:gd name="connsiteX1395" fmla="*/ 4860706 w 10799257"/>
              <a:gd name="connsiteY1395" fmla="*/ 2123364 h 3098304"/>
              <a:gd name="connsiteX1396" fmla="*/ 4938442 w 10799257"/>
              <a:gd name="connsiteY1396" fmla="*/ 2045628 h 3098304"/>
              <a:gd name="connsiteX1397" fmla="*/ 3061054 w 10799257"/>
              <a:gd name="connsiteY1397" fmla="*/ 2045628 h 3098304"/>
              <a:gd name="connsiteX1398" fmla="*/ 3138789 w 10799257"/>
              <a:gd name="connsiteY1398" fmla="*/ 2123364 h 3098304"/>
              <a:gd name="connsiteX1399" fmla="*/ 3061054 w 10799257"/>
              <a:gd name="connsiteY1399" fmla="*/ 2201099 h 3098304"/>
              <a:gd name="connsiteX1400" fmla="*/ 2983301 w 10799257"/>
              <a:gd name="connsiteY1400" fmla="*/ 2123364 h 3098304"/>
              <a:gd name="connsiteX1401" fmla="*/ 3061054 w 10799257"/>
              <a:gd name="connsiteY1401" fmla="*/ 2045628 h 3098304"/>
              <a:gd name="connsiteX1402" fmla="*/ 2882231 w 10799257"/>
              <a:gd name="connsiteY1402" fmla="*/ 2045628 h 3098304"/>
              <a:gd name="connsiteX1403" fmla="*/ 2959973 w 10799257"/>
              <a:gd name="connsiteY1403" fmla="*/ 2123364 h 3098304"/>
              <a:gd name="connsiteX1404" fmla="*/ 2882231 w 10799257"/>
              <a:gd name="connsiteY1404" fmla="*/ 2201099 h 3098304"/>
              <a:gd name="connsiteX1405" fmla="*/ 2804507 w 10799257"/>
              <a:gd name="connsiteY1405" fmla="*/ 2123364 h 3098304"/>
              <a:gd name="connsiteX1406" fmla="*/ 2882231 w 10799257"/>
              <a:gd name="connsiteY1406" fmla="*/ 2045628 h 3098304"/>
              <a:gd name="connsiteX1407" fmla="*/ 2689331 w 10799257"/>
              <a:gd name="connsiteY1407" fmla="*/ 2045628 h 3098304"/>
              <a:gd name="connsiteX1408" fmla="*/ 2767041 w 10799257"/>
              <a:gd name="connsiteY1408" fmla="*/ 2123364 h 3098304"/>
              <a:gd name="connsiteX1409" fmla="*/ 2689331 w 10799257"/>
              <a:gd name="connsiteY1409" fmla="*/ 2201099 h 3098304"/>
              <a:gd name="connsiteX1410" fmla="*/ 2611599 w 10799257"/>
              <a:gd name="connsiteY1410" fmla="*/ 2123364 h 3098304"/>
              <a:gd name="connsiteX1411" fmla="*/ 2689331 w 10799257"/>
              <a:gd name="connsiteY1411" fmla="*/ 2045628 h 3098304"/>
              <a:gd name="connsiteX1412" fmla="*/ 2510511 w 10799257"/>
              <a:gd name="connsiteY1412" fmla="*/ 2045628 h 3098304"/>
              <a:gd name="connsiteX1413" fmla="*/ 2588257 w 10799257"/>
              <a:gd name="connsiteY1413" fmla="*/ 2123364 h 3098304"/>
              <a:gd name="connsiteX1414" fmla="*/ 2510511 w 10799257"/>
              <a:gd name="connsiteY1414" fmla="*/ 2201099 h 3098304"/>
              <a:gd name="connsiteX1415" fmla="*/ 2432754 w 10799257"/>
              <a:gd name="connsiteY1415" fmla="*/ 2123364 h 3098304"/>
              <a:gd name="connsiteX1416" fmla="*/ 2510511 w 10799257"/>
              <a:gd name="connsiteY1416" fmla="*/ 2045628 h 3098304"/>
              <a:gd name="connsiteX1417" fmla="*/ 2317549 w 10799257"/>
              <a:gd name="connsiteY1417" fmla="*/ 2045628 h 3098304"/>
              <a:gd name="connsiteX1418" fmla="*/ 2395290 w 10799257"/>
              <a:gd name="connsiteY1418" fmla="*/ 2123364 h 3098304"/>
              <a:gd name="connsiteX1419" fmla="*/ 2317549 w 10799257"/>
              <a:gd name="connsiteY1419" fmla="*/ 2201099 h 3098304"/>
              <a:gd name="connsiteX1420" fmla="*/ 2239824 w 10799257"/>
              <a:gd name="connsiteY1420" fmla="*/ 2123364 h 3098304"/>
              <a:gd name="connsiteX1421" fmla="*/ 2317549 w 10799257"/>
              <a:gd name="connsiteY1421" fmla="*/ 2045628 h 3098304"/>
              <a:gd name="connsiteX1422" fmla="*/ 2129353 w 10799257"/>
              <a:gd name="connsiteY1422" fmla="*/ 2045628 h 3098304"/>
              <a:gd name="connsiteX1423" fmla="*/ 2207079 w 10799257"/>
              <a:gd name="connsiteY1423" fmla="*/ 2123364 h 3098304"/>
              <a:gd name="connsiteX1424" fmla="*/ 2129353 w 10799257"/>
              <a:gd name="connsiteY1424" fmla="*/ 2201099 h 3098304"/>
              <a:gd name="connsiteX1425" fmla="*/ 2051627 w 10799257"/>
              <a:gd name="connsiteY1425" fmla="*/ 2123364 h 3098304"/>
              <a:gd name="connsiteX1426" fmla="*/ 2129353 w 10799257"/>
              <a:gd name="connsiteY1426" fmla="*/ 2045628 h 3098304"/>
              <a:gd name="connsiteX1427" fmla="*/ 1941158 w 10799257"/>
              <a:gd name="connsiteY1427" fmla="*/ 2045628 h 3098304"/>
              <a:gd name="connsiteX1428" fmla="*/ 2018884 w 10799257"/>
              <a:gd name="connsiteY1428" fmla="*/ 2123364 h 3098304"/>
              <a:gd name="connsiteX1429" fmla="*/ 1941158 w 10799257"/>
              <a:gd name="connsiteY1429" fmla="*/ 2201099 h 3098304"/>
              <a:gd name="connsiteX1430" fmla="*/ 1863432 w 10799257"/>
              <a:gd name="connsiteY1430" fmla="*/ 2123364 h 3098304"/>
              <a:gd name="connsiteX1431" fmla="*/ 1941158 w 10799257"/>
              <a:gd name="connsiteY1431" fmla="*/ 2045628 h 3098304"/>
              <a:gd name="connsiteX1432" fmla="*/ 1757668 w 10799257"/>
              <a:gd name="connsiteY1432" fmla="*/ 2045628 h 3098304"/>
              <a:gd name="connsiteX1433" fmla="*/ 1835395 w 10799257"/>
              <a:gd name="connsiteY1433" fmla="*/ 2123364 h 3098304"/>
              <a:gd name="connsiteX1434" fmla="*/ 1757668 w 10799257"/>
              <a:gd name="connsiteY1434" fmla="*/ 2201099 h 3098304"/>
              <a:gd name="connsiteX1435" fmla="*/ 1679938 w 10799257"/>
              <a:gd name="connsiteY1435" fmla="*/ 2123364 h 3098304"/>
              <a:gd name="connsiteX1436" fmla="*/ 1757668 w 10799257"/>
              <a:gd name="connsiteY1436" fmla="*/ 2045628 h 3098304"/>
              <a:gd name="connsiteX1437" fmla="*/ 1569426 w 10799257"/>
              <a:gd name="connsiteY1437" fmla="*/ 2045628 h 3098304"/>
              <a:gd name="connsiteX1438" fmla="*/ 1647197 w 10799257"/>
              <a:gd name="connsiteY1438" fmla="*/ 2123364 h 3098304"/>
              <a:gd name="connsiteX1439" fmla="*/ 1569426 w 10799257"/>
              <a:gd name="connsiteY1439" fmla="*/ 2201099 h 3098304"/>
              <a:gd name="connsiteX1440" fmla="*/ 1491717 w 10799257"/>
              <a:gd name="connsiteY1440" fmla="*/ 2123364 h 3098304"/>
              <a:gd name="connsiteX1441" fmla="*/ 1569426 w 10799257"/>
              <a:gd name="connsiteY1441" fmla="*/ 2045628 h 3098304"/>
              <a:gd name="connsiteX1442" fmla="*/ 1385908 w 10799257"/>
              <a:gd name="connsiteY1442" fmla="*/ 2045628 h 3098304"/>
              <a:gd name="connsiteX1443" fmla="*/ 1463665 w 10799257"/>
              <a:gd name="connsiteY1443" fmla="*/ 2123364 h 3098304"/>
              <a:gd name="connsiteX1444" fmla="*/ 1385908 w 10799257"/>
              <a:gd name="connsiteY1444" fmla="*/ 2201099 h 3098304"/>
              <a:gd name="connsiteX1445" fmla="*/ 1308151 w 10799257"/>
              <a:gd name="connsiteY1445" fmla="*/ 2123364 h 3098304"/>
              <a:gd name="connsiteX1446" fmla="*/ 1385908 w 10799257"/>
              <a:gd name="connsiteY1446" fmla="*/ 2045628 h 3098304"/>
              <a:gd name="connsiteX1447" fmla="*/ 1202367 w 10799257"/>
              <a:gd name="connsiteY1447" fmla="*/ 2045628 h 3098304"/>
              <a:gd name="connsiteX1448" fmla="*/ 1280100 w 10799257"/>
              <a:gd name="connsiteY1448" fmla="*/ 2123364 h 3098304"/>
              <a:gd name="connsiteX1449" fmla="*/ 1202367 w 10799257"/>
              <a:gd name="connsiteY1449" fmla="*/ 2201099 h 3098304"/>
              <a:gd name="connsiteX1450" fmla="*/ 1124653 w 10799257"/>
              <a:gd name="connsiteY1450" fmla="*/ 2123364 h 3098304"/>
              <a:gd name="connsiteX1451" fmla="*/ 1202367 w 10799257"/>
              <a:gd name="connsiteY1451" fmla="*/ 2045628 h 3098304"/>
              <a:gd name="connsiteX1452" fmla="*/ 1014132 w 10799257"/>
              <a:gd name="connsiteY1452" fmla="*/ 2045628 h 3098304"/>
              <a:gd name="connsiteX1453" fmla="*/ 1091893 w 10799257"/>
              <a:gd name="connsiteY1453" fmla="*/ 2123364 h 3098304"/>
              <a:gd name="connsiteX1454" fmla="*/ 1014132 w 10799257"/>
              <a:gd name="connsiteY1454" fmla="*/ 2201099 h 3098304"/>
              <a:gd name="connsiteX1455" fmla="*/ 936429 w 10799257"/>
              <a:gd name="connsiteY1455" fmla="*/ 2123364 h 3098304"/>
              <a:gd name="connsiteX1456" fmla="*/ 1014132 w 10799257"/>
              <a:gd name="connsiteY1456" fmla="*/ 2045628 h 3098304"/>
              <a:gd name="connsiteX1457" fmla="*/ 830626 w 10799257"/>
              <a:gd name="connsiteY1457" fmla="*/ 2045628 h 3098304"/>
              <a:gd name="connsiteX1458" fmla="*/ 908383 w 10799257"/>
              <a:gd name="connsiteY1458" fmla="*/ 2123364 h 3098304"/>
              <a:gd name="connsiteX1459" fmla="*/ 830626 w 10799257"/>
              <a:gd name="connsiteY1459" fmla="*/ 2201099 h 3098304"/>
              <a:gd name="connsiteX1460" fmla="*/ 752883 w 10799257"/>
              <a:gd name="connsiteY1460" fmla="*/ 2123364 h 3098304"/>
              <a:gd name="connsiteX1461" fmla="*/ 830626 w 10799257"/>
              <a:gd name="connsiteY1461" fmla="*/ 2045628 h 3098304"/>
              <a:gd name="connsiteX1462" fmla="*/ 642394 w 10799257"/>
              <a:gd name="connsiteY1462" fmla="*/ 2045628 h 3098304"/>
              <a:gd name="connsiteX1463" fmla="*/ 720135 w 10799257"/>
              <a:gd name="connsiteY1463" fmla="*/ 2123364 h 3098304"/>
              <a:gd name="connsiteX1464" fmla="*/ 642394 w 10799257"/>
              <a:gd name="connsiteY1464" fmla="*/ 2201099 h 3098304"/>
              <a:gd name="connsiteX1465" fmla="*/ 564661 w 10799257"/>
              <a:gd name="connsiteY1465" fmla="*/ 2123364 h 3098304"/>
              <a:gd name="connsiteX1466" fmla="*/ 642394 w 10799257"/>
              <a:gd name="connsiteY1466" fmla="*/ 2045628 h 3098304"/>
              <a:gd name="connsiteX1467" fmla="*/ 458881 w 10799257"/>
              <a:gd name="connsiteY1467" fmla="*/ 2045628 h 3098304"/>
              <a:gd name="connsiteX1468" fmla="*/ 536619 w 10799257"/>
              <a:gd name="connsiteY1468" fmla="*/ 2123364 h 3098304"/>
              <a:gd name="connsiteX1469" fmla="*/ 458881 w 10799257"/>
              <a:gd name="connsiteY1469" fmla="*/ 2201099 h 3098304"/>
              <a:gd name="connsiteX1470" fmla="*/ 381147 w 10799257"/>
              <a:gd name="connsiteY1470" fmla="*/ 2123364 h 3098304"/>
              <a:gd name="connsiteX1471" fmla="*/ 458881 w 10799257"/>
              <a:gd name="connsiteY1471" fmla="*/ 2045628 h 3098304"/>
              <a:gd name="connsiteX1472" fmla="*/ 270660 w 10799257"/>
              <a:gd name="connsiteY1472" fmla="*/ 2045628 h 3098304"/>
              <a:gd name="connsiteX1473" fmla="*/ 348397 w 10799257"/>
              <a:gd name="connsiteY1473" fmla="*/ 2123364 h 3098304"/>
              <a:gd name="connsiteX1474" fmla="*/ 270660 w 10799257"/>
              <a:gd name="connsiteY1474" fmla="*/ 2201099 h 3098304"/>
              <a:gd name="connsiteX1475" fmla="*/ 192923 w 10799257"/>
              <a:gd name="connsiteY1475" fmla="*/ 2123364 h 3098304"/>
              <a:gd name="connsiteX1476" fmla="*/ 270660 w 10799257"/>
              <a:gd name="connsiteY1476" fmla="*/ 2045628 h 3098304"/>
              <a:gd name="connsiteX1477" fmla="*/ 77736 w 10799257"/>
              <a:gd name="connsiteY1477" fmla="*/ 2045628 h 3098304"/>
              <a:gd name="connsiteX1478" fmla="*/ 155473 w 10799257"/>
              <a:gd name="connsiteY1478" fmla="*/ 2123364 h 3098304"/>
              <a:gd name="connsiteX1479" fmla="*/ 77736 w 10799257"/>
              <a:gd name="connsiteY1479" fmla="*/ 2201099 h 3098304"/>
              <a:gd name="connsiteX1480" fmla="*/ 0 w 10799257"/>
              <a:gd name="connsiteY1480" fmla="*/ 2123364 h 3098304"/>
              <a:gd name="connsiteX1481" fmla="*/ 77736 w 10799257"/>
              <a:gd name="connsiteY1481" fmla="*/ 2045628 h 3098304"/>
              <a:gd name="connsiteX1482" fmla="*/ 10275128 w 10799257"/>
              <a:gd name="connsiteY1482" fmla="*/ 1933986 h 3098304"/>
              <a:gd name="connsiteX1483" fmla="*/ 10323317 w 10799257"/>
              <a:gd name="connsiteY1483" fmla="*/ 1976399 h 3098304"/>
              <a:gd name="connsiteX1484" fmla="*/ 10370187 w 10799257"/>
              <a:gd name="connsiteY1484" fmla="*/ 2022880 h 3098304"/>
              <a:gd name="connsiteX1485" fmla="*/ 10349781 w 10799257"/>
              <a:gd name="connsiteY1485" fmla="*/ 2026999 h 3098304"/>
              <a:gd name="connsiteX1486" fmla="*/ 10272044 w 10799257"/>
              <a:gd name="connsiteY1486" fmla="*/ 1949263 h 3098304"/>
              <a:gd name="connsiteX1487" fmla="*/ 96225 w 10799257"/>
              <a:gd name="connsiteY1487" fmla="*/ 1875259 h 3098304"/>
              <a:gd name="connsiteX1488" fmla="*/ 108003 w 10799257"/>
              <a:gd name="connsiteY1488" fmla="*/ 1877637 h 3098304"/>
              <a:gd name="connsiteX1489" fmla="*/ 155480 w 10799257"/>
              <a:gd name="connsiteY1489" fmla="*/ 1949264 h 3098304"/>
              <a:gd name="connsiteX1490" fmla="*/ 77744 w 10799257"/>
              <a:gd name="connsiteY1490" fmla="*/ 2026999 h 3098304"/>
              <a:gd name="connsiteX1491" fmla="*/ 6117 w 10799257"/>
              <a:gd name="connsiteY1491" fmla="*/ 1979522 h 3098304"/>
              <a:gd name="connsiteX1492" fmla="*/ 1839 w 10799257"/>
              <a:gd name="connsiteY1492" fmla="*/ 1958332 h 3098304"/>
              <a:gd name="connsiteX1493" fmla="*/ 9413378 w 10799257"/>
              <a:gd name="connsiteY1493" fmla="*/ 1871528 h 3098304"/>
              <a:gd name="connsiteX1494" fmla="*/ 9491115 w 10799257"/>
              <a:gd name="connsiteY1494" fmla="*/ 1949264 h 3098304"/>
              <a:gd name="connsiteX1495" fmla="*/ 9413378 w 10799257"/>
              <a:gd name="connsiteY1495" fmla="*/ 2026999 h 3098304"/>
              <a:gd name="connsiteX1496" fmla="*/ 9335641 w 10799257"/>
              <a:gd name="connsiteY1496" fmla="*/ 1949264 h 3098304"/>
              <a:gd name="connsiteX1497" fmla="*/ 9413378 w 10799257"/>
              <a:gd name="connsiteY1497" fmla="*/ 1871528 h 3098304"/>
              <a:gd name="connsiteX1498" fmla="*/ 9234570 w 10799257"/>
              <a:gd name="connsiteY1498" fmla="*/ 1871528 h 3098304"/>
              <a:gd name="connsiteX1499" fmla="*/ 9312307 w 10799257"/>
              <a:gd name="connsiteY1499" fmla="*/ 1949264 h 3098304"/>
              <a:gd name="connsiteX1500" fmla="*/ 9234570 w 10799257"/>
              <a:gd name="connsiteY1500" fmla="*/ 2026999 h 3098304"/>
              <a:gd name="connsiteX1501" fmla="*/ 9156833 w 10799257"/>
              <a:gd name="connsiteY1501" fmla="*/ 1949264 h 3098304"/>
              <a:gd name="connsiteX1502" fmla="*/ 9234570 w 10799257"/>
              <a:gd name="connsiteY1502" fmla="*/ 1871528 h 3098304"/>
              <a:gd name="connsiteX1503" fmla="*/ 9036936 w 10799257"/>
              <a:gd name="connsiteY1503" fmla="*/ 1871528 h 3098304"/>
              <a:gd name="connsiteX1504" fmla="*/ 9114673 w 10799257"/>
              <a:gd name="connsiteY1504" fmla="*/ 1949264 h 3098304"/>
              <a:gd name="connsiteX1505" fmla="*/ 9036936 w 10799257"/>
              <a:gd name="connsiteY1505" fmla="*/ 2026999 h 3098304"/>
              <a:gd name="connsiteX1506" fmla="*/ 8959199 w 10799257"/>
              <a:gd name="connsiteY1506" fmla="*/ 1949264 h 3098304"/>
              <a:gd name="connsiteX1507" fmla="*/ 9036936 w 10799257"/>
              <a:gd name="connsiteY1507" fmla="*/ 1871528 h 3098304"/>
              <a:gd name="connsiteX1508" fmla="*/ 8853421 w 10799257"/>
              <a:gd name="connsiteY1508" fmla="*/ 1871528 h 3098304"/>
              <a:gd name="connsiteX1509" fmla="*/ 8931158 w 10799257"/>
              <a:gd name="connsiteY1509" fmla="*/ 1949264 h 3098304"/>
              <a:gd name="connsiteX1510" fmla="*/ 8853421 w 10799257"/>
              <a:gd name="connsiteY1510" fmla="*/ 2026999 h 3098304"/>
              <a:gd name="connsiteX1511" fmla="*/ 8775685 w 10799257"/>
              <a:gd name="connsiteY1511" fmla="*/ 1949264 h 3098304"/>
              <a:gd name="connsiteX1512" fmla="*/ 8853421 w 10799257"/>
              <a:gd name="connsiteY1512" fmla="*/ 1871528 h 3098304"/>
              <a:gd name="connsiteX1513" fmla="*/ 8669907 w 10799257"/>
              <a:gd name="connsiteY1513" fmla="*/ 1871528 h 3098304"/>
              <a:gd name="connsiteX1514" fmla="*/ 8747644 w 10799257"/>
              <a:gd name="connsiteY1514" fmla="*/ 1949264 h 3098304"/>
              <a:gd name="connsiteX1515" fmla="*/ 8669907 w 10799257"/>
              <a:gd name="connsiteY1515" fmla="*/ 2026999 h 3098304"/>
              <a:gd name="connsiteX1516" fmla="*/ 8592170 w 10799257"/>
              <a:gd name="connsiteY1516" fmla="*/ 1949264 h 3098304"/>
              <a:gd name="connsiteX1517" fmla="*/ 8669907 w 10799257"/>
              <a:gd name="connsiteY1517" fmla="*/ 1871528 h 3098304"/>
              <a:gd name="connsiteX1518" fmla="*/ 8481683 w 10799257"/>
              <a:gd name="connsiteY1518" fmla="*/ 1871528 h 3098304"/>
              <a:gd name="connsiteX1519" fmla="*/ 8559420 w 10799257"/>
              <a:gd name="connsiteY1519" fmla="*/ 1949264 h 3098304"/>
              <a:gd name="connsiteX1520" fmla="*/ 8481683 w 10799257"/>
              <a:gd name="connsiteY1520" fmla="*/ 2026999 h 3098304"/>
              <a:gd name="connsiteX1521" fmla="*/ 8403946 w 10799257"/>
              <a:gd name="connsiteY1521" fmla="*/ 1949264 h 3098304"/>
              <a:gd name="connsiteX1522" fmla="*/ 8481683 w 10799257"/>
              <a:gd name="connsiteY1522" fmla="*/ 1871528 h 3098304"/>
              <a:gd name="connsiteX1523" fmla="*/ 8298167 w 10799257"/>
              <a:gd name="connsiteY1523" fmla="*/ 1871528 h 3098304"/>
              <a:gd name="connsiteX1524" fmla="*/ 8375904 w 10799257"/>
              <a:gd name="connsiteY1524" fmla="*/ 1949264 h 3098304"/>
              <a:gd name="connsiteX1525" fmla="*/ 8298167 w 10799257"/>
              <a:gd name="connsiteY1525" fmla="*/ 2026999 h 3098304"/>
              <a:gd name="connsiteX1526" fmla="*/ 8220430 w 10799257"/>
              <a:gd name="connsiteY1526" fmla="*/ 1949264 h 3098304"/>
              <a:gd name="connsiteX1527" fmla="*/ 8298167 w 10799257"/>
              <a:gd name="connsiteY1527" fmla="*/ 1871528 h 3098304"/>
              <a:gd name="connsiteX1528" fmla="*/ 8109949 w 10799257"/>
              <a:gd name="connsiteY1528" fmla="*/ 1871528 h 3098304"/>
              <a:gd name="connsiteX1529" fmla="*/ 8187686 w 10799257"/>
              <a:gd name="connsiteY1529" fmla="*/ 1949264 h 3098304"/>
              <a:gd name="connsiteX1530" fmla="*/ 8109949 w 10799257"/>
              <a:gd name="connsiteY1530" fmla="*/ 2026999 h 3098304"/>
              <a:gd name="connsiteX1531" fmla="*/ 8032212 w 10799257"/>
              <a:gd name="connsiteY1531" fmla="*/ 1949264 h 3098304"/>
              <a:gd name="connsiteX1532" fmla="*/ 8109949 w 10799257"/>
              <a:gd name="connsiteY1532" fmla="*/ 1871528 h 3098304"/>
              <a:gd name="connsiteX1533" fmla="*/ 7926432 w 10799257"/>
              <a:gd name="connsiteY1533" fmla="*/ 1871528 h 3098304"/>
              <a:gd name="connsiteX1534" fmla="*/ 8004169 w 10799257"/>
              <a:gd name="connsiteY1534" fmla="*/ 1949264 h 3098304"/>
              <a:gd name="connsiteX1535" fmla="*/ 7926432 w 10799257"/>
              <a:gd name="connsiteY1535" fmla="*/ 2026999 h 3098304"/>
              <a:gd name="connsiteX1536" fmla="*/ 7848695 w 10799257"/>
              <a:gd name="connsiteY1536" fmla="*/ 1949264 h 3098304"/>
              <a:gd name="connsiteX1537" fmla="*/ 7926432 w 10799257"/>
              <a:gd name="connsiteY1537" fmla="*/ 1871528 h 3098304"/>
              <a:gd name="connsiteX1538" fmla="*/ 7738211 w 10799257"/>
              <a:gd name="connsiteY1538" fmla="*/ 1871528 h 3098304"/>
              <a:gd name="connsiteX1539" fmla="*/ 7815947 w 10799257"/>
              <a:gd name="connsiteY1539" fmla="*/ 1949264 h 3098304"/>
              <a:gd name="connsiteX1540" fmla="*/ 7738211 w 10799257"/>
              <a:gd name="connsiteY1540" fmla="*/ 2026999 h 3098304"/>
              <a:gd name="connsiteX1541" fmla="*/ 7660474 w 10799257"/>
              <a:gd name="connsiteY1541" fmla="*/ 1949264 h 3098304"/>
              <a:gd name="connsiteX1542" fmla="*/ 7738211 w 10799257"/>
              <a:gd name="connsiteY1542" fmla="*/ 1871528 h 3098304"/>
              <a:gd name="connsiteX1543" fmla="*/ 7554693 w 10799257"/>
              <a:gd name="connsiteY1543" fmla="*/ 1871528 h 3098304"/>
              <a:gd name="connsiteX1544" fmla="*/ 7632430 w 10799257"/>
              <a:gd name="connsiteY1544" fmla="*/ 1949264 h 3098304"/>
              <a:gd name="connsiteX1545" fmla="*/ 7554693 w 10799257"/>
              <a:gd name="connsiteY1545" fmla="*/ 2026999 h 3098304"/>
              <a:gd name="connsiteX1546" fmla="*/ 7476957 w 10799257"/>
              <a:gd name="connsiteY1546" fmla="*/ 1949264 h 3098304"/>
              <a:gd name="connsiteX1547" fmla="*/ 7554693 w 10799257"/>
              <a:gd name="connsiteY1547" fmla="*/ 1871528 h 3098304"/>
              <a:gd name="connsiteX1548" fmla="*/ 7366472 w 10799257"/>
              <a:gd name="connsiteY1548" fmla="*/ 1871528 h 3098304"/>
              <a:gd name="connsiteX1549" fmla="*/ 7444209 w 10799257"/>
              <a:gd name="connsiteY1549" fmla="*/ 1949264 h 3098304"/>
              <a:gd name="connsiteX1550" fmla="*/ 7366472 w 10799257"/>
              <a:gd name="connsiteY1550" fmla="*/ 2026999 h 3098304"/>
              <a:gd name="connsiteX1551" fmla="*/ 7288736 w 10799257"/>
              <a:gd name="connsiteY1551" fmla="*/ 1949264 h 3098304"/>
              <a:gd name="connsiteX1552" fmla="*/ 7366472 w 10799257"/>
              <a:gd name="connsiteY1552" fmla="*/ 1871528 h 3098304"/>
              <a:gd name="connsiteX1553" fmla="*/ 7178251 w 10799257"/>
              <a:gd name="connsiteY1553" fmla="*/ 1871528 h 3098304"/>
              <a:gd name="connsiteX1554" fmla="*/ 7255988 w 10799257"/>
              <a:gd name="connsiteY1554" fmla="*/ 1949264 h 3098304"/>
              <a:gd name="connsiteX1555" fmla="*/ 7178251 w 10799257"/>
              <a:gd name="connsiteY1555" fmla="*/ 2026999 h 3098304"/>
              <a:gd name="connsiteX1556" fmla="*/ 7100514 w 10799257"/>
              <a:gd name="connsiteY1556" fmla="*/ 1949264 h 3098304"/>
              <a:gd name="connsiteX1557" fmla="*/ 7178251 w 10799257"/>
              <a:gd name="connsiteY1557" fmla="*/ 1871528 h 3098304"/>
              <a:gd name="connsiteX1558" fmla="*/ 6985327 w 10799257"/>
              <a:gd name="connsiteY1558" fmla="*/ 1871528 h 3098304"/>
              <a:gd name="connsiteX1559" fmla="*/ 7063064 w 10799257"/>
              <a:gd name="connsiteY1559" fmla="*/ 1949264 h 3098304"/>
              <a:gd name="connsiteX1560" fmla="*/ 6985327 w 10799257"/>
              <a:gd name="connsiteY1560" fmla="*/ 2026999 h 3098304"/>
              <a:gd name="connsiteX1561" fmla="*/ 6907590 w 10799257"/>
              <a:gd name="connsiteY1561" fmla="*/ 1949264 h 3098304"/>
              <a:gd name="connsiteX1562" fmla="*/ 6985327 w 10799257"/>
              <a:gd name="connsiteY1562" fmla="*/ 1871528 h 3098304"/>
              <a:gd name="connsiteX1563" fmla="*/ 6801807 w 10799257"/>
              <a:gd name="connsiteY1563" fmla="*/ 1871528 h 3098304"/>
              <a:gd name="connsiteX1564" fmla="*/ 6879544 w 10799257"/>
              <a:gd name="connsiteY1564" fmla="*/ 1949264 h 3098304"/>
              <a:gd name="connsiteX1565" fmla="*/ 6801807 w 10799257"/>
              <a:gd name="connsiteY1565" fmla="*/ 2026999 h 3098304"/>
              <a:gd name="connsiteX1566" fmla="*/ 6724070 w 10799257"/>
              <a:gd name="connsiteY1566" fmla="*/ 1949264 h 3098304"/>
              <a:gd name="connsiteX1567" fmla="*/ 6801807 w 10799257"/>
              <a:gd name="connsiteY1567" fmla="*/ 1871528 h 3098304"/>
              <a:gd name="connsiteX1568" fmla="*/ 6613586 w 10799257"/>
              <a:gd name="connsiteY1568" fmla="*/ 1871528 h 3098304"/>
              <a:gd name="connsiteX1569" fmla="*/ 6691323 w 10799257"/>
              <a:gd name="connsiteY1569" fmla="*/ 1949264 h 3098304"/>
              <a:gd name="connsiteX1570" fmla="*/ 6613586 w 10799257"/>
              <a:gd name="connsiteY1570" fmla="*/ 2026999 h 3098304"/>
              <a:gd name="connsiteX1571" fmla="*/ 6535849 w 10799257"/>
              <a:gd name="connsiteY1571" fmla="*/ 1949264 h 3098304"/>
              <a:gd name="connsiteX1572" fmla="*/ 6613586 w 10799257"/>
              <a:gd name="connsiteY1572" fmla="*/ 1871528 h 3098304"/>
              <a:gd name="connsiteX1573" fmla="*/ 6425365 w 10799257"/>
              <a:gd name="connsiteY1573" fmla="*/ 1871528 h 3098304"/>
              <a:gd name="connsiteX1574" fmla="*/ 6503102 w 10799257"/>
              <a:gd name="connsiteY1574" fmla="*/ 1949264 h 3098304"/>
              <a:gd name="connsiteX1575" fmla="*/ 6425365 w 10799257"/>
              <a:gd name="connsiteY1575" fmla="*/ 2026999 h 3098304"/>
              <a:gd name="connsiteX1576" fmla="*/ 6347628 w 10799257"/>
              <a:gd name="connsiteY1576" fmla="*/ 1949264 h 3098304"/>
              <a:gd name="connsiteX1577" fmla="*/ 6425365 w 10799257"/>
              <a:gd name="connsiteY1577" fmla="*/ 1871528 h 3098304"/>
              <a:gd name="connsiteX1578" fmla="*/ 6241850 w 10799257"/>
              <a:gd name="connsiteY1578" fmla="*/ 1871528 h 3098304"/>
              <a:gd name="connsiteX1579" fmla="*/ 6319587 w 10799257"/>
              <a:gd name="connsiteY1579" fmla="*/ 1949264 h 3098304"/>
              <a:gd name="connsiteX1580" fmla="*/ 6241850 w 10799257"/>
              <a:gd name="connsiteY1580" fmla="*/ 2026999 h 3098304"/>
              <a:gd name="connsiteX1581" fmla="*/ 6164113 w 10799257"/>
              <a:gd name="connsiteY1581" fmla="*/ 1949264 h 3098304"/>
              <a:gd name="connsiteX1582" fmla="*/ 6241850 w 10799257"/>
              <a:gd name="connsiteY1582" fmla="*/ 1871528 h 3098304"/>
              <a:gd name="connsiteX1583" fmla="*/ 5681936 w 10799257"/>
              <a:gd name="connsiteY1583" fmla="*/ 1871528 h 3098304"/>
              <a:gd name="connsiteX1584" fmla="*/ 5759628 w 10799257"/>
              <a:gd name="connsiteY1584" fmla="*/ 1949264 h 3098304"/>
              <a:gd name="connsiteX1585" fmla="*/ 5681936 w 10799257"/>
              <a:gd name="connsiteY1585" fmla="*/ 2026999 h 3098304"/>
              <a:gd name="connsiteX1586" fmla="*/ 5604176 w 10799257"/>
              <a:gd name="connsiteY1586" fmla="*/ 1949264 h 3098304"/>
              <a:gd name="connsiteX1587" fmla="*/ 5681936 w 10799257"/>
              <a:gd name="connsiteY1587" fmla="*/ 1871528 h 3098304"/>
              <a:gd name="connsiteX1588" fmla="*/ 5126655 w 10799257"/>
              <a:gd name="connsiteY1588" fmla="*/ 1871528 h 3098304"/>
              <a:gd name="connsiteX1589" fmla="*/ 5204395 w 10799257"/>
              <a:gd name="connsiteY1589" fmla="*/ 1949264 h 3098304"/>
              <a:gd name="connsiteX1590" fmla="*/ 5126655 w 10799257"/>
              <a:gd name="connsiteY1590" fmla="*/ 2026999 h 3098304"/>
              <a:gd name="connsiteX1591" fmla="*/ 5048931 w 10799257"/>
              <a:gd name="connsiteY1591" fmla="*/ 1949264 h 3098304"/>
              <a:gd name="connsiteX1592" fmla="*/ 5126655 w 10799257"/>
              <a:gd name="connsiteY1592" fmla="*/ 1871528 h 3098304"/>
              <a:gd name="connsiteX1593" fmla="*/ 2882240 w 10799257"/>
              <a:gd name="connsiteY1593" fmla="*/ 1871528 h 3098304"/>
              <a:gd name="connsiteX1594" fmla="*/ 2959981 w 10799257"/>
              <a:gd name="connsiteY1594" fmla="*/ 1949264 h 3098304"/>
              <a:gd name="connsiteX1595" fmla="*/ 2882240 w 10799257"/>
              <a:gd name="connsiteY1595" fmla="*/ 2026999 h 3098304"/>
              <a:gd name="connsiteX1596" fmla="*/ 2804517 w 10799257"/>
              <a:gd name="connsiteY1596" fmla="*/ 1949264 h 3098304"/>
              <a:gd name="connsiteX1597" fmla="*/ 2882240 w 10799257"/>
              <a:gd name="connsiteY1597" fmla="*/ 1871528 h 3098304"/>
              <a:gd name="connsiteX1598" fmla="*/ 2689340 w 10799257"/>
              <a:gd name="connsiteY1598" fmla="*/ 1871528 h 3098304"/>
              <a:gd name="connsiteX1599" fmla="*/ 2767048 w 10799257"/>
              <a:gd name="connsiteY1599" fmla="*/ 1949264 h 3098304"/>
              <a:gd name="connsiteX1600" fmla="*/ 2689340 w 10799257"/>
              <a:gd name="connsiteY1600" fmla="*/ 2026999 h 3098304"/>
              <a:gd name="connsiteX1601" fmla="*/ 2611606 w 10799257"/>
              <a:gd name="connsiteY1601" fmla="*/ 1949264 h 3098304"/>
              <a:gd name="connsiteX1602" fmla="*/ 2689340 w 10799257"/>
              <a:gd name="connsiteY1602" fmla="*/ 1871528 h 3098304"/>
              <a:gd name="connsiteX1603" fmla="*/ 2510519 w 10799257"/>
              <a:gd name="connsiteY1603" fmla="*/ 1871528 h 3098304"/>
              <a:gd name="connsiteX1604" fmla="*/ 2588265 w 10799257"/>
              <a:gd name="connsiteY1604" fmla="*/ 1949264 h 3098304"/>
              <a:gd name="connsiteX1605" fmla="*/ 2510519 w 10799257"/>
              <a:gd name="connsiteY1605" fmla="*/ 2026999 h 3098304"/>
              <a:gd name="connsiteX1606" fmla="*/ 2432762 w 10799257"/>
              <a:gd name="connsiteY1606" fmla="*/ 1949264 h 3098304"/>
              <a:gd name="connsiteX1607" fmla="*/ 2510519 w 10799257"/>
              <a:gd name="connsiteY1607" fmla="*/ 1871528 h 3098304"/>
              <a:gd name="connsiteX1608" fmla="*/ 2317556 w 10799257"/>
              <a:gd name="connsiteY1608" fmla="*/ 1871528 h 3098304"/>
              <a:gd name="connsiteX1609" fmla="*/ 2395296 w 10799257"/>
              <a:gd name="connsiteY1609" fmla="*/ 1949264 h 3098304"/>
              <a:gd name="connsiteX1610" fmla="*/ 2317556 w 10799257"/>
              <a:gd name="connsiteY1610" fmla="*/ 2026999 h 3098304"/>
              <a:gd name="connsiteX1611" fmla="*/ 2239831 w 10799257"/>
              <a:gd name="connsiteY1611" fmla="*/ 1949264 h 3098304"/>
              <a:gd name="connsiteX1612" fmla="*/ 2317556 w 10799257"/>
              <a:gd name="connsiteY1612" fmla="*/ 1871528 h 3098304"/>
              <a:gd name="connsiteX1613" fmla="*/ 1757677 w 10799257"/>
              <a:gd name="connsiteY1613" fmla="*/ 1871528 h 3098304"/>
              <a:gd name="connsiteX1614" fmla="*/ 1835405 w 10799257"/>
              <a:gd name="connsiteY1614" fmla="*/ 1949264 h 3098304"/>
              <a:gd name="connsiteX1615" fmla="*/ 1757677 w 10799257"/>
              <a:gd name="connsiteY1615" fmla="*/ 2026999 h 3098304"/>
              <a:gd name="connsiteX1616" fmla="*/ 1679951 w 10799257"/>
              <a:gd name="connsiteY1616" fmla="*/ 1949264 h 3098304"/>
              <a:gd name="connsiteX1617" fmla="*/ 1757677 w 10799257"/>
              <a:gd name="connsiteY1617" fmla="*/ 1871528 h 3098304"/>
              <a:gd name="connsiteX1618" fmla="*/ 1569451 w 10799257"/>
              <a:gd name="connsiteY1618" fmla="*/ 1871528 h 3098304"/>
              <a:gd name="connsiteX1619" fmla="*/ 1647209 w 10799257"/>
              <a:gd name="connsiteY1619" fmla="*/ 1949264 h 3098304"/>
              <a:gd name="connsiteX1620" fmla="*/ 1569451 w 10799257"/>
              <a:gd name="connsiteY1620" fmla="*/ 2026999 h 3098304"/>
              <a:gd name="connsiteX1621" fmla="*/ 1491728 w 10799257"/>
              <a:gd name="connsiteY1621" fmla="*/ 1949264 h 3098304"/>
              <a:gd name="connsiteX1622" fmla="*/ 1569451 w 10799257"/>
              <a:gd name="connsiteY1622" fmla="*/ 1871528 h 3098304"/>
              <a:gd name="connsiteX1623" fmla="*/ 1385919 w 10799257"/>
              <a:gd name="connsiteY1623" fmla="*/ 1871528 h 3098304"/>
              <a:gd name="connsiteX1624" fmla="*/ 1463677 w 10799257"/>
              <a:gd name="connsiteY1624" fmla="*/ 1949264 h 3098304"/>
              <a:gd name="connsiteX1625" fmla="*/ 1385919 w 10799257"/>
              <a:gd name="connsiteY1625" fmla="*/ 2026999 h 3098304"/>
              <a:gd name="connsiteX1626" fmla="*/ 1308159 w 10799257"/>
              <a:gd name="connsiteY1626" fmla="*/ 1949264 h 3098304"/>
              <a:gd name="connsiteX1627" fmla="*/ 1385919 w 10799257"/>
              <a:gd name="connsiteY1627" fmla="*/ 1871528 h 3098304"/>
              <a:gd name="connsiteX1628" fmla="*/ 1202376 w 10799257"/>
              <a:gd name="connsiteY1628" fmla="*/ 1871528 h 3098304"/>
              <a:gd name="connsiteX1629" fmla="*/ 1280108 w 10799257"/>
              <a:gd name="connsiteY1629" fmla="*/ 1949264 h 3098304"/>
              <a:gd name="connsiteX1630" fmla="*/ 1202376 w 10799257"/>
              <a:gd name="connsiteY1630" fmla="*/ 2026999 h 3098304"/>
              <a:gd name="connsiteX1631" fmla="*/ 1124662 w 10799257"/>
              <a:gd name="connsiteY1631" fmla="*/ 1949264 h 3098304"/>
              <a:gd name="connsiteX1632" fmla="*/ 1202376 w 10799257"/>
              <a:gd name="connsiteY1632" fmla="*/ 1871528 h 3098304"/>
              <a:gd name="connsiteX1633" fmla="*/ 1014132 w 10799257"/>
              <a:gd name="connsiteY1633" fmla="*/ 1871528 h 3098304"/>
              <a:gd name="connsiteX1634" fmla="*/ 1091902 w 10799257"/>
              <a:gd name="connsiteY1634" fmla="*/ 1949264 h 3098304"/>
              <a:gd name="connsiteX1635" fmla="*/ 1014132 w 10799257"/>
              <a:gd name="connsiteY1635" fmla="*/ 2026999 h 3098304"/>
              <a:gd name="connsiteX1636" fmla="*/ 936439 w 10799257"/>
              <a:gd name="connsiteY1636" fmla="*/ 1949264 h 3098304"/>
              <a:gd name="connsiteX1637" fmla="*/ 1014132 w 10799257"/>
              <a:gd name="connsiteY1637" fmla="*/ 1871528 h 3098304"/>
              <a:gd name="connsiteX1638" fmla="*/ 830636 w 10799257"/>
              <a:gd name="connsiteY1638" fmla="*/ 1871528 h 3098304"/>
              <a:gd name="connsiteX1639" fmla="*/ 908393 w 10799257"/>
              <a:gd name="connsiteY1639" fmla="*/ 1949264 h 3098304"/>
              <a:gd name="connsiteX1640" fmla="*/ 830636 w 10799257"/>
              <a:gd name="connsiteY1640" fmla="*/ 2026999 h 3098304"/>
              <a:gd name="connsiteX1641" fmla="*/ 752892 w 10799257"/>
              <a:gd name="connsiteY1641" fmla="*/ 1949264 h 3098304"/>
              <a:gd name="connsiteX1642" fmla="*/ 830636 w 10799257"/>
              <a:gd name="connsiteY1642" fmla="*/ 1871528 h 3098304"/>
              <a:gd name="connsiteX1643" fmla="*/ 642401 w 10799257"/>
              <a:gd name="connsiteY1643" fmla="*/ 1871528 h 3098304"/>
              <a:gd name="connsiteX1644" fmla="*/ 720144 w 10799257"/>
              <a:gd name="connsiteY1644" fmla="*/ 1949264 h 3098304"/>
              <a:gd name="connsiteX1645" fmla="*/ 642401 w 10799257"/>
              <a:gd name="connsiteY1645" fmla="*/ 2026999 h 3098304"/>
              <a:gd name="connsiteX1646" fmla="*/ 564669 w 10799257"/>
              <a:gd name="connsiteY1646" fmla="*/ 1949264 h 3098304"/>
              <a:gd name="connsiteX1647" fmla="*/ 642401 w 10799257"/>
              <a:gd name="connsiteY1647" fmla="*/ 1871528 h 3098304"/>
              <a:gd name="connsiteX1648" fmla="*/ 458889 w 10799257"/>
              <a:gd name="connsiteY1648" fmla="*/ 1871528 h 3098304"/>
              <a:gd name="connsiteX1649" fmla="*/ 536625 w 10799257"/>
              <a:gd name="connsiteY1649" fmla="*/ 1949264 h 3098304"/>
              <a:gd name="connsiteX1650" fmla="*/ 458889 w 10799257"/>
              <a:gd name="connsiteY1650" fmla="*/ 2026999 h 3098304"/>
              <a:gd name="connsiteX1651" fmla="*/ 381155 w 10799257"/>
              <a:gd name="connsiteY1651" fmla="*/ 1949264 h 3098304"/>
              <a:gd name="connsiteX1652" fmla="*/ 458889 w 10799257"/>
              <a:gd name="connsiteY1652" fmla="*/ 1871528 h 3098304"/>
              <a:gd name="connsiteX1653" fmla="*/ 270668 w 10799257"/>
              <a:gd name="connsiteY1653" fmla="*/ 1871528 h 3098304"/>
              <a:gd name="connsiteX1654" fmla="*/ 348404 w 10799257"/>
              <a:gd name="connsiteY1654" fmla="*/ 1949264 h 3098304"/>
              <a:gd name="connsiteX1655" fmla="*/ 270668 w 10799257"/>
              <a:gd name="connsiteY1655" fmla="*/ 2026999 h 3098304"/>
              <a:gd name="connsiteX1656" fmla="*/ 192931 w 10799257"/>
              <a:gd name="connsiteY1656" fmla="*/ 1949264 h 3098304"/>
              <a:gd name="connsiteX1657" fmla="*/ 270668 w 10799257"/>
              <a:gd name="connsiteY1657" fmla="*/ 1871528 h 3098304"/>
              <a:gd name="connsiteX1658" fmla="*/ 10166265 w 10799257"/>
              <a:gd name="connsiteY1658" fmla="*/ 1871526 h 3098304"/>
              <a:gd name="connsiteX1659" fmla="*/ 10244002 w 10799257"/>
              <a:gd name="connsiteY1659" fmla="*/ 1949263 h 3098304"/>
              <a:gd name="connsiteX1660" fmla="*/ 10166265 w 10799257"/>
              <a:gd name="connsiteY1660" fmla="*/ 2026999 h 3098304"/>
              <a:gd name="connsiteX1661" fmla="*/ 10088528 w 10799257"/>
              <a:gd name="connsiteY1661" fmla="*/ 1949263 h 3098304"/>
              <a:gd name="connsiteX1662" fmla="*/ 10166265 w 10799257"/>
              <a:gd name="connsiteY1662" fmla="*/ 1871526 h 3098304"/>
              <a:gd name="connsiteX1663" fmla="*/ 9978044 w 10799257"/>
              <a:gd name="connsiteY1663" fmla="*/ 1871526 h 3098304"/>
              <a:gd name="connsiteX1664" fmla="*/ 10055781 w 10799257"/>
              <a:gd name="connsiteY1664" fmla="*/ 1949263 h 3098304"/>
              <a:gd name="connsiteX1665" fmla="*/ 9978044 w 10799257"/>
              <a:gd name="connsiteY1665" fmla="*/ 2026999 h 3098304"/>
              <a:gd name="connsiteX1666" fmla="*/ 9900307 w 10799257"/>
              <a:gd name="connsiteY1666" fmla="*/ 1949263 h 3098304"/>
              <a:gd name="connsiteX1667" fmla="*/ 9978044 w 10799257"/>
              <a:gd name="connsiteY1667" fmla="*/ 1871526 h 3098304"/>
              <a:gd name="connsiteX1668" fmla="*/ 9789823 w 10799257"/>
              <a:gd name="connsiteY1668" fmla="*/ 1871526 h 3098304"/>
              <a:gd name="connsiteX1669" fmla="*/ 9867560 w 10799257"/>
              <a:gd name="connsiteY1669" fmla="*/ 1949263 h 3098304"/>
              <a:gd name="connsiteX1670" fmla="*/ 9789823 w 10799257"/>
              <a:gd name="connsiteY1670" fmla="*/ 2026999 h 3098304"/>
              <a:gd name="connsiteX1671" fmla="*/ 9712086 w 10799257"/>
              <a:gd name="connsiteY1671" fmla="*/ 1949263 h 3098304"/>
              <a:gd name="connsiteX1672" fmla="*/ 9789823 w 10799257"/>
              <a:gd name="connsiteY1672" fmla="*/ 1871526 h 3098304"/>
              <a:gd name="connsiteX1673" fmla="*/ 9606306 w 10799257"/>
              <a:gd name="connsiteY1673" fmla="*/ 1871526 h 3098304"/>
              <a:gd name="connsiteX1674" fmla="*/ 9684043 w 10799257"/>
              <a:gd name="connsiteY1674" fmla="*/ 1949263 h 3098304"/>
              <a:gd name="connsiteX1675" fmla="*/ 9606306 w 10799257"/>
              <a:gd name="connsiteY1675" fmla="*/ 2026999 h 3098304"/>
              <a:gd name="connsiteX1676" fmla="*/ 9528569 w 10799257"/>
              <a:gd name="connsiteY1676" fmla="*/ 1949263 h 3098304"/>
              <a:gd name="connsiteX1677" fmla="*/ 9606306 w 10799257"/>
              <a:gd name="connsiteY1677" fmla="*/ 1871526 h 3098304"/>
              <a:gd name="connsiteX1678" fmla="*/ 10091069 w 10799257"/>
              <a:gd name="connsiteY1678" fmla="*/ 1771989 h 3098304"/>
              <a:gd name="connsiteX1679" fmla="*/ 10188573 w 10799257"/>
              <a:gd name="connsiteY1679" fmla="*/ 1857806 h 3098304"/>
              <a:gd name="connsiteX1680" fmla="*/ 10166265 w 10799257"/>
              <a:gd name="connsiteY1680" fmla="*/ 1862309 h 3098304"/>
              <a:gd name="connsiteX1681" fmla="*/ 10088528 w 10799257"/>
              <a:gd name="connsiteY1681" fmla="*/ 1784572 h 3098304"/>
              <a:gd name="connsiteX1682" fmla="*/ 284431 w 10799257"/>
              <a:gd name="connsiteY1682" fmla="*/ 1709613 h 3098304"/>
              <a:gd name="connsiteX1683" fmla="*/ 300934 w 10799257"/>
              <a:gd name="connsiteY1683" fmla="*/ 1712944 h 3098304"/>
              <a:gd name="connsiteX1684" fmla="*/ 348412 w 10799257"/>
              <a:gd name="connsiteY1684" fmla="*/ 1784572 h 3098304"/>
              <a:gd name="connsiteX1685" fmla="*/ 270675 w 10799257"/>
              <a:gd name="connsiteY1685" fmla="*/ 1862307 h 3098304"/>
              <a:gd name="connsiteX1686" fmla="*/ 199049 w 10799257"/>
              <a:gd name="connsiteY1686" fmla="*/ 1814830 h 3098304"/>
              <a:gd name="connsiteX1687" fmla="*/ 193894 w 10799257"/>
              <a:gd name="connsiteY1687" fmla="*/ 1789298 h 3098304"/>
              <a:gd name="connsiteX1688" fmla="*/ 9978044 w 10799257"/>
              <a:gd name="connsiteY1688" fmla="*/ 1706838 h 3098304"/>
              <a:gd name="connsiteX1689" fmla="*/ 10055781 w 10799257"/>
              <a:gd name="connsiteY1689" fmla="*/ 1784572 h 3098304"/>
              <a:gd name="connsiteX1690" fmla="*/ 9978044 w 10799257"/>
              <a:gd name="connsiteY1690" fmla="*/ 1862309 h 3098304"/>
              <a:gd name="connsiteX1691" fmla="*/ 9900307 w 10799257"/>
              <a:gd name="connsiteY1691" fmla="*/ 1784572 h 3098304"/>
              <a:gd name="connsiteX1692" fmla="*/ 9978044 w 10799257"/>
              <a:gd name="connsiteY1692" fmla="*/ 1706838 h 3098304"/>
              <a:gd name="connsiteX1693" fmla="*/ 9789823 w 10799257"/>
              <a:gd name="connsiteY1693" fmla="*/ 1706838 h 3098304"/>
              <a:gd name="connsiteX1694" fmla="*/ 9867560 w 10799257"/>
              <a:gd name="connsiteY1694" fmla="*/ 1784572 h 3098304"/>
              <a:gd name="connsiteX1695" fmla="*/ 9789823 w 10799257"/>
              <a:gd name="connsiteY1695" fmla="*/ 1862309 h 3098304"/>
              <a:gd name="connsiteX1696" fmla="*/ 9712086 w 10799257"/>
              <a:gd name="connsiteY1696" fmla="*/ 1784572 h 3098304"/>
              <a:gd name="connsiteX1697" fmla="*/ 9789823 w 10799257"/>
              <a:gd name="connsiteY1697" fmla="*/ 1706838 h 3098304"/>
              <a:gd name="connsiteX1698" fmla="*/ 9606306 w 10799257"/>
              <a:gd name="connsiteY1698" fmla="*/ 1706838 h 3098304"/>
              <a:gd name="connsiteX1699" fmla="*/ 9684043 w 10799257"/>
              <a:gd name="connsiteY1699" fmla="*/ 1784572 h 3098304"/>
              <a:gd name="connsiteX1700" fmla="*/ 9606306 w 10799257"/>
              <a:gd name="connsiteY1700" fmla="*/ 1862309 h 3098304"/>
              <a:gd name="connsiteX1701" fmla="*/ 9528569 w 10799257"/>
              <a:gd name="connsiteY1701" fmla="*/ 1784572 h 3098304"/>
              <a:gd name="connsiteX1702" fmla="*/ 9606306 w 10799257"/>
              <a:gd name="connsiteY1702" fmla="*/ 1706838 h 3098304"/>
              <a:gd name="connsiteX1703" fmla="*/ 9413378 w 10799257"/>
              <a:gd name="connsiteY1703" fmla="*/ 1706838 h 3098304"/>
              <a:gd name="connsiteX1704" fmla="*/ 9491115 w 10799257"/>
              <a:gd name="connsiteY1704" fmla="*/ 1784572 h 3098304"/>
              <a:gd name="connsiteX1705" fmla="*/ 9413378 w 10799257"/>
              <a:gd name="connsiteY1705" fmla="*/ 1862309 h 3098304"/>
              <a:gd name="connsiteX1706" fmla="*/ 9335641 w 10799257"/>
              <a:gd name="connsiteY1706" fmla="*/ 1784572 h 3098304"/>
              <a:gd name="connsiteX1707" fmla="*/ 9413378 w 10799257"/>
              <a:gd name="connsiteY1707" fmla="*/ 1706838 h 3098304"/>
              <a:gd name="connsiteX1708" fmla="*/ 9234570 w 10799257"/>
              <a:gd name="connsiteY1708" fmla="*/ 1706838 h 3098304"/>
              <a:gd name="connsiteX1709" fmla="*/ 9312307 w 10799257"/>
              <a:gd name="connsiteY1709" fmla="*/ 1784572 h 3098304"/>
              <a:gd name="connsiteX1710" fmla="*/ 9234570 w 10799257"/>
              <a:gd name="connsiteY1710" fmla="*/ 1862309 h 3098304"/>
              <a:gd name="connsiteX1711" fmla="*/ 9156833 w 10799257"/>
              <a:gd name="connsiteY1711" fmla="*/ 1784572 h 3098304"/>
              <a:gd name="connsiteX1712" fmla="*/ 9234570 w 10799257"/>
              <a:gd name="connsiteY1712" fmla="*/ 1706838 h 3098304"/>
              <a:gd name="connsiteX1713" fmla="*/ 9036936 w 10799257"/>
              <a:gd name="connsiteY1713" fmla="*/ 1706838 h 3098304"/>
              <a:gd name="connsiteX1714" fmla="*/ 9114673 w 10799257"/>
              <a:gd name="connsiteY1714" fmla="*/ 1784572 h 3098304"/>
              <a:gd name="connsiteX1715" fmla="*/ 9036936 w 10799257"/>
              <a:gd name="connsiteY1715" fmla="*/ 1862309 h 3098304"/>
              <a:gd name="connsiteX1716" fmla="*/ 8959199 w 10799257"/>
              <a:gd name="connsiteY1716" fmla="*/ 1784572 h 3098304"/>
              <a:gd name="connsiteX1717" fmla="*/ 9036936 w 10799257"/>
              <a:gd name="connsiteY1717" fmla="*/ 1706838 h 3098304"/>
              <a:gd name="connsiteX1718" fmla="*/ 8853421 w 10799257"/>
              <a:gd name="connsiteY1718" fmla="*/ 1706838 h 3098304"/>
              <a:gd name="connsiteX1719" fmla="*/ 8931158 w 10799257"/>
              <a:gd name="connsiteY1719" fmla="*/ 1784572 h 3098304"/>
              <a:gd name="connsiteX1720" fmla="*/ 8853421 w 10799257"/>
              <a:gd name="connsiteY1720" fmla="*/ 1862309 h 3098304"/>
              <a:gd name="connsiteX1721" fmla="*/ 8775685 w 10799257"/>
              <a:gd name="connsiteY1721" fmla="*/ 1784572 h 3098304"/>
              <a:gd name="connsiteX1722" fmla="*/ 8853421 w 10799257"/>
              <a:gd name="connsiteY1722" fmla="*/ 1706838 h 3098304"/>
              <a:gd name="connsiteX1723" fmla="*/ 8669907 w 10799257"/>
              <a:gd name="connsiteY1723" fmla="*/ 1706838 h 3098304"/>
              <a:gd name="connsiteX1724" fmla="*/ 8747644 w 10799257"/>
              <a:gd name="connsiteY1724" fmla="*/ 1784572 h 3098304"/>
              <a:gd name="connsiteX1725" fmla="*/ 8669907 w 10799257"/>
              <a:gd name="connsiteY1725" fmla="*/ 1862309 h 3098304"/>
              <a:gd name="connsiteX1726" fmla="*/ 8592170 w 10799257"/>
              <a:gd name="connsiteY1726" fmla="*/ 1784572 h 3098304"/>
              <a:gd name="connsiteX1727" fmla="*/ 8669907 w 10799257"/>
              <a:gd name="connsiteY1727" fmla="*/ 1706838 h 3098304"/>
              <a:gd name="connsiteX1728" fmla="*/ 8481683 w 10799257"/>
              <a:gd name="connsiteY1728" fmla="*/ 1706838 h 3098304"/>
              <a:gd name="connsiteX1729" fmla="*/ 8559420 w 10799257"/>
              <a:gd name="connsiteY1729" fmla="*/ 1784572 h 3098304"/>
              <a:gd name="connsiteX1730" fmla="*/ 8481683 w 10799257"/>
              <a:gd name="connsiteY1730" fmla="*/ 1862309 h 3098304"/>
              <a:gd name="connsiteX1731" fmla="*/ 8403946 w 10799257"/>
              <a:gd name="connsiteY1731" fmla="*/ 1784572 h 3098304"/>
              <a:gd name="connsiteX1732" fmla="*/ 8481683 w 10799257"/>
              <a:gd name="connsiteY1732" fmla="*/ 1706838 h 3098304"/>
              <a:gd name="connsiteX1733" fmla="*/ 8298167 w 10799257"/>
              <a:gd name="connsiteY1733" fmla="*/ 1706838 h 3098304"/>
              <a:gd name="connsiteX1734" fmla="*/ 8375904 w 10799257"/>
              <a:gd name="connsiteY1734" fmla="*/ 1784572 h 3098304"/>
              <a:gd name="connsiteX1735" fmla="*/ 8298167 w 10799257"/>
              <a:gd name="connsiteY1735" fmla="*/ 1862309 h 3098304"/>
              <a:gd name="connsiteX1736" fmla="*/ 8220430 w 10799257"/>
              <a:gd name="connsiteY1736" fmla="*/ 1784572 h 3098304"/>
              <a:gd name="connsiteX1737" fmla="*/ 8298167 w 10799257"/>
              <a:gd name="connsiteY1737" fmla="*/ 1706838 h 3098304"/>
              <a:gd name="connsiteX1738" fmla="*/ 8109949 w 10799257"/>
              <a:gd name="connsiteY1738" fmla="*/ 1706838 h 3098304"/>
              <a:gd name="connsiteX1739" fmla="*/ 8187686 w 10799257"/>
              <a:gd name="connsiteY1739" fmla="*/ 1784572 h 3098304"/>
              <a:gd name="connsiteX1740" fmla="*/ 8109949 w 10799257"/>
              <a:gd name="connsiteY1740" fmla="*/ 1862309 h 3098304"/>
              <a:gd name="connsiteX1741" fmla="*/ 8032212 w 10799257"/>
              <a:gd name="connsiteY1741" fmla="*/ 1784572 h 3098304"/>
              <a:gd name="connsiteX1742" fmla="*/ 8109949 w 10799257"/>
              <a:gd name="connsiteY1742" fmla="*/ 1706838 h 3098304"/>
              <a:gd name="connsiteX1743" fmla="*/ 7926432 w 10799257"/>
              <a:gd name="connsiteY1743" fmla="*/ 1706838 h 3098304"/>
              <a:gd name="connsiteX1744" fmla="*/ 8004169 w 10799257"/>
              <a:gd name="connsiteY1744" fmla="*/ 1784572 h 3098304"/>
              <a:gd name="connsiteX1745" fmla="*/ 7926432 w 10799257"/>
              <a:gd name="connsiteY1745" fmla="*/ 1862309 h 3098304"/>
              <a:gd name="connsiteX1746" fmla="*/ 7848695 w 10799257"/>
              <a:gd name="connsiteY1746" fmla="*/ 1784572 h 3098304"/>
              <a:gd name="connsiteX1747" fmla="*/ 7926432 w 10799257"/>
              <a:gd name="connsiteY1747" fmla="*/ 1706838 h 3098304"/>
              <a:gd name="connsiteX1748" fmla="*/ 7738211 w 10799257"/>
              <a:gd name="connsiteY1748" fmla="*/ 1706838 h 3098304"/>
              <a:gd name="connsiteX1749" fmla="*/ 7815947 w 10799257"/>
              <a:gd name="connsiteY1749" fmla="*/ 1784572 h 3098304"/>
              <a:gd name="connsiteX1750" fmla="*/ 7738211 w 10799257"/>
              <a:gd name="connsiteY1750" fmla="*/ 1862309 h 3098304"/>
              <a:gd name="connsiteX1751" fmla="*/ 7660474 w 10799257"/>
              <a:gd name="connsiteY1751" fmla="*/ 1784572 h 3098304"/>
              <a:gd name="connsiteX1752" fmla="*/ 7738211 w 10799257"/>
              <a:gd name="connsiteY1752" fmla="*/ 1706838 h 3098304"/>
              <a:gd name="connsiteX1753" fmla="*/ 7554693 w 10799257"/>
              <a:gd name="connsiteY1753" fmla="*/ 1706838 h 3098304"/>
              <a:gd name="connsiteX1754" fmla="*/ 7632430 w 10799257"/>
              <a:gd name="connsiteY1754" fmla="*/ 1784572 h 3098304"/>
              <a:gd name="connsiteX1755" fmla="*/ 7554693 w 10799257"/>
              <a:gd name="connsiteY1755" fmla="*/ 1862309 h 3098304"/>
              <a:gd name="connsiteX1756" fmla="*/ 7476957 w 10799257"/>
              <a:gd name="connsiteY1756" fmla="*/ 1784572 h 3098304"/>
              <a:gd name="connsiteX1757" fmla="*/ 7554693 w 10799257"/>
              <a:gd name="connsiteY1757" fmla="*/ 1706838 h 3098304"/>
              <a:gd name="connsiteX1758" fmla="*/ 7366472 w 10799257"/>
              <a:gd name="connsiteY1758" fmla="*/ 1706838 h 3098304"/>
              <a:gd name="connsiteX1759" fmla="*/ 7444209 w 10799257"/>
              <a:gd name="connsiteY1759" fmla="*/ 1784572 h 3098304"/>
              <a:gd name="connsiteX1760" fmla="*/ 7366472 w 10799257"/>
              <a:gd name="connsiteY1760" fmla="*/ 1862309 h 3098304"/>
              <a:gd name="connsiteX1761" fmla="*/ 7288736 w 10799257"/>
              <a:gd name="connsiteY1761" fmla="*/ 1784572 h 3098304"/>
              <a:gd name="connsiteX1762" fmla="*/ 7366472 w 10799257"/>
              <a:gd name="connsiteY1762" fmla="*/ 1706838 h 3098304"/>
              <a:gd name="connsiteX1763" fmla="*/ 7178251 w 10799257"/>
              <a:gd name="connsiteY1763" fmla="*/ 1706838 h 3098304"/>
              <a:gd name="connsiteX1764" fmla="*/ 7255988 w 10799257"/>
              <a:gd name="connsiteY1764" fmla="*/ 1784572 h 3098304"/>
              <a:gd name="connsiteX1765" fmla="*/ 7178251 w 10799257"/>
              <a:gd name="connsiteY1765" fmla="*/ 1862309 h 3098304"/>
              <a:gd name="connsiteX1766" fmla="*/ 7100514 w 10799257"/>
              <a:gd name="connsiteY1766" fmla="*/ 1784572 h 3098304"/>
              <a:gd name="connsiteX1767" fmla="*/ 7178251 w 10799257"/>
              <a:gd name="connsiteY1767" fmla="*/ 1706838 h 3098304"/>
              <a:gd name="connsiteX1768" fmla="*/ 6985327 w 10799257"/>
              <a:gd name="connsiteY1768" fmla="*/ 1706838 h 3098304"/>
              <a:gd name="connsiteX1769" fmla="*/ 7063064 w 10799257"/>
              <a:gd name="connsiteY1769" fmla="*/ 1784572 h 3098304"/>
              <a:gd name="connsiteX1770" fmla="*/ 6985327 w 10799257"/>
              <a:gd name="connsiteY1770" fmla="*/ 1862309 h 3098304"/>
              <a:gd name="connsiteX1771" fmla="*/ 6907590 w 10799257"/>
              <a:gd name="connsiteY1771" fmla="*/ 1784572 h 3098304"/>
              <a:gd name="connsiteX1772" fmla="*/ 6985327 w 10799257"/>
              <a:gd name="connsiteY1772" fmla="*/ 1706838 h 3098304"/>
              <a:gd name="connsiteX1773" fmla="*/ 6801807 w 10799257"/>
              <a:gd name="connsiteY1773" fmla="*/ 1706838 h 3098304"/>
              <a:gd name="connsiteX1774" fmla="*/ 6879544 w 10799257"/>
              <a:gd name="connsiteY1774" fmla="*/ 1784572 h 3098304"/>
              <a:gd name="connsiteX1775" fmla="*/ 6801807 w 10799257"/>
              <a:gd name="connsiteY1775" fmla="*/ 1862309 h 3098304"/>
              <a:gd name="connsiteX1776" fmla="*/ 6724070 w 10799257"/>
              <a:gd name="connsiteY1776" fmla="*/ 1784572 h 3098304"/>
              <a:gd name="connsiteX1777" fmla="*/ 6801807 w 10799257"/>
              <a:gd name="connsiteY1777" fmla="*/ 1706838 h 3098304"/>
              <a:gd name="connsiteX1778" fmla="*/ 6613586 w 10799257"/>
              <a:gd name="connsiteY1778" fmla="*/ 1706838 h 3098304"/>
              <a:gd name="connsiteX1779" fmla="*/ 6691323 w 10799257"/>
              <a:gd name="connsiteY1779" fmla="*/ 1784572 h 3098304"/>
              <a:gd name="connsiteX1780" fmla="*/ 6613586 w 10799257"/>
              <a:gd name="connsiteY1780" fmla="*/ 1862309 h 3098304"/>
              <a:gd name="connsiteX1781" fmla="*/ 6535849 w 10799257"/>
              <a:gd name="connsiteY1781" fmla="*/ 1784572 h 3098304"/>
              <a:gd name="connsiteX1782" fmla="*/ 6613586 w 10799257"/>
              <a:gd name="connsiteY1782" fmla="*/ 1706838 h 3098304"/>
              <a:gd name="connsiteX1783" fmla="*/ 6425365 w 10799257"/>
              <a:gd name="connsiteY1783" fmla="*/ 1706838 h 3098304"/>
              <a:gd name="connsiteX1784" fmla="*/ 6503102 w 10799257"/>
              <a:gd name="connsiteY1784" fmla="*/ 1784572 h 3098304"/>
              <a:gd name="connsiteX1785" fmla="*/ 6425365 w 10799257"/>
              <a:gd name="connsiteY1785" fmla="*/ 1862309 h 3098304"/>
              <a:gd name="connsiteX1786" fmla="*/ 6347628 w 10799257"/>
              <a:gd name="connsiteY1786" fmla="*/ 1784572 h 3098304"/>
              <a:gd name="connsiteX1787" fmla="*/ 6425365 w 10799257"/>
              <a:gd name="connsiteY1787" fmla="*/ 1706838 h 3098304"/>
              <a:gd name="connsiteX1788" fmla="*/ 6241850 w 10799257"/>
              <a:gd name="connsiteY1788" fmla="*/ 1706838 h 3098304"/>
              <a:gd name="connsiteX1789" fmla="*/ 6319587 w 10799257"/>
              <a:gd name="connsiteY1789" fmla="*/ 1784572 h 3098304"/>
              <a:gd name="connsiteX1790" fmla="*/ 6241850 w 10799257"/>
              <a:gd name="connsiteY1790" fmla="*/ 1862309 h 3098304"/>
              <a:gd name="connsiteX1791" fmla="*/ 6164113 w 10799257"/>
              <a:gd name="connsiteY1791" fmla="*/ 1784572 h 3098304"/>
              <a:gd name="connsiteX1792" fmla="*/ 6241850 w 10799257"/>
              <a:gd name="connsiteY1792" fmla="*/ 1706838 h 3098304"/>
              <a:gd name="connsiteX1793" fmla="*/ 5870112 w 10799257"/>
              <a:gd name="connsiteY1793" fmla="*/ 1706838 h 3098304"/>
              <a:gd name="connsiteX1794" fmla="*/ 5947849 w 10799257"/>
              <a:gd name="connsiteY1794" fmla="*/ 1784572 h 3098304"/>
              <a:gd name="connsiteX1795" fmla="*/ 5870112 w 10799257"/>
              <a:gd name="connsiteY1795" fmla="*/ 1862309 h 3098304"/>
              <a:gd name="connsiteX1796" fmla="*/ 5792375 w 10799257"/>
              <a:gd name="connsiteY1796" fmla="*/ 1784572 h 3098304"/>
              <a:gd name="connsiteX1797" fmla="*/ 5870112 w 10799257"/>
              <a:gd name="connsiteY1797" fmla="*/ 1706838 h 3098304"/>
              <a:gd name="connsiteX1798" fmla="*/ 5681940 w 10799257"/>
              <a:gd name="connsiteY1798" fmla="*/ 1706838 h 3098304"/>
              <a:gd name="connsiteX1799" fmla="*/ 5759628 w 10799257"/>
              <a:gd name="connsiteY1799" fmla="*/ 1784572 h 3098304"/>
              <a:gd name="connsiteX1800" fmla="*/ 5681940 w 10799257"/>
              <a:gd name="connsiteY1800" fmla="*/ 1862309 h 3098304"/>
              <a:gd name="connsiteX1801" fmla="*/ 5604179 w 10799257"/>
              <a:gd name="connsiteY1801" fmla="*/ 1784572 h 3098304"/>
              <a:gd name="connsiteX1802" fmla="*/ 5681940 w 10799257"/>
              <a:gd name="connsiteY1802" fmla="*/ 1706838 h 3098304"/>
              <a:gd name="connsiteX1803" fmla="*/ 5498378 w 10799257"/>
              <a:gd name="connsiteY1803" fmla="*/ 1706838 h 3098304"/>
              <a:gd name="connsiteX1804" fmla="*/ 5576128 w 10799257"/>
              <a:gd name="connsiteY1804" fmla="*/ 1784572 h 3098304"/>
              <a:gd name="connsiteX1805" fmla="*/ 5498378 w 10799257"/>
              <a:gd name="connsiteY1805" fmla="*/ 1862309 h 3098304"/>
              <a:gd name="connsiteX1806" fmla="*/ 5420642 w 10799257"/>
              <a:gd name="connsiteY1806" fmla="*/ 1784572 h 3098304"/>
              <a:gd name="connsiteX1807" fmla="*/ 5498378 w 10799257"/>
              <a:gd name="connsiteY1807" fmla="*/ 1706838 h 3098304"/>
              <a:gd name="connsiteX1808" fmla="*/ 5126655 w 10799257"/>
              <a:gd name="connsiteY1808" fmla="*/ 1706835 h 3098304"/>
              <a:gd name="connsiteX1809" fmla="*/ 5204396 w 10799257"/>
              <a:gd name="connsiteY1809" fmla="*/ 1784572 h 3098304"/>
              <a:gd name="connsiteX1810" fmla="*/ 5126655 w 10799257"/>
              <a:gd name="connsiteY1810" fmla="*/ 1862307 h 3098304"/>
              <a:gd name="connsiteX1811" fmla="*/ 5048937 w 10799257"/>
              <a:gd name="connsiteY1811" fmla="*/ 1784572 h 3098304"/>
              <a:gd name="connsiteX1812" fmla="*/ 5126655 w 10799257"/>
              <a:gd name="connsiteY1812" fmla="*/ 1706835 h 3098304"/>
              <a:gd name="connsiteX1813" fmla="*/ 2689349 w 10799257"/>
              <a:gd name="connsiteY1813" fmla="*/ 1706835 h 3098304"/>
              <a:gd name="connsiteX1814" fmla="*/ 2767057 w 10799257"/>
              <a:gd name="connsiteY1814" fmla="*/ 1784572 h 3098304"/>
              <a:gd name="connsiteX1815" fmla="*/ 2689349 w 10799257"/>
              <a:gd name="connsiteY1815" fmla="*/ 1862307 h 3098304"/>
              <a:gd name="connsiteX1816" fmla="*/ 2611614 w 10799257"/>
              <a:gd name="connsiteY1816" fmla="*/ 1784572 h 3098304"/>
              <a:gd name="connsiteX1817" fmla="*/ 2689349 w 10799257"/>
              <a:gd name="connsiteY1817" fmla="*/ 1706835 h 3098304"/>
              <a:gd name="connsiteX1818" fmla="*/ 2510528 w 10799257"/>
              <a:gd name="connsiteY1818" fmla="*/ 1706835 h 3098304"/>
              <a:gd name="connsiteX1819" fmla="*/ 2588274 w 10799257"/>
              <a:gd name="connsiteY1819" fmla="*/ 1784572 h 3098304"/>
              <a:gd name="connsiteX1820" fmla="*/ 2510528 w 10799257"/>
              <a:gd name="connsiteY1820" fmla="*/ 1862307 h 3098304"/>
              <a:gd name="connsiteX1821" fmla="*/ 2432768 w 10799257"/>
              <a:gd name="connsiteY1821" fmla="*/ 1784572 h 3098304"/>
              <a:gd name="connsiteX1822" fmla="*/ 2510528 w 10799257"/>
              <a:gd name="connsiteY1822" fmla="*/ 1706835 h 3098304"/>
              <a:gd name="connsiteX1823" fmla="*/ 2317563 w 10799257"/>
              <a:gd name="connsiteY1823" fmla="*/ 1706835 h 3098304"/>
              <a:gd name="connsiteX1824" fmla="*/ 2395304 w 10799257"/>
              <a:gd name="connsiteY1824" fmla="*/ 1784572 h 3098304"/>
              <a:gd name="connsiteX1825" fmla="*/ 2317563 w 10799257"/>
              <a:gd name="connsiteY1825" fmla="*/ 1862307 h 3098304"/>
              <a:gd name="connsiteX1826" fmla="*/ 2239838 w 10799257"/>
              <a:gd name="connsiteY1826" fmla="*/ 1784572 h 3098304"/>
              <a:gd name="connsiteX1827" fmla="*/ 2317563 w 10799257"/>
              <a:gd name="connsiteY1827" fmla="*/ 1706835 h 3098304"/>
              <a:gd name="connsiteX1828" fmla="*/ 1569451 w 10799257"/>
              <a:gd name="connsiteY1828" fmla="*/ 1706835 h 3098304"/>
              <a:gd name="connsiteX1829" fmla="*/ 1647217 w 10799257"/>
              <a:gd name="connsiteY1829" fmla="*/ 1784572 h 3098304"/>
              <a:gd name="connsiteX1830" fmla="*/ 1569451 w 10799257"/>
              <a:gd name="connsiteY1830" fmla="*/ 1862307 h 3098304"/>
              <a:gd name="connsiteX1831" fmla="*/ 1491739 w 10799257"/>
              <a:gd name="connsiteY1831" fmla="*/ 1784572 h 3098304"/>
              <a:gd name="connsiteX1832" fmla="*/ 1569451 w 10799257"/>
              <a:gd name="connsiteY1832" fmla="*/ 1706835 h 3098304"/>
              <a:gd name="connsiteX1833" fmla="*/ 1385926 w 10799257"/>
              <a:gd name="connsiteY1833" fmla="*/ 1706835 h 3098304"/>
              <a:gd name="connsiteX1834" fmla="*/ 1463687 w 10799257"/>
              <a:gd name="connsiteY1834" fmla="*/ 1784572 h 3098304"/>
              <a:gd name="connsiteX1835" fmla="*/ 1385926 w 10799257"/>
              <a:gd name="connsiteY1835" fmla="*/ 1862307 h 3098304"/>
              <a:gd name="connsiteX1836" fmla="*/ 1308166 w 10799257"/>
              <a:gd name="connsiteY1836" fmla="*/ 1784572 h 3098304"/>
              <a:gd name="connsiteX1837" fmla="*/ 1385926 w 10799257"/>
              <a:gd name="connsiteY1837" fmla="*/ 1706835 h 3098304"/>
              <a:gd name="connsiteX1838" fmla="*/ 1202386 w 10799257"/>
              <a:gd name="connsiteY1838" fmla="*/ 1706835 h 3098304"/>
              <a:gd name="connsiteX1839" fmla="*/ 1280117 w 10799257"/>
              <a:gd name="connsiteY1839" fmla="*/ 1784572 h 3098304"/>
              <a:gd name="connsiteX1840" fmla="*/ 1202386 w 10799257"/>
              <a:gd name="connsiteY1840" fmla="*/ 1862307 h 3098304"/>
              <a:gd name="connsiteX1841" fmla="*/ 1124679 w 10799257"/>
              <a:gd name="connsiteY1841" fmla="*/ 1784572 h 3098304"/>
              <a:gd name="connsiteX1842" fmla="*/ 1202386 w 10799257"/>
              <a:gd name="connsiteY1842" fmla="*/ 1706835 h 3098304"/>
              <a:gd name="connsiteX1843" fmla="*/ 1014150 w 10799257"/>
              <a:gd name="connsiteY1843" fmla="*/ 1706835 h 3098304"/>
              <a:gd name="connsiteX1844" fmla="*/ 1091910 w 10799257"/>
              <a:gd name="connsiteY1844" fmla="*/ 1784572 h 3098304"/>
              <a:gd name="connsiteX1845" fmla="*/ 1014150 w 10799257"/>
              <a:gd name="connsiteY1845" fmla="*/ 1862307 h 3098304"/>
              <a:gd name="connsiteX1846" fmla="*/ 936446 w 10799257"/>
              <a:gd name="connsiteY1846" fmla="*/ 1784572 h 3098304"/>
              <a:gd name="connsiteX1847" fmla="*/ 1014150 w 10799257"/>
              <a:gd name="connsiteY1847" fmla="*/ 1706835 h 3098304"/>
              <a:gd name="connsiteX1848" fmla="*/ 830642 w 10799257"/>
              <a:gd name="connsiteY1848" fmla="*/ 1706835 h 3098304"/>
              <a:gd name="connsiteX1849" fmla="*/ 908402 w 10799257"/>
              <a:gd name="connsiteY1849" fmla="*/ 1784572 h 3098304"/>
              <a:gd name="connsiteX1850" fmla="*/ 830642 w 10799257"/>
              <a:gd name="connsiteY1850" fmla="*/ 1862307 h 3098304"/>
              <a:gd name="connsiteX1851" fmla="*/ 752900 w 10799257"/>
              <a:gd name="connsiteY1851" fmla="*/ 1784572 h 3098304"/>
              <a:gd name="connsiteX1852" fmla="*/ 830642 w 10799257"/>
              <a:gd name="connsiteY1852" fmla="*/ 1706835 h 3098304"/>
              <a:gd name="connsiteX1853" fmla="*/ 642409 w 10799257"/>
              <a:gd name="connsiteY1853" fmla="*/ 1706835 h 3098304"/>
              <a:gd name="connsiteX1854" fmla="*/ 720151 w 10799257"/>
              <a:gd name="connsiteY1854" fmla="*/ 1784572 h 3098304"/>
              <a:gd name="connsiteX1855" fmla="*/ 642409 w 10799257"/>
              <a:gd name="connsiteY1855" fmla="*/ 1862307 h 3098304"/>
              <a:gd name="connsiteX1856" fmla="*/ 564675 w 10799257"/>
              <a:gd name="connsiteY1856" fmla="*/ 1784572 h 3098304"/>
              <a:gd name="connsiteX1857" fmla="*/ 642409 w 10799257"/>
              <a:gd name="connsiteY1857" fmla="*/ 1706835 h 3098304"/>
              <a:gd name="connsiteX1858" fmla="*/ 458896 w 10799257"/>
              <a:gd name="connsiteY1858" fmla="*/ 1706835 h 3098304"/>
              <a:gd name="connsiteX1859" fmla="*/ 536634 w 10799257"/>
              <a:gd name="connsiteY1859" fmla="*/ 1784572 h 3098304"/>
              <a:gd name="connsiteX1860" fmla="*/ 458896 w 10799257"/>
              <a:gd name="connsiteY1860" fmla="*/ 1862307 h 3098304"/>
              <a:gd name="connsiteX1861" fmla="*/ 381164 w 10799257"/>
              <a:gd name="connsiteY1861" fmla="*/ 1784572 h 3098304"/>
              <a:gd name="connsiteX1862" fmla="*/ 458896 w 10799257"/>
              <a:gd name="connsiteY1862" fmla="*/ 1706835 h 3098304"/>
              <a:gd name="connsiteX1863" fmla="*/ 9900311 w 10799257"/>
              <a:gd name="connsiteY1863" fmla="*/ 1615146 h 3098304"/>
              <a:gd name="connsiteX1864" fmla="*/ 9995426 w 10799257"/>
              <a:gd name="connsiteY1864" fmla="*/ 1689399 h 3098304"/>
              <a:gd name="connsiteX1865" fmla="*/ 9978043 w 10799257"/>
              <a:gd name="connsiteY1865" fmla="*/ 1692909 h 3098304"/>
              <a:gd name="connsiteX1866" fmla="*/ 9900306 w 10799257"/>
              <a:gd name="connsiteY1866" fmla="*/ 1615171 h 3098304"/>
              <a:gd name="connsiteX1867" fmla="*/ 492851 w 10799257"/>
              <a:gd name="connsiteY1867" fmla="*/ 1546029 h 3098304"/>
              <a:gd name="connsiteX1868" fmla="*/ 513874 w 10799257"/>
              <a:gd name="connsiteY1868" fmla="*/ 1560204 h 3098304"/>
              <a:gd name="connsiteX1869" fmla="*/ 536643 w 10799257"/>
              <a:gd name="connsiteY1869" fmla="*/ 1615171 h 3098304"/>
              <a:gd name="connsiteX1870" fmla="*/ 458906 w 10799257"/>
              <a:gd name="connsiteY1870" fmla="*/ 1692909 h 3098304"/>
              <a:gd name="connsiteX1871" fmla="*/ 387281 w 10799257"/>
              <a:gd name="connsiteY1871" fmla="*/ 1645430 h 3098304"/>
              <a:gd name="connsiteX1872" fmla="*/ 384319 w 10799257"/>
              <a:gd name="connsiteY1872" fmla="*/ 1630757 h 3098304"/>
              <a:gd name="connsiteX1873" fmla="*/ 9789822 w 10799257"/>
              <a:gd name="connsiteY1873" fmla="*/ 1537435 h 3098304"/>
              <a:gd name="connsiteX1874" fmla="*/ 9804588 w 10799257"/>
              <a:gd name="connsiteY1874" fmla="*/ 1540416 h 3098304"/>
              <a:gd name="connsiteX1875" fmla="*/ 9861298 w 10799257"/>
              <a:gd name="connsiteY1875" fmla="*/ 1584689 h 3098304"/>
              <a:gd name="connsiteX1876" fmla="*/ 9861449 w 10799257"/>
              <a:gd name="connsiteY1876" fmla="*/ 1584913 h 3098304"/>
              <a:gd name="connsiteX1877" fmla="*/ 9867558 w 10799257"/>
              <a:gd name="connsiteY1877" fmla="*/ 1615171 h 3098304"/>
              <a:gd name="connsiteX1878" fmla="*/ 9789822 w 10799257"/>
              <a:gd name="connsiteY1878" fmla="*/ 1692909 h 3098304"/>
              <a:gd name="connsiteX1879" fmla="*/ 9712085 w 10799257"/>
              <a:gd name="connsiteY1879" fmla="*/ 1615171 h 3098304"/>
              <a:gd name="connsiteX1880" fmla="*/ 9789822 w 10799257"/>
              <a:gd name="connsiteY1880" fmla="*/ 1537435 h 3098304"/>
              <a:gd name="connsiteX1881" fmla="*/ 9606304 w 10799257"/>
              <a:gd name="connsiteY1881" fmla="*/ 1537435 h 3098304"/>
              <a:gd name="connsiteX1882" fmla="*/ 9684041 w 10799257"/>
              <a:gd name="connsiteY1882" fmla="*/ 1615171 h 3098304"/>
              <a:gd name="connsiteX1883" fmla="*/ 9606304 w 10799257"/>
              <a:gd name="connsiteY1883" fmla="*/ 1692909 h 3098304"/>
              <a:gd name="connsiteX1884" fmla="*/ 9528568 w 10799257"/>
              <a:gd name="connsiteY1884" fmla="*/ 1615171 h 3098304"/>
              <a:gd name="connsiteX1885" fmla="*/ 9606304 w 10799257"/>
              <a:gd name="connsiteY1885" fmla="*/ 1537435 h 3098304"/>
              <a:gd name="connsiteX1886" fmla="*/ 9413377 w 10799257"/>
              <a:gd name="connsiteY1886" fmla="*/ 1537435 h 3098304"/>
              <a:gd name="connsiteX1887" fmla="*/ 9491114 w 10799257"/>
              <a:gd name="connsiteY1887" fmla="*/ 1615171 h 3098304"/>
              <a:gd name="connsiteX1888" fmla="*/ 9413377 w 10799257"/>
              <a:gd name="connsiteY1888" fmla="*/ 1692909 h 3098304"/>
              <a:gd name="connsiteX1889" fmla="*/ 9335640 w 10799257"/>
              <a:gd name="connsiteY1889" fmla="*/ 1615171 h 3098304"/>
              <a:gd name="connsiteX1890" fmla="*/ 9413377 w 10799257"/>
              <a:gd name="connsiteY1890" fmla="*/ 1537435 h 3098304"/>
              <a:gd name="connsiteX1891" fmla="*/ 9234567 w 10799257"/>
              <a:gd name="connsiteY1891" fmla="*/ 1537435 h 3098304"/>
              <a:gd name="connsiteX1892" fmla="*/ 9312304 w 10799257"/>
              <a:gd name="connsiteY1892" fmla="*/ 1615171 h 3098304"/>
              <a:gd name="connsiteX1893" fmla="*/ 9234567 w 10799257"/>
              <a:gd name="connsiteY1893" fmla="*/ 1692909 h 3098304"/>
              <a:gd name="connsiteX1894" fmla="*/ 9156831 w 10799257"/>
              <a:gd name="connsiteY1894" fmla="*/ 1615171 h 3098304"/>
              <a:gd name="connsiteX1895" fmla="*/ 9234567 w 10799257"/>
              <a:gd name="connsiteY1895" fmla="*/ 1537435 h 3098304"/>
              <a:gd name="connsiteX1896" fmla="*/ 9036935 w 10799257"/>
              <a:gd name="connsiteY1896" fmla="*/ 1537435 h 3098304"/>
              <a:gd name="connsiteX1897" fmla="*/ 9114672 w 10799257"/>
              <a:gd name="connsiteY1897" fmla="*/ 1615171 h 3098304"/>
              <a:gd name="connsiteX1898" fmla="*/ 9036935 w 10799257"/>
              <a:gd name="connsiteY1898" fmla="*/ 1692909 h 3098304"/>
              <a:gd name="connsiteX1899" fmla="*/ 8959198 w 10799257"/>
              <a:gd name="connsiteY1899" fmla="*/ 1615171 h 3098304"/>
              <a:gd name="connsiteX1900" fmla="*/ 9036935 w 10799257"/>
              <a:gd name="connsiteY1900" fmla="*/ 1537435 h 3098304"/>
              <a:gd name="connsiteX1901" fmla="*/ 8853419 w 10799257"/>
              <a:gd name="connsiteY1901" fmla="*/ 1537435 h 3098304"/>
              <a:gd name="connsiteX1902" fmla="*/ 8931156 w 10799257"/>
              <a:gd name="connsiteY1902" fmla="*/ 1615171 h 3098304"/>
              <a:gd name="connsiteX1903" fmla="*/ 8853419 w 10799257"/>
              <a:gd name="connsiteY1903" fmla="*/ 1692909 h 3098304"/>
              <a:gd name="connsiteX1904" fmla="*/ 8775682 w 10799257"/>
              <a:gd name="connsiteY1904" fmla="*/ 1615171 h 3098304"/>
              <a:gd name="connsiteX1905" fmla="*/ 8853419 w 10799257"/>
              <a:gd name="connsiteY1905" fmla="*/ 1537435 h 3098304"/>
              <a:gd name="connsiteX1906" fmla="*/ 8669904 w 10799257"/>
              <a:gd name="connsiteY1906" fmla="*/ 1537435 h 3098304"/>
              <a:gd name="connsiteX1907" fmla="*/ 8747641 w 10799257"/>
              <a:gd name="connsiteY1907" fmla="*/ 1615171 h 3098304"/>
              <a:gd name="connsiteX1908" fmla="*/ 8669904 w 10799257"/>
              <a:gd name="connsiteY1908" fmla="*/ 1692909 h 3098304"/>
              <a:gd name="connsiteX1909" fmla="*/ 8592167 w 10799257"/>
              <a:gd name="connsiteY1909" fmla="*/ 1615171 h 3098304"/>
              <a:gd name="connsiteX1910" fmla="*/ 8669904 w 10799257"/>
              <a:gd name="connsiteY1910" fmla="*/ 1537435 h 3098304"/>
              <a:gd name="connsiteX1911" fmla="*/ 8481681 w 10799257"/>
              <a:gd name="connsiteY1911" fmla="*/ 1537435 h 3098304"/>
              <a:gd name="connsiteX1912" fmla="*/ 8559418 w 10799257"/>
              <a:gd name="connsiteY1912" fmla="*/ 1615171 h 3098304"/>
              <a:gd name="connsiteX1913" fmla="*/ 8481681 w 10799257"/>
              <a:gd name="connsiteY1913" fmla="*/ 1692909 h 3098304"/>
              <a:gd name="connsiteX1914" fmla="*/ 8403944 w 10799257"/>
              <a:gd name="connsiteY1914" fmla="*/ 1615171 h 3098304"/>
              <a:gd name="connsiteX1915" fmla="*/ 8481681 w 10799257"/>
              <a:gd name="connsiteY1915" fmla="*/ 1537435 h 3098304"/>
              <a:gd name="connsiteX1916" fmla="*/ 8298166 w 10799257"/>
              <a:gd name="connsiteY1916" fmla="*/ 1537435 h 3098304"/>
              <a:gd name="connsiteX1917" fmla="*/ 8375903 w 10799257"/>
              <a:gd name="connsiteY1917" fmla="*/ 1615171 h 3098304"/>
              <a:gd name="connsiteX1918" fmla="*/ 8298166 w 10799257"/>
              <a:gd name="connsiteY1918" fmla="*/ 1692909 h 3098304"/>
              <a:gd name="connsiteX1919" fmla="*/ 8220429 w 10799257"/>
              <a:gd name="connsiteY1919" fmla="*/ 1615171 h 3098304"/>
              <a:gd name="connsiteX1920" fmla="*/ 8298166 w 10799257"/>
              <a:gd name="connsiteY1920" fmla="*/ 1537435 h 3098304"/>
              <a:gd name="connsiteX1921" fmla="*/ 8109946 w 10799257"/>
              <a:gd name="connsiteY1921" fmla="*/ 1537435 h 3098304"/>
              <a:gd name="connsiteX1922" fmla="*/ 8187683 w 10799257"/>
              <a:gd name="connsiteY1922" fmla="*/ 1615171 h 3098304"/>
              <a:gd name="connsiteX1923" fmla="*/ 8109946 w 10799257"/>
              <a:gd name="connsiteY1923" fmla="*/ 1692909 h 3098304"/>
              <a:gd name="connsiteX1924" fmla="*/ 8032209 w 10799257"/>
              <a:gd name="connsiteY1924" fmla="*/ 1615171 h 3098304"/>
              <a:gd name="connsiteX1925" fmla="*/ 8109946 w 10799257"/>
              <a:gd name="connsiteY1925" fmla="*/ 1537435 h 3098304"/>
              <a:gd name="connsiteX1926" fmla="*/ 7926429 w 10799257"/>
              <a:gd name="connsiteY1926" fmla="*/ 1537435 h 3098304"/>
              <a:gd name="connsiteX1927" fmla="*/ 8004166 w 10799257"/>
              <a:gd name="connsiteY1927" fmla="*/ 1615171 h 3098304"/>
              <a:gd name="connsiteX1928" fmla="*/ 7926429 w 10799257"/>
              <a:gd name="connsiteY1928" fmla="*/ 1692909 h 3098304"/>
              <a:gd name="connsiteX1929" fmla="*/ 7848692 w 10799257"/>
              <a:gd name="connsiteY1929" fmla="*/ 1615171 h 3098304"/>
              <a:gd name="connsiteX1930" fmla="*/ 7926429 w 10799257"/>
              <a:gd name="connsiteY1930" fmla="*/ 1537435 h 3098304"/>
              <a:gd name="connsiteX1931" fmla="*/ 7738208 w 10799257"/>
              <a:gd name="connsiteY1931" fmla="*/ 1537435 h 3098304"/>
              <a:gd name="connsiteX1932" fmla="*/ 7815945 w 10799257"/>
              <a:gd name="connsiteY1932" fmla="*/ 1615171 h 3098304"/>
              <a:gd name="connsiteX1933" fmla="*/ 7738208 w 10799257"/>
              <a:gd name="connsiteY1933" fmla="*/ 1692909 h 3098304"/>
              <a:gd name="connsiteX1934" fmla="*/ 7660471 w 10799257"/>
              <a:gd name="connsiteY1934" fmla="*/ 1615171 h 3098304"/>
              <a:gd name="connsiteX1935" fmla="*/ 7738208 w 10799257"/>
              <a:gd name="connsiteY1935" fmla="*/ 1537435 h 3098304"/>
              <a:gd name="connsiteX1936" fmla="*/ 7554691 w 10799257"/>
              <a:gd name="connsiteY1936" fmla="*/ 1537435 h 3098304"/>
              <a:gd name="connsiteX1937" fmla="*/ 7632428 w 10799257"/>
              <a:gd name="connsiteY1937" fmla="*/ 1615171 h 3098304"/>
              <a:gd name="connsiteX1938" fmla="*/ 7554691 w 10799257"/>
              <a:gd name="connsiteY1938" fmla="*/ 1692909 h 3098304"/>
              <a:gd name="connsiteX1939" fmla="*/ 7476954 w 10799257"/>
              <a:gd name="connsiteY1939" fmla="*/ 1615171 h 3098304"/>
              <a:gd name="connsiteX1940" fmla="*/ 7554691 w 10799257"/>
              <a:gd name="connsiteY1940" fmla="*/ 1537435 h 3098304"/>
              <a:gd name="connsiteX1941" fmla="*/ 7366470 w 10799257"/>
              <a:gd name="connsiteY1941" fmla="*/ 1537435 h 3098304"/>
              <a:gd name="connsiteX1942" fmla="*/ 7444207 w 10799257"/>
              <a:gd name="connsiteY1942" fmla="*/ 1615171 h 3098304"/>
              <a:gd name="connsiteX1943" fmla="*/ 7366470 w 10799257"/>
              <a:gd name="connsiteY1943" fmla="*/ 1692909 h 3098304"/>
              <a:gd name="connsiteX1944" fmla="*/ 7288733 w 10799257"/>
              <a:gd name="connsiteY1944" fmla="*/ 1615171 h 3098304"/>
              <a:gd name="connsiteX1945" fmla="*/ 7366470 w 10799257"/>
              <a:gd name="connsiteY1945" fmla="*/ 1537435 h 3098304"/>
              <a:gd name="connsiteX1946" fmla="*/ 7178249 w 10799257"/>
              <a:gd name="connsiteY1946" fmla="*/ 1537435 h 3098304"/>
              <a:gd name="connsiteX1947" fmla="*/ 7255986 w 10799257"/>
              <a:gd name="connsiteY1947" fmla="*/ 1615171 h 3098304"/>
              <a:gd name="connsiteX1948" fmla="*/ 7178249 w 10799257"/>
              <a:gd name="connsiteY1948" fmla="*/ 1692909 h 3098304"/>
              <a:gd name="connsiteX1949" fmla="*/ 7100512 w 10799257"/>
              <a:gd name="connsiteY1949" fmla="*/ 1615171 h 3098304"/>
              <a:gd name="connsiteX1950" fmla="*/ 7178249 w 10799257"/>
              <a:gd name="connsiteY1950" fmla="*/ 1537435 h 3098304"/>
              <a:gd name="connsiteX1951" fmla="*/ 6985324 w 10799257"/>
              <a:gd name="connsiteY1951" fmla="*/ 1537435 h 3098304"/>
              <a:gd name="connsiteX1952" fmla="*/ 7063061 w 10799257"/>
              <a:gd name="connsiteY1952" fmla="*/ 1615171 h 3098304"/>
              <a:gd name="connsiteX1953" fmla="*/ 6985324 w 10799257"/>
              <a:gd name="connsiteY1953" fmla="*/ 1692909 h 3098304"/>
              <a:gd name="connsiteX1954" fmla="*/ 6907587 w 10799257"/>
              <a:gd name="connsiteY1954" fmla="*/ 1615171 h 3098304"/>
              <a:gd name="connsiteX1955" fmla="*/ 6985324 w 10799257"/>
              <a:gd name="connsiteY1955" fmla="*/ 1537435 h 3098304"/>
              <a:gd name="connsiteX1956" fmla="*/ 6801807 w 10799257"/>
              <a:gd name="connsiteY1956" fmla="*/ 1537435 h 3098304"/>
              <a:gd name="connsiteX1957" fmla="*/ 6879544 w 10799257"/>
              <a:gd name="connsiteY1957" fmla="*/ 1615171 h 3098304"/>
              <a:gd name="connsiteX1958" fmla="*/ 6801807 w 10799257"/>
              <a:gd name="connsiteY1958" fmla="*/ 1692909 h 3098304"/>
              <a:gd name="connsiteX1959" fmla="*/ 6724070 w 10799257"/>
              <a:gd name="connsiteY1959" fmla="*/ 1615171 h 3098304"/>
              <a:gd name="connsiteX1960" fmla="*/ 6801807 w 10799257"/>
              <a:gd name="connsiteY1960" fmla="*/ 1537435 h 3098304"/>
              <a:gd name="connsiteX1961" fmla="*/ 6613585 w 10799257"/>
              <a:gd name="connsiteY1961" fmla="*/ 1537435 h 3098304"/>
              <a:gd name="connsiteX1962" fmla="*/ 6691322 w 10799257"/>
              <a:gd name="connsiteY1962" fmla="*/ 1615171 h 3098304"/>
              <a:gd name="connsiteX1963" fmla="*/ 6613585 w 10799257"/>
              <a:gd name="connsiteY1963" fmla="*/ 1692909 h 3098304"/>
              <a:gd name="connsiteX1964" fmla="*/ 6535848 w 10799257"/>
              <a:gd name="connsiteY1964" fmla="*/ 1615171 h 3098304"/>
              <a:gd name="connsiteX1965" fmla="*/ 6613585 w 10799257"/>
              <a:gd name="connsiteY1965" fmla="*/ 1537435 h 3098304"/>
              <a:gd name="connsiteX1966" fmla="*/ 6425364 w 10799257"/>
              <a:gd name="connsiteY1966" fmla="*/ 1537435 h 3098304"/>
              <a:gd name="connsiteX1967" fmla="*/ 6503101 w 10799257"/>
              <a:gd name="connsiteY1967" fmla="*/ 1615171 h 3098304"/>
              <a:gd name="connsiteX1968" fmla="*/ 6425364 w 10799257"/>
              <a:gd name="connsiteY1968" fmla="*/ 1692909 h 3098304"/>
              <a:gd name="connsiteX1969" fmla="*/ 6347627 w 10799257"/>
              <a:gd name="connsiteY1969" fmla="*/ 1615171 h 3098304"/>
              <a:gd name="connsiteX1970" fmla="*/ 6425364 w 10799257"/>
              <a:gd name="connsiteY1970" fmla="*/ 1537435 h 3098304"/>
              <a:gd name="connsiteX1971" fmla="*/ 6241848 w 10799257"/>
              <a:gd name="connsiteY1971" fmla="*/ 1537435 h 3098304"/>
              <a:gd name="connsiteX1972" fmla="*/ 6319585 w 10799257"/>
              <a:gd name="connsiteY1972" fmla="*/ 1615171 h 3098304"/>
              <a:gd name="connsiteX1973" fmla="*/ 6241848 w 10799257"/>
              <a:gd name="connsiteY1973" fmla="*/ 1692909 h 3098304"/>
              <a:gd name="connsiteX1974" fmla="*/ 6164111 w 10799257"/>
              <a:gd name="connsiteY1974" fmla="*/ 1615171 h 3098304"/>
              <a:gd name="connsiteX1975" fmla="*/ 6241848 w 10799257"/>
              <a:gd name="connsiteY1975" fmla="*/ 1537435 h 3098304"/>
              <a:gd name="connsiteX1976" fmla="*/ 5870110 w 10799257"/>
              <a:gd name="connsiteY1976" fmla="*/ 1537435 h 3098304"/>
              <a:gd name="connsiteX1977" fmla="*/ 5947847 w 10799257"/>
              <a:gd name="connsiteY1977" fmla="*/ 1615171 h 3098304"/>
              <a:gd name="connsiteX1978" fmla="*/ 5870110 w 10799257"/>
              <a:gd name="connsiteY1978" fmla="*/ 1692909 h 3098304"/>
              <a:gd name="connsiteX1979" fmla="*/ 5792373 w 10799257"/>
              <a:gd name="connsiteY1979" fmla="*/ 1615171 h 3098304"/>
              <a:gd name="connsiteX1980" fmla="*/ 5870110 w 10799257"/>
              <a:gd name="connsiteY1980" fmla="*/ 1537435 h 3098304"/>
              <a:gd name="connsiteX1981" fmla="*/ 5681940 w 10799257"/>
              <a:gd name="connsiteY1981" fmla="*/ 1537435 h 3098304"/>
              <a:gd name="connsiteX1982" fmla="*/ 5759626 w 10799257"/>
              <a:gd name="connsiteY1982" fmla="*/ 1615171 h 3098304"/>
              <a:gd name="connsiteX1983" fmla="*/ 5681940 w 10799257"/>
              <a:gd name="connsiteY1983" fmla="*/ 1692909 h 3098304"/>
              <a:gd name="connsiteX1984" fmla="*/ 5604176 w 10799257"/>
              <a:gd name="connsiteY1984" fmla="*/ 1615171 h 3098304"/>
              <a:gd name="connsiteX1985" fmla="*/ 5681940 w 10799257"/>
              <a:gd name="connsiteY1985" fmla="*/ 1537435 h 3098304"/>
              <a:gd name="connsiteX1986" fmla="*/ 5498376 w 10799257"/>
              <a:gd name="connsiteY1986" fmla="*/ 1537435 h 3098304"/>
              <a:gd name="connsiteX1987" fmla="*/ 5576126 w 10799257"/>
              <a:gd name="connsiteY1987" fmla="*/ 1615171 h 3098304"/>
              <a:gd name="connsiteX1988" fmla="*/ 5498376 w 10799257"/>
              <a:gd name="connsiteY1988" fmla="*/ 1692909 h 3098304"/>
              <a:gd name="connsiteX1989" fmla="*/ 5420640 w 10799257"/>
              <a:gd name="connsiteY1989" fmla="*/ 1615171 h 3098304"/>
              <a:gd name="connsiteX1990" fmla="*/ 5498376 w 10799257"/>
              <a:gd name="connsiteY1990" fmla="*/ 1537435 h 3098304"/>
              <a:gd name="connsiteX1991" fmla="*/ 3625627 w 10799257"/>
              <a:gd name="connsiteY1991" fmla="*/ 1537435 h 3098304"/>
              <a:gd name="connsiteX1992" fmla="*/ 3703372 w 10799257"/>
              <a:gd name="connsiteY1992" fmla="*/ 1615171 h 3098304"/>
              <a:gd name="connsiteX1993" fmla="*/ 3625627 w 10799257"/>
              <a:gd name="connsiteY1993" fmla="*/ 1692909 h 3098304"/>
              <a:gd name="connsiteX1994" fmla="*/ 3547901 w 10799257"/>
              <a:gd name="connsiteY1994" fmla="*/ 1615171 h 3098304"/>
              <a:gd name="connsiteX1995" fmla="*/ 3625627 w 10799257"/>
              <a:gd name="connsiteY1995" fmla="*/ 1537435 h 3098304"/>
              <a:gd name="connsiteX1996" fmla="*/ 2317572 w 10799257"/>
              <a:gd name="connsiteY1996" fmla="*/ 1537435 h 3098304"/>
              <a:gd name="connsiteX1997" fmla="*/ 2395313 w 10799257"/>
              <a:gd name="connsiteY1997" fmla="*/ 1615171 h 3098304"/>
              <a:gd name="connsiteX1998" fmla="*/ 2317572 w 10799257"/>
              <a:gd name="connsiteY1998" fmla="*/ 1692909 h 3098304"/>
              <a:gd name="connsiteX1999" fmla="*/ 2239845 w 10799257"/>
              <a:gd name="connsiteY1999" fmla="*/ 1615171 h 3098304"/>
              <a:gd name="connsiteX2000" fmla="*/ 2317572 w 10799257"/>
              <a:gd name="connsiteY2000" fmla="*/ 1537435 h 3098304"/>
              <a:gd name="connsiteX2001" fmla="*/ 1569475 w 10799257"/>
              <a:gd name="connsiteY2001" fmla="*/ 1537435 h 3098304"/>
              <a:gd name="connsiteX2002" fmla="*/ 1647232 w 10799257"/>
              <a:gd name="connsiteY2002" fmla="*/ 1615171 h 3098304"/>
              <a:gd name="connsiteX2003" fmla="*/ 1569475 w 10799257"/>
              <a:gd name="connsiteY2003" fmla="*/ 1692909 h 3098304"/>
              <a:gd name="connsiteX2004" fmla="*/ 1491752 w 10799257"/>
              <a:gd name="connsiteY2004" fmla="*/ 1615171 h 3098304"/>
              <a:gd name="connsiteX2005" fmla="*/ 1569475 w 10799257"/>
              <a:gd name="connsiteY2005" fmla="*/ 1537435 h 3098304"/>
              <a:gd name="connsiteX2006" fmla="*/ 1385938 w 10799257"/>
              <a:gd name="connsiteY2006" fmla="*/ 1537435 h 3098304"/>
              <a:gd name="connsiteX2007" fmla="*/ 1463700 w 10799257"/>
              <a:gd name="connsiteY2007" fmla="*/ 1615171 h 3098304"/>
              <a:gd name="connsiteX2008" fmla="*/ 1385938 w 10799257"/>
              <a:gd name="connsiteY2008" fmla="*/ 1692909 h 3098304"/>
              <a:gd name="connsiteX2009" fmla="*/ 1308177 w 10799257"/>
              <a:gd name="connsiteY2009" fmla="*/ 1615171 h 3098304"/>
              <a:gd name="connsiteX2010" fmla="*/ 1385938 w 10799257"/>
              <a:gd name="connsiteY2010" fmla="*/ 1537435 h 3098304"/>
              <a:gd name="connsiteX2011" fmla="*/ 1202397 w 10799257"/>
              <a:gd name="connsiteY2011" fmla="*/ 1537435 h 3098304"/>
              <a:gd name="connsiteX2012" fmla="*/ 1280126 w 10799257"/>
              <a:gd name="connsiteY2012" fmla="*/ 1615171 h 3098304"/>
              <a:gd name="connsiteX2013" fmla="*/ 1202397 w 10799257"/>
              <a:gd name="connsiteY2013" fmla="*/ 1692909 h 3098304"/>
              <a:gd name="connsiteX2014" fmla="*/ 1124687 w 10799257"/>
              <a:gd name="connsiteY2014" fmla="*/ 1615171 h 3098304"/>
              <a:gd name="connsiteX2015" fmla="*/ 1202397 w 10799257"/>
              <a:gd name="connsiteY2015" fmla="*/ 1537435 h 3098304"/>
              <a:gd name="connsiteX2016" fmla="*/ 1014150 w 10799257"/>
              <a:gd name="connsiteY2016" fmla="*/ 1537435 h 3098304"/>
              <a:gd name="connsiteX2017" fmla="*/ 1091922 w 10799257"/>
              <a:gd name="connsiteY2017" fmla="*/ 1615171 h 3098304"/>
              <a:gd name="connsiteX2018" fmla="*/ 1014150 w 10799257"/>
              <a:gd name="connsiteY2018" fmla="*/ 1692909 h 3098304"/>
              <a:gd name="connsiteX2019" fmla="*/ 936457 w 10799257"/>
              <a:gd name="connsiteY2019" fmla="*/ 1615171 h 3098304"/>
              <a:gd name="connsiteX2020" fmla="*/ 1014150 w 10799257"/>
              <a:gd name="connsiteY2020" fmla="*/ 1537435 h 3098304"/>
              <a:gd name="connsiteX2021" fmla="*/ 830653 w 10799257"/>
              <a:gd name="connsiteY2021" fmla="*/ 1537435 h 3098304"/>
              <a:gd name="connsiteX2022" fmla="*/ 908411 w 10799257"/>
              <a:gd name="connsiteY2022" fmla="*/ 1615171 h 3098304"/>
              <a:gd name="connsiteX2023" fmla="*/ 830653 w 10799257"/>
              <a:gd name="connsiteY2023" fmla="*/ 1692909 h 3098304"/>
              <a:gd name="connsiteX2024" fmla="*/ 752908 w 10799257"/>
              <a:gd name="connsiteY2024" fmla="*/ 1615171 h 3098304"/>
              <a:gd name="connsiteX2025" fmla="*/ 830653 w 10799257"/>
              <a:gd name="connsiteY2025" fmla="*/ 1537435 h 3098304"/>
              <a:gd name="connsiteX2026" fmla="*/ 642418 w 10799257"/>
              <a:gd name="connsiteY2026" fmla="*/ 1537435 h 3098304"/>
              <a:gd name="connsiteX2027" fmla="*/ 720160 w 10799257"/>
              <a:gd name="connsiteY2027" fmla="*/ 1615171 h 3098304"/>
              <a:gd name="connsiteX2028" fmla="*/ 642418 w 10799257"/>
              <a:gd name="connsiteY2028" fmla="*/ 1692909 h 3098304"/>
              <a:gd name="connsiteX2029" fmla="*/ 564685 w 10799257"/>
              <a:gd name="connsiteY2029" fmla="*/ 1615171 h 3098304"/>
              <a:gd name="connsiteX2030" fmla="*/ 642418 w 10799257"/>
              <a:gd name="connsiteY2030" fmla="*/ 1537435 h 3098304"/>
              <a:gd name="connsiteX2031" fmla="*/ 9720532 w 10799257"/>
              <a:gd name="connsiteY2031" fmla="*/ 1474796 h 3098304"/>
              <a:gd name="connsiteX2032" fmla="*/ 9772393 w 10799257"/>
              <a:gd name="connsiteY2032" fmla="*/ 1515283 h 3098304"/>
              <a:gd name="connsiteX2033" fmla="*/ 9759560 w 10799257"/>
              <a:gd name="connsiteY2033" fmla="*/ 1512692 h 3098304"/>
              <a:gd name="connsiteX2034" fmla="*/ 9734851 w 10799257"/>
              <a:gd name="connsiteY2034" fmla="*/ 1496033 h 3098304"/>
              <a:gd name="connsiteX2035" fmla="*/ 700606 w 10799257"/>
              <a:gd name="connsiteY2035" fmla="*/ 1390848 h 3098304"/>
              <a:gd name="connsiteX2036" fmla="*/ 714062 w 10799257"/>
              <a:gd name="connsiteY2036" fmla="*/ 1410805 h 3098304"/>
              <a:gd name="connsiteX2037" fmla="*/ 720171 w 10799257"/>
              <a:gd name="connsiteY2037" fmla="*/ 1441063 h 3098304"/>
              <a:gd name="connsiteX2038" fmla="*/ 642428 w 10799257"/>
              <a:gd name="connsiteY2038" fmla="*/ 1518801 h 3098304"/>
              <a:gd name="connsiteX2039" fmla="*/ 587465 w 10799257"/>
              <a:gd name="connsiteY2039" fmla="*/ 1496032 h 3098304"/>
              <a:gd name="connsiteX2040" fmla="*/ 576923 w 10799257"/>
              <a:gd name="connsiteY2040" fmla="*/ 1480396 h 3098304"/>
              <a:gd name="connsiteX2041" fmla="*/ 622703 w 10799257"/>
              <a:gd name="connsiteY2041" fmla="*/ 1444657 h 3098304"/>
              <a:gd name="connsiteX2042" fmla="*/ 9574517 w 10799257"/>
              <a:gd name="connsiteY2042" fmla="*/ 1370468 h 3098304"/>
              <a:gd name="connsiteX2043" fmla="*/ 9681926 w 10799257"/>
              <a:gd name="connsiteY2043" fmla="*/ 1444657 h 3098304"/>
              <a:gd name="connsiteX2044" fmla="*/ 9683127 w 10799257"/>
              <a:gd name="connsiteY2044" fmla="*/ 1445595 h 3098304"/>
              <a:gd name="connsiteX2045" fmla="*/ 9677932 w 10799257"/>
              <a:gd name="connsiteY2045" fmla="*/ 1471324 h 3098304"/>
              <a:gd name="connsiteX2046" fmla="*/ 9606304 w 10799257"/>
              <a:gd name="connsiteY2046" fmla="*/ 1518801 h 3098304"/>
              <a:gd name="connsiteX2047" fmla="*/ 9528568 w 10799257"/>
              <a:gd name="connsiteY2047" fmla="*/ 1441065 h 3098304"/>
              <a:gd name="connsiteX2048" fmla="*/ 9551337 w 10799257"/>
              <a:gd name="connsiteY2048" fmla="*/ 1386097 h 3098304"/>
              <a:gd name="connsiteX2049" fmla="*/ 9413377 w 10799257"/>
              <a:gd name="connsiteY2049" fmla="*/ 1363328 h 3098304"/>
              <a:gd name="connsiteX2050" fmla="*/ 9491114 w 10799257"/>
              <a:gd name="connsiteY2050" fmla="*/ 1441063 h 3098304"/>
              <a:gd name="connsiteX2051" fmla="*/ 9413377 w 10799257"/>
              <a:gd name="connsiteY2051" fmla="*/ 1518801 h 3098304"/>
              <a:gd name="connsiteX2052" fmla="*/ 9335640 w 10799257"/>
              <a:gd name="connsiteY2052" fmla="*/ 1441063 h 3098304"/>
              <a:gd name="connsiteX2053" fmla="*/ 9413377 w 10799257"/>
              <a:gd name="connsiteY2053" fmla="*/ 1363328 h 3098304"/>
              <a:gd name="connsiteX2054" fmla="*/ 9234566 w 10799257"/>
              <a:gd name="connsiteY2054" fmla="*/ 1363328 h 3098304"/>
              <a:gd name="connsiteX2055" fmla="*/ 9312303 w 10799257"/>
              <a:gd name="connsiteY2055" fmla="*/ 1441065 h 3098304"/>
              <a:gd name="connsiteX2056" fmla="*/ 9234566 w 10799257"/>
              <a:gd name="connsiteY2056" fmla="*/ 1518801 h 3098304"/>
              <a:gd name="connsiteX2057" fmla="*/ 9156829 w 10799257"/>
              <a:gd name="connsiteY2057" fmla="*/ 1441065 h 3098304"/>
              <a:gd name="connsiteX2058" fmla="*/ 9234566 w 10799257"/>
              <a:gd name="connsiteY2058" fmla="*/ 1363328 h 3098304"/>
              <a:gd name="connsiteX2059" fmla="*/ 9036935 w 10799257"/>
              <a:gd name="connsiteY2059" fmla="*/ 1363328 h 3098304"/>
              <a:gd name="connsiteX2060" fmla="*/ 9114672 w 10799257"/>
              <a:gd name="connsiteY2060" fmla="*/ 1441065 h 3098304"/>
              <a:gd name="connsiteX2061" fmla="*/ 9036935 w 10799257"/>
              <a:gd name="connsiteY2061" fmla="*/ 1518801 h 3098304"/>
              <a:gd name="connsiteX2062" fmla="*/ 8959198 w 10799257"/>
              <a:gd name="connsiteY2062" fmla="*/ 1441065 h 3098304"/>
              <a:gd name="connsiteX2063" fmla="*/ 9036935 w 10799257"/>
              <a:gd name="connsiteY2063" fmla="*/ 1363328 h 3098304"/>
              <a:gd name="connsiteX2064" fmla="*/ 8853418 w 10799257"/>
              <a:gd name="connsiteY2064" fmla="*/ 1363328 h 3098304"/>
              <a:gd name="connsiteX2065" fmla="*/ 8931155 w 10799257"/>
              <a:gd name="connsiteY2065" fmla="*/ 1441065 h 3098304"/>
              <a:gd name="connsiteX2066" fmla="*/ 8853418 w 10799257"/>
              <a:gd name="connsiteY2066" fmla="*/ 1518801 h 3098304"/>
              <a:gd name="connsiteX2067" fmla="*/ 8775681 w 10799257"/>
              <a:gd name="connsiteY2067" fmla="*/ 1441065 h 3098304"/>
              <a:gd name="connsiteX2068" fmla="*/ 8853418 w 10799257"/>
              <a:gd name="connsiteY2068" fmla="*/ 1363328 h 3098304"/>
              <a:gd name="connsiteX2069" fmla="*/ 8669904 w 10799257"/>
              <a:gd name="connsiteY2069" fmla="*/ 1363328 h 3098304"/>
              <a:gd name="connsiteX2070" fmla="*/ 8747641 w 10799257"/>
              <a:gd name="connsiteY2070" fmla="*/ 1441063 h 3098304"/>
              <a:gd name="connsiteX2071" fmla="*/ 8669904 w 10799257"/>
              <a:gd name="connsiteY2071" fmla="*/ 1518801 h 3098304"/>
              <a:gd name="connsiteX2072" fmla="*/ 8592167 w 10799257"/>
              <a:gd name="connsiteY2072" fmla="*/ 1441063 h 3098304"/>
              <a:gd name="connsiteX2073" fmla="*/ 8669904 w 10799257"/>
              <a:gd name="connsiteY2073" fmla="*/ 1363328 h 3098304"/>
              <a:gd name="connsiteX2074" fmla="*/ 8481681 w 10799257"/>
              <a:gd name="connsiteY2074" fmla="*/ 1363328 h 3098304"/>
              <a:gd name="connsiteX2075" fmla="*/ 8559418 w 10799257"/>
              <a:gd name="connsiteY2075" fmla="*/ 1441065 h 3098304"/>
              <a:gd name="connsiteX2076" fmla="*/ 8481681 w 10799257"/>
              <a:gd name="connsiteY2076" fmla="*/ 1518801 h 3098304"/>
              <a:gd name="connsiteX2077" fmla="*/ 8403944 w 10799257"/>
              <a:gd name="connsiteY2077" fmla="*/ 1441065 h 3098304"/>
              <a:gd name="connsiteX2078" fmla="*/ 8481681 w 10799257"/>
              <a:gd name="connsiteY2078" fmla="*/ 1363328 h 3098304"/>
              <a:gd name="connsiteX2079" fmla="*/ 8298166 w 10799257"/>
              <a:gd name="connsiteY2079" fmla="*/ 1363328 h 3098304"/>
              <a:gd name="connsiteX2080" fmla="*/ 8375903 w 10799257"/>
              <a:gd name="connsiteY2080" fmla="*/ 1441065 h 3098304"/>
              <a:gd name="connsiteX2081" fmla="*/ 8298166 w 10799257"/>
              <a:gd name="connsiteY2081" fmla="*/ 1518801 h 3098304"/>
              <a:gd name="connsiteX2082" fmla="*/ 8220429 w 10799257"/>
              <a:gd name="connsiteY2082" fmla="*/ 1441065 h 3098304"/>
              <a:gd name="connsiteX2083" fmla="*/ 8298166 w 10799257"/>
              <a:gd name="connsiteY2083" fmla="*/ 1363328 h 3098304"/>
              <a:gd name="connsiteX2084" fmla="*/ 8109946 w 10799257"/>
              <a:gd name="connsiteY2084" fmla="*/ 1363328 h 3098304"/>
              <a:gd name="connsiteX2085" fmla="*/ 8187683 w 10799257"/>
              <a:gd name="connsiteY2085" fmla="*/ 1441065 h 3098304"/>
              <a:gd name="connsiteX2086" fmla="*/ 8109946 w 10799257"/>
              <a:gd name="connsiteY2086" fmla="*/ 1518801 h 3098304"/>
              <a:gd name="connsiteX2087" fmla="*/ 8032209 w 10799257"/>
              <a:gd name="connsiteY2087" fmla="*/ 1441065 h 3098304"/>
              <a:gd name="connsiteX2088" fmla="*/ 8109946 w 10799257"/>
              <a:gd name="connsiteY2088" fmla="*/ 1363328 h 3098304"/>
              <a:gd name="connsiteX2089" fmla="*/ 7926429 w 10799257"/>
              <a:gd name="connsiteY2089" fmla="*/ 1363328 h 3098304"/>
              <a:gd name="connsiteX2090" fmla="*/ 8004166 w 10799257"/>
              <a:gd name="connsiteY2090" fmla="*/ 1441063 h 3098304"/>
              <a:gd name="connsiteX2091" fmla="*/ 7926429 w 10799257"/>
              <a:gd name="connsiteY2091" fmla="*/ 1518801 h 3098304"/>
              <a:gd name="connsiteX2092" fmla="*/ 7848692 w 10799257"/>
              <a:gd name="connsiteY2092" fmla="*/ 1441063 h 3098304"/>
              <a:gd name="connsiteX2093" fmla="*/ 7926429 w 10799257"/>
              <a:gd name="connsiteY2093" fmla="*/ 1363328 h 3098304"/>
              <a:gd name="connsiteX2094" fmla="*/ 7738208 w 10799257"/>
              <a:gd name="connsiteY2094" fmla="*/ 1363328 h 3098304"/>
              <a:gd name="connsiteX2095" fmla="*/ 7815945 w 10799257"/>
              <a:gd name="connsiteY2095" fmla="*/ 1441063 h 3098304"/>
              <a:gd name="connsiteX2096" fmla="*/ 7738208 w 10799257"/>
              <a:gd name="connsiteY2096" fmla="*/ 1518801 h 3098304"/>
              <a:gd name="connsiteX2097" fmla="*/ 7660471 w 10799257"/>
              <a:gd name="connsiteY2097" fmla="*/ 1441063 h 3098304"/>
              <a:gd name="connsiteX2098" fmla="*/ 7738208 w 10799257"/>
              <a:gd name="connsiteY2098" fmla="*/ 1363328 h 3098304"/>
              <a:gd name="connsiteX2099" fmla="*/ 7554691 w 10799257"/>
              <a:gd name="connsiteY2099" fmla="*/ 1363328 h 3098304"/>
              <a:gd name="connsiteX2100" fmla="*/ 7632428 w 10799257"/>
              <a:gd name="connsiteY2100" fmla="*/ 1441065 h 3098304"/>
              <a:gd name="connsiteX2101" fmla="*/ 7554691 w 10799257"/>
              <a:gd name="connsiteY2101" fmla="*/ 1518801 h 3098304"/>
              <a:gd name="connsiteX2102" fmla="*/ 7476954 w 10799257"/>
              <a:gd name="connsiteY2102" fmla="*/ 1441065 h 3098304"/>
              <a:gd name="connsiteX2103" fmla="*/ 7554691 w 10799257"/>
              <a:gd name="connsiteY2103" fmla="*/ 1363328 h 3098304"/>
              <a:gd name="connsiteX2104" fmla="*/ 7366470 w 10799257"/>
              <a:gd name="connsiteY2104" fmla="*/ 1363328 h 3098304"/>
              <a:gd name="connsiteX2105" fmla="*/ 7444207 w 10799257"/>
              <a:gd name="connsiteY2105" fmla="*/ 1441063 h 3098304"/>
              <a:gd name="connsiteX2106" fmla="*/ 7366470 w 10799257"/>
              <a:gd name="connsiteY2106" fmla="*/ 1518801 h 3098304"/>
              <a:gd name="connsiteX2107" fmla="*/ 7288733 w 10799257"/>
              <a:gd name="connsiteY2107" fmla="*/ 1441063 h 3098304"/>
              <a:gd name="connsiteX2108" fmla="*/ 7366470 w 10799257"/>
              <a:gd name="connsiteY2108" fmla="*/ 1363328 h 3098304"/>
              <a:gd name="connsiteX2109" fmla="*/ 7178248 w 10799257"/>
              <a:gd name="connsiteY2109" fmla="*/ 1363328 h 3098304"/>
              <a:gd name="connsiteX2110" fmla="*/ 7255985 w 10799257"/>
              <a:gd name="connsiteY2110" fmla="*/ 1441063 h 3098304"/>
              <a:gd name="connsiteX2111" fmla="*/ 7178248 w 10799257"/>
              <a:gd name="connsiteY2111" fmla="*/ 1518801 h 3098304"/>
              <a:gd name="connsiteX2112" fmla="*/ 7100511 w 10799257"/>
              <a:gd name="connsiteY2112" fmla="*/ 1441063 h 3098304"/>
              <a:gd name="connsiteX2113" fmla="*/ 7178248 w 10799257"/>
              <a:gd name="connsiteY2113" fmla="*/ 1363328 h 3098304"/>
              <a:gd name="connsiteX2114" fmla="*/ 6985324 w 10799257"/>
              <a:gd name="connsiteY2114" fmla="*/ 1363328 h 3098304"/>
              <a:gd name="connsiteX2115" fmla="*/ 7063061 w 10799257"/>
              <a:gd name="connsiteY2115" fmla="*/ 1441063 h 3098304"/>
              <a:gd name="connsiteX2116" fmla="*/ 6985324 w 10799257"/>
              <a:gd name="connsiteY2116" fmla="*/ 1518801 h 3098304"/>
              <a:gd name="connsiteX2117" fmla="*/ 6907587 w 10799257"/>
              <a:gd name="connsiteY2117" fmla="*/ 1441063 h 3098304"/>
              <a:gd name="connsiteX2118" fmla="*/ 6985324 w 10799257"/>
              <a:gd name="connsiteY2118" fmla="*/ 1363328 h 3098304"/>
              <a:gd name="connsiteX2119" fmla="*/ 6801806 w 10799257"/>
              <a:gd name="connsiteY2119" fmla="*/ 1363328 h 3098304"/>
              <a:gd name="connsiteX2120" fmla="*/ 6879543 w 10799257"/>
              <a:gd name="connsiteY2120" fmla="*/ 1441065 h 3098304"/>
              <a:gd name="connsiteX2121" fmla="*/ 6801806 w 10799257"/>
              <a:gd name="connsiteY2121" fmla="*/ 1518801 h 3098304"/>
              <a:gd name="connsiteX2122" fmla="*/ 6724069 w 10799257"/>
              <a:gd name="connsiteY2122" fmla="*/ 1441065 h 3098304"/>
              <a:gd name="connsiteX2123" fmla="*/ 6801806 w 10799257"/>
              <a:gd name="connsiteY2123" fmla="*/ 1363328 h 3098304"/>
              <a:gd name="connsiteX2124" fmla="*/ 6613585 w 10799257"/>
              <a:gd name="connsiteY2124" fmla="*/ 1363328 h 3098304"/>
              <a:gd name="connsiteX2125" fmla="*/ 6691322 w 10799257"/>
              <a:gd name="connsiteY2125" fmla="*/ 1441063 h 3098304"/>
              <a:gd name="connsiteX2126" fmla="*/ 6613585 w 10799257"/>
              <a:gd name="connsiteY2126" fmla="*/ 1518801 h 3098304"/>
              <a:gd name="connsiteX2127" fmla="*/ 6535848 w 10799257"/>
              <a:gd name="connsiteY2127" fmla="*/ 1441063 h 3098304"/>
              <a:gd name="connsiteX2128" fmla="*/ 6613585 w 10799257"/>
              <a:gd name="connsiteY2128" fmla="*/ 1363328 h 3098304"/>
              <a:gd name="connsiteX2129" fmla="*/ 6425364 w 10799257"/>
              <a:gd name="connsiteY2129" fmla="*/ 1363328 h 3098304"/>
              <a:gd name="connsiteX2130" fmla="*/ 6503101 w 10799257"/>
              <a:gd name="connsiteY2130" fmla="*/ 1441065 h 3098304"/>
              <a:gd name="connsiteX2131" fmla="*/ 6425364 w 10799257"/>
              <a:gd name="connsiteY2131" fmla="*/ 1518801 h 3098304"/>
              <a:gd name="connsiteX2132" fmla="*/ 6347627 w 10799257"/>
              <a:gd name="connsiteY2132" fmla="*/ 1441065 h 3098304"/>
              <a:gd name="connsiteX2133" fmla="*/ 6425364 w 10799257"/>
              <a:gd name="connsiteY2133" fmla="*/ 1363328 h 3098304"/>
              <a:gd name="connsiteX2134" fmla="*/ 6241848 w 10799257"/>
              <a:gd name="connsiteY2134" fmla="*/ 1363328 h 3098304"/>
              <a:gd name="connsiteX2135" fmla="*/ 6319585 w 10799257"/>
              <a:gd name="connsiteY2135" fmla="*/ 1441065 h 3098304"/>
              <a:gd name="connsiteX2136" fmla="*/ 6241848 w 10799257"/>
              <a:gd name="connsiteY2136" fmla="*/ 1518801 h 3098304"/>
              <a:gd name="connsiteX2137" fmla="*/ 6164111 w 10799257"/>
              <a:gd name="connsiteY2137" fmla="*/ 1441065 h 3098304"/>
              <a:gd name="connsiteX2138" fmla="*/ 6241848 w 10799257"/>
              <a:gd name="connsiteY2138" fmla="*/ 1363328 h 3098304"/>
              <a:gd name="connsiteX2139" fmla="*/ 6053629 w 10799257"/>
              <a:gd name="connsiteY2139" fmla="*/ 1363328 h 3098304"/>
              <a:gd name="connsiteX2140" fmla="*/ 6131366 w 10799257"/>
              <a:gd name="connsiteY2140" fmla="*/ 1441063 h 3098304"/>
              <a:gd name="connsiteX2141" fmla="*/ 6053629 w 10799257"/>
              <a:gd name="connsiteY2141" fmla="*/ 1518801 h 3098304"/>
              <a:gd name="connsiteX2142" fmla="*/ 5975892 w 10799257"/>
              <a:gd name="connsiteY2142" fmla="*/ 1441063 h 3098304"/>
              <a:gd name="connsiteX2143" fmla="*/ 6053629 w 10799257"/>
              <a:gd name="connsiteY2143" fmla="*/ 1363328 h 3098304"/>
              <a:gd name="connsiteX2144" fmla="*/ 5870110 w 10799257"/>
              <a:gd name="connsiteY2144" fmla="*/ 1363328 h 3098304"/>
              <a:gd name="connsiteX2145" fmla="*/ 5947847 w 10799257"/>
              <a:gd name="connsiteY2145" fmla="*/ 1441065 h 3098304"/>
              <a:gd name="connsiteX2146" fmla="*/ 5870110 w 10799257"/>
              <a:gd name="connsiteY2146" fmla="*/ 1518801 h 3098304"/>
              <a:gd name="connsiteX2147" fmla="*/ 5792373 w 10799257"/>
              <a:gd name="connsiteY2147" fmla="*/ 1441065 h 3098304"/>
              <a:gd name="connsiteX2148" fmla="*/ 5870110 w 10799257"/>
              <a:gd name="connsiteY2148" fmla="*/ 1363328 h 3098304"/>
              <a:gd name="connsiteX2149" fmla="*/ 5681942 w 10799257"/>
              <a:gd name="connsiteY2149" fmla="*/ 1363328 h 3098304"/>
              <a:gd name="connsiteX2150" fmla="*/ 5759628 w 10799257"/>
              <a:gd name="connsiteY2150" fmla="*/ 1441065 h 3098304"/>
              <a:gd name="connsiteX2151" fmla="*/ 5681942 w 10799257"/>
              <a:gd name="connsiteY2151" fmla="*/ 1518801 h 3098304"/>
              <a:gd name="connsiteX2152" fmla="*/ 5604176 w 10799257"/>
              <a:gd name="connsiteY2152" fmla="*/ 1441065 h 3098304"/>
              <a:gd name="connsiteX2153" fmla="*/ 5681942 w 10799257"/>
              <a:gd name="connsiteY2153" fmla="*/ 1363328 h 3098304"/>
              <a:gd name="connsiteX2154" fmla="*/ 4745533 w 10799257"/>
              <a:gd name="connsiteY2154" fmla="*/ 1363328 h 3098304"/>
              <a:gd name="connsiteX2155" fmla="*/ 4823263 w 10799257"/>
              <a:gd name="connsiteY2155" fmla="*/ 1441063 h 3098304"/>
              <a:gd name="connsiteX2156" fmla="*/ 4745533 w 10799257"/>
              <a:gd name="connsiteY2156" fmla="*/ 1518801 h 3098304"/>
              <a:gd name="connsiteX2157" fmla="*/ 4667783 w 10799257"/>
              <a:gd name="connsiteY2157" fmla="*/ 1441063 h 3098304"/>
              <a:gd name="connsiteX2158" fmla="*/ 4745533 w 10799257"/>
              <a:gd name="connsiteY2158" fmla="*/ 1363328 h 3098304"/>
              <a:gd name="connsiteX2159" fmla="*/ 4557296 w 10799257"/>
              <a:gd name="connsiteY2159" fmla="*/ 1363328 h 3098304"/>
              <a:gd name="connsiteX2160" fmla="*/ 4635044 w 10799257"/>
              <a:gd name="connsiteY2160" fmla="*/ 1441065 h 3098304"/>
              <a:gd name="connsiteX2161" fmla="*/ 4557296 w 10799257"/>
              <a:gd name="connsiteY2161" fmla="*/ 1518801 h 3098304"/>
              <a:gd name="connsiteX2162" fmla="*/ 4479562 w 10799257"/>
              <a:gd name="connsiteY2162" fmla="*/ 1441065 h 3098304"/>
              <a:gd name="connsiteX2163" fmla="*/ 4557296 w 10799257"/>
              <a:gd name="connsiteY2163" fmla="*/ 1363328 h 3098304"/>
              <a:gd name="connsiteX2164" fmla="*/ 4373781 w 10799257"/>
              <a:gd name="connsiteY2164" fmla="*/ 1363328 h 3098304"/>
              <a:gd name="connsiteX2165" fmla="*/ 4451515 w 10799257"/>
              <a:gd name="connsiteY2165" fmla="*/ 1441065 h 3098304"/>
              <a:gd name="connsiteX2166" fmla="*/ 4373781 w 10799257"/>
              <a:gd name="connsiteY2166" fmla="*/ 1518801 h 3098304"/>
              <a:gd name="connsiteX2167" fmla="*/ 4296053 w 10799257"/>
              <a:gd name="connsiteY2167" fmla="*/ 1441065 h 3098304"/>
              <a:gd name="connsiteX2168" fmla="*/ 4373781 w 10799257"/>
              <a:gd name="connsiteY2168" fmla="*/ 1363328 h 3098304"/>
              <a:gd name="connsiteX2169" fmla="*/ 3625629 w 10799257"/>
              <a:gd name="connsiteY2169" fmla="*/ 1363328 h 3098304"/>
              <a:gd name="connsiteX2170" fmla="*/ 3703372 w 10799257"/>
              <a:gd name="connsiteY2170" fmla="*/ 1441063 h 3098304"/>
              <a:gd name="connsiteX2171" fmla="*/ 3625629 w 10799257"/>
              <a:gd name="connsiteY2171" fmla="*/ 1518801 h 3098304"/>
              <a:gd name="connsiteX2172" fmla="*/ 3547906 w 10799257"/>
              <a:gd name="connsiteY2172" fmla="*/ 1441063 h 3098304"/>
              <a:gd name="connsiteX2173" fmla="*/ 3625629 w 10799257"/>
              <a:gd name="connsiteY2173" fmla="*/ 1363328 h 3098304"/>
              <a:gd name="connsiteX2174" fmla="*/ 3442093 w 10799257"/>
              <a:gd name="connsiteY2174" fmla="*/ 1363328 h 3098304"/>
              <a:gd name="connsiteX2175" fmla="*/ 3519851 w 10799257"/>
              <a:gd name="connsiteY2175" fmla="*/ 1441065 h 3098304"/>
              <a:gd name="connsiteX2176" fmla="*/ 3442093 w 10799257"/>
              <a:gd name="connsiteY2176" fmla="*/ 1518801 h 3098304"/>
              <a:gd name="connsiteX2177" fmla="*/ 3364502 w 10799257"/>
              <a:gd name="connsiteY2177" fmla="*/ 1441065 h 3098304"/>
              <a:gd name="connsiteX2178" fmla="*/ 3442093 w 10799257"/>
              <a:gd name="connsiteY2178" fmla="*/ 1363328 h 3098304"/>
              <a:gd name="connsiteX2179" fmla="*/ 2689371 w 10799257"/>
              <a:gd name="connsiteY2179" fmla="*/ 1363328 h 3098304"/>
              <a:gd name="connsiteX2180" fmla="*/ 2767077 w 10799257"/>
              <a:gd name="connsiteY2180" fmla="*/ 1441063 h 3098304"/>
              <a:gd name="connsiteX2181" fmla="*/ 2689371 w 10799257"/>
              <a:gd name="connsiteY2181" fmla="*/ 1518801 h 3098304"/>
              <a:gd name="connsiteX2182" fmla="*/ 2611635 w 10799257"/>
              <a:gd name="connsiteY2182" fmla="*/ 1441063 h 3098304"/>
              <a:gd name="connsiteX2183" fmla="*/ 2689371 w 10799257"/>
              <a:gd name="connsiteY2183" fmla="*/ 1363328 h 3098304"/>
              <a:gd name="connsiteX2184" fmla="*/ 2510551 w 10799257"/>
              <a:gd name="connsiteY2184" fmla="*/ 1363328 h 3098304"/>
              <a:gd name="connsiteX2185" fmla="*/ 2588296 w 10799257"/>
              <a:gd name="connsiteY2185" fmla="*/ 1441065 h 3098304"/>
              <a:gd name="connsiteX2186" fmla="*/ 2510551 w 10799257"/>
              <a:gd name="connsiteY2186" fmla="*/ 1518801 h 3098304"/>
              <a:gd name="connsiteX2187" fmla="*/ 2432787 w 10799257"/>
              <a:gd name="connsiteY2187" fmla="*/ 1441065 h 3098304"/>
              <a:gd name="connsiteX2188" fmla="*/ 2510551 w 10799257"/>
              <a:gd name="connsiteY2188" fmla="*/ 1363328 h 3098304"/>
              <a:gd name="connsiteX2189" fmla="*/ 1941203 w 10799257"/>
              <a:gd name="connsiteY2189" fmla="*/ 1363328 h 3098304"/>
              <a:gd name="connsiteX2190" fmla="*/ 2018925 w 10799257"/>
              <a:gd name="connsiteY2190" fmla="*/ 1441063 h 3098304"/>
              <a:gd name="connsiteX2191" fmla="*/ 1941203 w 10799257"/>
              <a:gd name="connsiteY2191" fmla="*/ 1518801 h 3098304"/>
              <a:gd name="connsiteX2192" fmla="*/ 1863480 w 10799257"/>
              <a:gd name="connsiteY2192" fmla="*/ 1441063 h 3098304"/>
              <a:gd name="connsiteX2193" fmla="*/ 1941203 w 10799257"/>
              <a:gd name="connsiteY2193" fmla="*/ 1363328 h 3098304"/>
              <a:gd name="connsiteX2194" fmla="*/ 1757713 w 10799257"/>
              <a:gd name="connsiteY2194" fmla="*/ 1363328 h 3098304"/>
              <a:gd name="connsiteX2195" fmla="*/ 1835442 w 10799257"/>
              <a:gd name="connsiteY2195" fmla="*/ 1441065 h 3098304"/>
              <a:gd name="connsiteX2196" fmla="*/ 1757713 w 10799257"/>
              <a:gd name="connsiteY2196" fmla="*/ 1518801 h 3098304"/>
              <a:gd name="connsiteX2197" fmla="*/ 1679986 w 10799257"/>
              <a:gd name="connsiteY2197" fmla="*/ 1441065 h 3098304"/>
              <a:gd name="connsiteX2198" fmla="*/ 1757713 w 10799257"/>
              <a:gd name="connsiteY2198" fmla="*/ 1363328 h 3098304"/>
              <a:gd name="connsiteX2199" fmla="*/ 1569475 w 10799257"/>
              <a:gd name="connsiteY2199" fmla="*/ 1363328 h 3098304"/>
              <a:gd name="connsiteX2200" fmla="*/ 1647245 w 10799257"/>
              <a:gd name="connsiteY2200" fmla="*/ 1441063 h 3098304"/>
              <a:gd name="connsiteX2201" fmla="*/ 1569475 w 10799257"/>
              <a:gd name="connsiteY2201" fmla="*/ 1518801 h 3098304"/>
              <a:gd name="connsiteX2202" fmla="*/ 1491765 w 10799257"/>
              <a:gd name="connsiteY2202" fmla="*/ 1441063 h 3098304"/>
              <a:gd name="connsiteX2203" fmla="*/ 1569475 w 10799257"/>
              <a:gd name="connsiteY2203" fmla="*/ 1363328 h 3098304"/>
              <a:gd name="connsiteX2204" fmla="*/ 1385952 w 10799257"/>
              <a:gd name="connsiteY2204" fmla="*/ 1363328 h 3098304"/>
              <a:gd name="connsiteX2205" fmla="*/ 1463714 w 10799257"/>
              <a:gd name="connsiteY2205" fmla="*/ 1441063 h 3098304"/>
              <a:gd name="connsiteX2206" fmla="*/ 1385952 w 10799257"/>
              <a:gd name="connsiteY2206" fmla="*/ 1518801 h 3098304"/>
              <a:gd name="connsiteX2207" fmla="*/ 1308193 w 10799257"/>
              <a:gd name="connsiteY2207" fmla="*/ 1441063 h 3098304"/>
              <a:gd name="connsiteX2208" fmla="*/ 1385952 w 10799257"/>
              <a:gd name="connsiteY2208" fmla="*/ 1363328 h 3098304"/>
              <a:gd name="connsiteX2209" fmla="*/ 1202404 w 10799257"/>
              <a:gd name="connsiteY2209" fmla="*/ 1363328 h 3098304"/>
              <a:gd name="connsiteX2210" fmla="*/ 1280142 w 10799257"/>
              <a:gd name="connsiteY2210" fmla="*/ 1441063 h 3098304"/>
              <a:gd name="connsiteX2211" fmla="*/ 1202404 w 10799257"/>
              <a:gd name="connsiteY2211" fmla="*/ 1518801 h 3098304"/>
              <a:gd name="connsiteX2212" fmla="*/ 1124704 w 10799257"/>
              <a:gd name="connsiteY2212" fmla="*/ 1441063 h 3098304"/>
              <a:gd name="connsiteX2213" fmla="*/ 1202404 w 10799257"/>
              <a:gd name="connsiteY2213" fmla="*/ 1363328 h 3098304"/>
              <a:gd name="connsiteX2214" fmla="*/ 1014166 w 10799257"/>
              <a:gd name="connsiteY2214" fmla="*/ 1363328 h 3098304"/>
              <a:gd name="connsiteX2215" fmla="*/ 1091934 w 10799257"/>
              <a:gd name="connsiteY2215" fmla="*/ 1441063 h 3098304"/>
              <a:gd name="connsiteX2216" fmla="*/ 1014166 w 10799257"/>
              <a:gd name="connsiteY2216" fmla="*/ 1518801 h 3098304"/>
              <a:gd name="connsiteX2217" fmla="*/ 936469 w 10799257"/>
              <a:gd name="connsiteY2217" fmla="*/ 1441063 h 3098304"/>
              <a:gd name="connsiteX2218" fmla="*/ 1014166 w 10799257"/>
              <a:gd name="connsiteY2218" fmla="*/ 1363328 h 3098304"/>
              <a:gd name="connsiteX2219" fmla="*/ 830663 w 10799257"/>
              <a:gd name="connsiteY2219" fmla="*/ 1363328 h 3098304"/>
              <a:gd name="connsiteX2220" fmla="*/ 908428 w 10799257"/>
              <a:gd name="connsiteY2220" fmla="*/ 1441063 h 3098304"/>
              <a:gd name="connsiteX2221" fmla="*/ 830663 w 10799257"/>
              <a:gd name="connsiteY2221" fmla="*/ 1518801 h 3098304"/>
              <a:gd name="connsiteX2222" fmla="*/ 752920 w 10799257"/>
              <a:gd name="connsiteY2222" fmla="*/ 1441063 h 3098304"/>
              <a:gd name="connsiteX2223" fmla="*/ 830663 w 10799257"/>
              <a:gd name="connsiteY2223" fmla="*/ 1363328 h 3098304"/>
              <a:gd name="connsiteX2224" fmla="*/ 904116 w 10799257"/>
              <a:gd name="connsiteY2224" fmla="*/ 1250280 h 3098304"/>
              <a:gd name="connsiteX2225" fmla="*/ 908437 w 10799257"/>
              <a:gd name="connsiteY2225" fmla="*/ 1271666 h 3098304"/>
              <a:gd name="connsiteX2226" fmla="*/ 830675 w 10799257"/>
              <a:gd name="connsiteY2226" fmla="*/ 1349403 h 3098304"/>
              <a:gd name="connsiteX2227" fmla="*/ 800411 w 10799257"/>
              <a:gd name="connsiteY2227" fmla="*/ 1343294 h 3098304"/>
              <a:gd name="connsiteX2228" fmla="*/ 784744 w 10799257"/>
              <a:gd name="connsiteY2228" fmla="*/ 1332732 h 3098304"/>
              <a:gd name="connsiteX2229" fmla="*/ 9356340 w 10799257"/>
              <a:gd name="connsiteY2229" fmla="*/ 1219769 h 3098304"/>
              <a:gd name="connsiteX2230" fmla="*/ 9481917 w 10799257"/>
              <a:gd name="connsiteY2230" fmla="*/ 1306507 h 3098304"/>
              <a:gd name="connsiteX2231" fmla="*/ 9468346 w 10799257"/>
              <a:gd name="connsiteY2231" fmla="*/ 1326635 h 3098304"/>
              <a:gd name="connsiteX2232" fmla="*/ 9413378 w 10799257"/>
              <a:gd name="connsiteY2232" fmla="*/ 1349403 h 3098304"/>
              <a:gd name="connsiteX2233" fmla="*/ 9335641 w 10799257"/>
              <a:gd name="connsiteY2233" fmla="*/ 1271666 h 3098304"/>
              <a:gd name="connsiteX2234" fmla="*/ 9341750 w 10799257"/>
              <a:gd name="connsiteY2234" fmla="*/ 1241408 h 3098304"/>
              <a:gd name="connsiteX2235" fmla="*/ 9234567 w 10799257"/>
              <a:gd name="connsiteY2235" fmla="*/ 1193930 h 3098304"/>
              <a:gd name="connsiteX2236" fmla="*/ 9312304 w 10799257"/>
              <a:gd name="connsiteY2236" fmla="*/ 1271666 h 3098304"/>
              <a:gd name="connsiteX2237" fmla="*/ 9234567 w 10799257"/>
              <a:gd name="connsiteY2237" fmla="*/ 1349403 h 3098304"/>
              <a:gd name="connsiteX2238" fmla="*/ 9156831 w 10799257"/>
              <a:gd name="connsiteY2238" fmla="*/ 1271666 h 3098304"/>
              <a:gd name="connsiteX2239" fmla="*/ 9234567 w 10799257"/>
              <a:gd name="connsiteY2239" fmla="*/ 1193930 h 3098304"/>
              <a:gd name="connsiteX2240" fmla="*/ 9036935 w 10799257"/>
              <a:gd name="connsiteY2240" fmla="*/ 1193930 h 3098304"/>
              <a:gd name="connsiteX2241" fmla="*/ 9114672 w 10799257"/>
              <a:gd name="connsiteY2241" fmla="*/ 1271666 h 3098304"/>
              <a:gd name="connsiteX2242" fmla="*/ 9036935 w 10799257"/>
              <a:gd name="connsiteY2242" fmla="*/ 1349403 h 3098304"/>
              <a:gd name="connsiteX2243" fmla="*/ 8959198 w 10799257"/>
              <a:gd name="connsiteY2243" fmla="*/ 1271666 h 3098304"/>
              <a:gd name="connsiteX2244" fmla="*/ 9036935 w 10799257"/>
              <a:gd name="connsiteY2244" fmla="*/ 1193930 h 3098304"/>
              <a:gd name="connsiteX2245" fmla="*/ 8853419 w 10799257"/>
              <a:gd name="connsiteY2245" fmla="*/ 1193930 h 3098304"/>
              <a:gd name="connsiteX2246" fmla="*/ 8931156 w 10799257"/>
              <a:gd name="connsiteY2246" fmla="*/ 1271666 h 3098304"/>
              <a:gd name="connsiteX2247" fmla="*/ 8853419 w 10799257"/>
              <a:gd name="connsiteY2247" fmla="*/ 1349403 h 3098304"/>
              <a:gd name="connsiteX2248" fmla="*/ 8775682 w 10799257"/>
              <a:gd name="connsiteY2248" fmla="*/ 1271666 h 3098304"/>
              <a:gd name="connsiteX2249" fmla="*/ 8853419 w 10799257"/>
              <a:gd name="connsiteY2249" fmla="*/ 1193930 h 3098304"/>
              <a:gd name="connsiteX2250" fmla="*/ 8669907 w 10799257"/>
              <a:gd name="connsiteY2250" fmla="*/ 1193930 h 3098304"/>
              <a:gd name="connsiteX2251" fmla="*/ 8747644 w 10799257"/>
              <a:gd name="connsiteY2251" fmla="*/ 1271666 h 3098304"/>
              <a:gd name="connsiteX2252" fmla="*/ 8669907 w 10799257"/>
              <a:gd name="connsiteY2252" fmla="*/ 1349403 h 3098304"/>
              <a:gd name="connsiteX2253" fmla="*/ 8592170 w 10799257"/>
              <a:gd name="connsiteY2253" fmla="*/ 1271666 h 3098304"/>
              <a:gd name="connsiteX2254" fmla="*/ 8669907 w 10799257"/>
              <a:gd name="connsiteY2254" fmla="*/ 1193930 h 3098304"/>
              <a:gd name="connsiteX2255" fmla="*/ 8481683 w 10799257"/>
              <a:gd name="connsiteY2255" fmla="*/ 1193930 h 3098304"/>
              <a:gd name="connsiteX2256" fmla="*/ 8559420 w 10799257"/>
              <a:gd name="connsiteY2256" fmla="*/ 1271666 h 3098304"/>
              <a:gd name="connsiteX2257" fmla="*/ 8481683 w 10799257"/>
              <a:gd name="connsiteY2257" fmla="*/ 1349403 h 3098304"/>
              <a:gd name="connsiteX2258" fmla="*/ 8403946 w 10799257"/>
              <a:gd name="connsiteY2258" fmla="*/ 1271666 h 3098304"/>
              <a:gd name="connsiteX2259" fmla="*/ 8481683 w 10799257"/>
              <a:gd name="connsiteY2259" fmla="*/ 1193930 h 3098304"/>
              <a:gd name="connsiteX2260" fmla="*/ 8298166 w 10799257"/>
              <a:gd name="connsiteY2260" fmla="*/ 1193930 h 3098304"/>
              <a:gd name="connsiteX2261" fmla="*/ 8375903 w 10799257"/>
              <a:gd name="connsiteY2261" fmla="*/ 1271666 h 3098304"/>
              <a:gd name="connsiteX2262" fmla="*/ 8298166 w 10799257"/>
              <a:gd name="connsiteY2262" fmla="*/ 1349403 h 3098304"/>
              <a:gd name="connsiteX2263" fmla="*/ 8220429 w 10799257"/>
              <a:gd name="connsiteY2263" fmla="*/ 1271666 h 3098304"/>
              <a:gd name="connsiteX2264" fmla="*/ 8298166 w 10799257"/>
              <a:gd name="connsiteY2264" fmla="*/ 1193930 h 3098304"/>
              <a:gd name="connsiteX2265" fmla="*/ 8109946 w 10799257"/>
              <a:gd name="connsiteY2265" fmla="*/ 1193930 h 3098304"/>
              <a:gd name="connsiteX2266" fmla="*/ 8187683 w 10799257"/>
              <a:gd name="connsiteY2266" fmla="*/ 1271666 h 3098304"/>
              <a:gd name="connsiteX2267" fmla="*/ 8109946 w 10799257"/>
              <a:gd name="connsiteY2267" fmla="*/ 1349403 h 3098304"/>
              <a:gd name="connsiteX2268" fmla="*/ 8032209 w 10799257"/>
              <a:gd name="connsiteY2268" fmla="*/ 1271666 h 3098304"/>
              <a:gd name="connsiteX2269" fmla="*/ 8109946 w 10799257"/>
              <a:gd name="connsiteY2269" fmla="*/ 1193930 h 3098304"/>
              <a:gd name="connsiteX2270" fmla="*/ 7926432 w 10799257"/>
              <a:gd name="connsiteY2270" fmla="*/ 1193930 h 3098304"/>
              <a:gd name="connsiteX2271" fmla="*/ 8004169 w 10799257"/>
              <a:gd name="connsiteY2271" fmla="*/ 1271666 h 3098304"/>
              <a:gd name="connsiteX2272" fmla="*/ 7926432 w 10799257"/>
              <a:gd name="connsiteY2272" fmla="*/ 1349403 h 3098304"/>
              <a:gd name="connsiteX2273" fmla="*/ 7848695 w 10799257"/>
              <a:gd name="connsiteY2273" fmla="*/ 1271666 h 3098304"/>
              <a:gd name="connsiteX2274" fmla="*/ 7926432 w 10799257"/>
              <a:gd name="connsiteY2274" fmla="*/ 1193930 h 3098304"/>
              <a:gd name="connsiteX2275" fmla="*/ 7738211 w 10799257"/>
              <a:gd name="connsiteY2275" fmla="*/ 1193930 h 3098304"/>
              <a:gd name="connsiteX2276" fmla="*/ 7815947 w 10799257"/>
              <a:gd name="connsiteY2276" fmla="*/ 1271666 h 3098304"/>
              <a:gd name="connsiteX2277" fmla="*/ 7738211 w 10799257"/>
              <a:gd name="connsiteY2277" fmla="*/ 1349403 h 3098304"/>
              <a:gd name="connsiteX2278" fmla="*/ 7660474 w 10799257"/>
              <a:gd name="connsiteY2278" fmla="*/ 1271666 h 3098304"/>
              <a:gd name="connsiteX2279" fmla="*/ 7738211 w 10799257"/>
              <a:gd name="connsiteY2279" fmla="*/ 1193930 h 3098304"/>
              <a:gd name="connsiteX2280" fmla="*/ 7554691 w 10799257"/>
              <a:gd name="connsiteY2280" fmla="*/ 1193930 h 3098304"/>
              <a:gd name="connsiteX2281" fmla="*/ 7632428 w 10799257"/>
              <a:gd name="connsiteY2281" fmla="*/ 1271666 h 3098304"/>
              <a:gd name="connsiteX2282" fmla="*/ 7554691 w 10799257"/>
              <a:gd name="connsiteY2282" fmla="*/ 1349403 h 3098304"/>
              <a:gd name="connsiteX2283" fmla="*/ 7476954 w 10799257"/>
              <a:gd name="connsiteY2283" fmla="*/ 1271666 h 3098304"/>
              <a:gd name="connsiteX2284" fmla="*/ 7554691 w 10799257"/>
              <a:gd name="connsiteY2284" fmla="*/ 1193930 h 3098304"/>
              <a:gd name="connsiteX2285" fmla="*/ 7366470 w 10799257"/>
              <a:gd name="connsiteY2285" fmla="*/ 1193930 h 3098304"/>
              <a:gd name="connsiteX2286" fmla="*/ 7444207 w 10799257"/>
              <a:gd name="connsiteY2286" fmla="*/ 1271666 h 3098304"/>
              <a:gd name="connsiteX2287" fmla="*/ 7366470 w 10799257"/>
              <a:gd name="connsiteY2287" fmla="*/ 1349403 h 3098304"/>
              <a:gd name="connsiteX2288" fmla="*/ 7288733 w 10799257"/>
              <a:gd name="connsiteY2288" fmla="*/ 1271666 h 3098304"/>
              <a:gd name="connsiteX2289" fmla="*/ 7366470 w 10799257"/>
              <a:gd name="connsiteY2289" fmla="*/ 1193930 h 3098304"/>
              <a:gd name="connsiteX2290" fmla="*/ 7178249 w 10799257"/>
              <a:gd name="connsiteY2290" fmla="*/ 1193930 h 3098304"/>
              <a:gd name="connsiteX2291" fmla="*/ 7255986 w 10799257"/>
              <a:gd name="connsiteY2291" fmla="*/ 1271666 h 3098304"/>
              <a:gd name="connsiteX2292" fmla="*/ 7178249 w 10799257"/>
              <a:gd name="connsiteY2292" fmla="*/ 1349403 h 3098304"/>
              <a:gd name="connsiteX2293" fmla="*/ 7100512 w 10799257"/>
              <a:gd name="connsiteY2293" fmla="*/ 1271666 h 3098304"/>
              <a:gd name="connsiteX2294" fmla="*/ 7178249 w 10799257"/>
              <a:gd name="connsiteY2294" fmla="*/ 1193930 h 3098304"/>
              <a:gd name="connsiteX2295" fmla="*/ 6985324 w 10799257"/>
              <a:gd name="connsiteY2295" fmla="*/ 1193930 h 3098304"/>
              <a:gd name="connsiteX2296" fmla="*/ 7063061 w 10799257"/>
              <a:gd name="connsiteY2296" fmla="*/ 1271666 h 3098304"/>
              <a:gd name="connsiteX2297" fmla="*/ 6985324 w 10799257"/>
              <a:gd name="connsiteY2297" fmla="*/ 1349403 h 3098304"/>
              <a:gd name="connsiteX2298" fmla="*/ 6907587 w 10799257"/>
              <a:gd name="connsiteY2298" fmla="*/ 1271666 h 3098304"/>
              <a:gd name="connsiteX2299" fmla="*/ 6985324 w 10799257"/>
              <a:gd name="connsiteY2299" fmla="*/ 1193930 h 3098304"/>
              <a:gd name="connsiteX2300" fmla="*/ 6801807 w 10799257"/>
              <a:gd name="connsiteY2300" fmla="*/ 1193930 h 3098304"/>
              <a:gd name="connsiteX2301" fmla="*/ 6879544 w 10799257"/>
              <a:gd name="connsiteY2301" fmla="*/ 1271666 h 3098304"/>
              <a:gd name="connsiteX2302" fmla="*/ 6801807 w 10799257"/>
              <a:gd name="connsiteY2302" fmla="*/ 1349403 h 3098304"/>
              <a:gd name="connsiteX2303" fmla="*/ 6724070 w 10799257"/>
              <a:gd name="connsiteY2303" fmla="*/ 1271666 h 3098304"/>
              <a:gd name="connsiteX2304" fmla="*/ 6801807 w 10799257"/>
              <a:gd name="connsiteY2304" fmla="*/ 1193930 h 3098304"/>
              <a:gd name="connsiteX2305" fmla="*/ 6613586 w 10799257"/>
              <a:gd name="connsiteY2305" fmla="*/ 1193930 h 3098304"/>
              <a:gd name="connsiteX2306" fmla="*/ 6691323 w 10799257"/>
              <a:gd name="connsiteY2306" fmla="*/ 1271666 h 3098304"/>
              <a:gd name="connsiteX2307" fmla="*/ 6613586 w 10799257"/>
              <a:gd name="connsiteY2307" fmla="*/ 1349403 h 3098304"/>
              <a:gd name="connsiteX2308" fmla="*/ 6535849 w 10799257"/>
              <a:gd name="connsiteY2308" fmla="*/ 1271666 h 3098304"/>
              <a:gd name="connsiteX2309" fmla="*/ 6613586 w 10799257"/>
              <a:gd name="connsiteY2309" fmla="*/ 1193930 h 3098304"/>
              <a:gd name="connsiteX2310" fmla="*/ 6425365 w 10799257"/>
              <a:gd name="connsiteY2310" fmla="*/ 1193930 h 3098304"/>
              <a:gd name="connsiteX2311" fmla="*/ 6503102 w 10799257"/>
              <a:gd name="connsiteY2311" fmla="*/ 1271666 h 3098304"/>
              <a:gd name="connsiteX2312" fmla="*/ 6425365 w 10799257"/>
              <a:gd name="connsiteY2312" fmla="*/ 1349403 h 3098304"/>
              <a:gd name="connsiteX2313" fmla="*/ 6347628 w 10799257"/>
              <a:gd name="connsiteY2313" fmla="*/ 1271666 h 3098304"/>
              <a:gd name="connsiteX2314" fmla="*/ 6425365 w 10799257"/>
              <a:gd name="connsiteY2314" fmla="*/ 1193930 h 3098304"/>
              <a:gd name="connsiteX2315" fmla="*/ 6241848 w 10799257"/>
              <a:gd name="connsiteY2315" fmla="*/ 1193930 h 3098304"/>
              <a:gd name="connsiteX2316" fmla="*/ 6319585 w 10799257"/>
              <a:gd name="connsiteY2316" fmla="*/ 1271666 h 3098304"/>
              <a:gd name="connsiteX2317" fmla="*/ 6241848 w 10799257"/>
              <a:gd name="connsiteY2317" fmla="*/ 1349403 h 3098304"/>
              <a:gd name="connsiteX2318" fmla="*/ 6164111 w 10799257"/>
              <a:gd name="connsiteY2318" fmla="*/ 1271666 h 3098304"/>
              <a:gd name="connsiteX2319" fmla="*/ 6241848 w 10799257"/>
              <a:gd name="connsiteY2319" fmla="*/ 1193930 h 3098304"/>
              <a:gd name="connsiteX2320" fmla="*/ 6053629 w 10799257"/>
              <a:gd name="connsiteY2320" fmla="*/ 1193930 h 3098304"/>
              <a:gd name="connsiteX2321" fmla="*/ 6131366 w 10799257"/>
              <a:gd name="connsiteY2321" fmla="*/ 1271666 h 3098304"/>
              <a:gd name="connsiteX2322" fmla="*/ 6053629 w 10799257"/>
              <a:gd name="connsiteY2322" fmla="*/ 1349403 h 3098304"/>
              <a:gd name="connsiteX2323" fmla="*/ 5975892 w 10799257"/>
              <a:gd name="connsiteY2323" fmla="*/ 1271666 h 3098304"/>
              <a:gd name="connsiteX2324" fmla="*/ 6053629 w 10799257"/>
              <a:gd name="connsiteY2324" fmla="*/ 1193930 h 3098304"/>
              <a:gd name="connsiteX2325" fmla="*/ 5870112 w 10799257"/>
              <a:gd name="connsiteY2325" fmla="*/ 1193930 h 3098304"/>
              <a:gd name="connsiteX2326" fmla="*/ 5947849 w 10799257"/>
              <a:gd name="connsiteY2326" fmla="*/ 1271666 h 3098304"/>
              <a:gd name="connsiteX2327" fmla="*/ 5870112 w 10799257"/>
              <a:gd name="connsiteY2327" fmla="*/ 1349403 h 3098304"/>
              <a:gd name="connsiteX2328" fmla="*/ 5792375 w 10799257"/>
              <a:gd name="connsiteY2328" fmla="*/ 1271666 h 3098304"/>
              <a:gd name="connsiteX2329" fmla="*/ 5870112 w 10799257"/>
              <a:gd name="connsiteY2329" fmla="*/ 1193930 h 3098304"/>
              <a:gd name="connsiteX2330" fmla="*/ 4557299 w 10799257"/>
              <a:gd name="connsiteY2330" fmla="*/ 1193930 h 3098304"/>
              <a:gd name="connsiteX2331" fmla="*/ 4635045 w 10799257"/>
              <a:gd name="connsiteY2331" fmla="*/ 1271666 h 3098304"/>
              <a:gd name="connsiteX2332" fmla="*/ 4557299 w 10799257"/>
              <a:gd name="connsiteY2332" fmla="*/ 1349403 h 3098304"/>
              <a:gd name="connsiteX2333" fmla="*/ 4479562 w 10799257"/>
              <a:gd name="connsiteY2333" fmla="*/ 1271666 h 3098304"/>
              <a:gd name="connsiteX2334" fmla="*/ 4557299 w 10799257"/>
              <a:gd name="connsiteY2334" fmla="*/ 1193930 h 3098304"/>
              <a:gd name="connsiteX2335" fmla="*/ 3813851 w 10799257"/>
              <a:gd name="connsiteY2335" fmla="*/ 1193930 h 3098304"/>
              <a:gd name="connsiteX2336" fmla="*/ 3891562 w 10799257"/>
              <a:gd name="connsiteY2336" fmla="*/ 1271666 h 3098304"/>
              <a:gd name="connsiteX2337" fmla="*/ 3813851 w 10799257"/>
              <a:gd name="connsiteY2337" fmla="*/ 1349403 h 3098304"/>
              <a:gd name="connsiteX2338" fmla="*/ 3736077 w 10799257"/>
              <a:gd name="connsiteY2338" fmla="*/ 1271666 h 3098304"/>
              <a:gd name="connsiteX2339" fmla="*/ 3813851 w 10799257"/>
              <a:gd name="connsiteY2339" fmla="*/ 1193930 h 3098304"/>
              <a:gd name="connsiteX2340" fmla="*/ 3625629 w 10799257"/>
              <a:gd name="connsiteY2340" fmla="*/ 1193930 h 3098304"/>
              <a:gd name="connsiteX2341" fmla="*/ 3703372 w 10799257"/>
              <a:gd name="connsiteY2341" fmla="*/ 1271666 h 3098304"/>
              <a:gd name="connsiteX2342" fmla="*/ 3625629 w 10799257"/>
              <a:gd name="connsiteY2342" fmla="*/ 1349403 h 3098304"/>
              <a:gd name="connsiteX2343" fmla="*/ 3547906 w 10799257"/>
              <a:gd name="connsiteY2343" fmla="*/ 1271666 h 3098304"/>
              <a:gd name="connsiteX2344" fmla="*/ 3625629 w 10799257"/>
              <a:gd name="connsiteY2344" fmla="*/ 1193930 h 3098304"/>
              <a:gd name="connsiteX2345" fmla="*/ 3442093 w 10799257"/>
              <a:gd name="connsiteY2345" fmla="*/ 1193930 h 3098304"/>
              <a:gd name="connsiteX2346" fmla="*/ 3519851 w 10799257"/>
              <a:gd name="connsiteY2346" fmla="*/ 1271666 h 3098304"/>
              <a:gd name="connsiteX2347" fmla="*/ 3442093 w 10799257"/>
              <a:gd name="connsiteY2347" fmla="*/ 1349403 h 3098304"/>
              <a:gd name="connsiteX2348" fmla="*/ 3364515 w 10799257"/>
              <a:gd name="connsiteY2348" fmla="*/ 1271666 h 3098304"/>
              <a:gd name="connsiteX2349" fmla="*/ 3442093 w 10799257"/>
              <a:gd name="connsiteY2349" fmla="*/ 1193930 h 3098304"/>
              <a:gd name="connsiteX2350" fmla="*/ 2689384 w 10799257"/>
              <a:gd name="connsiteY2350" fmla="*/ 1193930 h 3098304"/>
              <a:gd name="connsiteX2351" fmla="*/ 2767088 w 10799257"/>
              <a:gd name="connsiteY2351" fmla="*/ 1271666 h 3098304"/>
              <a:gd name="connsiteX2352" fmla="*/ 2689384 w 10799257"/>
              <a:gd name="connsiteY2352" fmla="*/ 1349403 h 3098304"/>
              <a:gd name="connsiteX2353" fmla="*/ 2611650 w 10799257"/>
              <a:gd name="connsiteY2353" fmla="*/ 1271666 h 3098304"/>
              <a:gd name="connsiteX2354" fmla="*/ 2689384 w 10799257"/>
              <a:gd name="connsiteY2354" fmla="*/ 1193930 h 3098304"/>
              <a:gd name="connsiteX2355" fmla="*/ 2510561 w 10799257"/>
              <a:gd name="connsiteY2355" fmla="*/ 1193930 h 3098304"/>
              <a:gd name="connsiteX2356" fmla="*/ 2588307 w 10799257"/>
              <a:gd name="connsiteY2356" fmla="*/ 1271666 h 3098304"/>
              <a:gd name="connsiteX2357" fmla="*/ 2510561 w 10799257"/>
              <a:gd name="connsiteY2357" fmla="*/ 1349403 h 3098304"/>
              <a:gd name="connsiteX2358" fmla="*/ 2432798 w 10799257"/>
              <a:gd name="connsiteY2358" fmla="*/ 1271666 h 3098304"/>
              <a:gd name="connsiteX2359" fmla="*/ 2510561 w 10799257"/>
              <a:gd name="connsiteY2359" fmla="*/ 1193930 h 3098304"/>
              <a:gd name="connsiteX2360" fmla="*/ 2317592 w 10799257"/>
              <a:gd name="connsiteY2360" fmla="*/ 1193930 h 3098304"/>
              <a:gd name="connsiteX2361" fmla="*/ 2395336 w 10799257"/>
              <a:gd name="connsiteY2361" fmla="*/ 1271666 h 3098304"/>
              <a:gd name="connsiteX2362" fmla="*/ 2317592 w 10799257"/>
              <a:gd name="connsiteY2362" fmla="*/ 1349403 h 3098304"/>
              <a:gd name="connsiteX2363" fmla="*/ 2239868 w 10799257"/>
              <a:gd name="connsiteY2363" fmla="*/ 1271666 h 3098304"/>
              <a:gd name="connsiteX2364" fmla="*/ 2317592 w 10799257"/>
              <a:gd name="connsiteY2364" fmla="*/ 1193930 h 3098304"/>
              <a:gd name="connsiteX2365" fmla="*/ 1941215 w 10799257"/>
              <a:gd name="connsiteY2365" fmla="*/ 1193930 h 3098304"/>
              <a:gd name="connsiteX2366" fmla="*/ 2018936 w 10799257"/>
              <a:gd name="connsiteY2366" fmla="*/ 1271666 h 3098304"/>
              <a:gd name="connsiteX2367" fmla="*/ 1941215 w 10799257"/>
              <a:gd name="connsiteY2367" fmla="*/ 1349403 h 3098304"/>
              <a:gd name="connsiteX2368" fmla="*/ 1863490 w 10799257"/>
              <a:gd name="connsiteY2368" fmla="*/ 1271666 h 3098304"/>
              <a:gd name="connsiteX2369" fmla="*/ 1941215 w 10799257"/>
              <a:gd name="connsiteY2369" fmla="*/ 1193930 h 3098304"/>
              <a:gd name="connsiteX2370" fmla="*/ 1757725 w 10799257"/>
              <a:gd name="connsiteY2370" fmla="*/ 1193930 h 3098304"/>
              <a:gd name="connsiteX2371" fmla="*/ 1835455 w 10799257"/>
              <a:gd name="connsiteY2371" fmla="*/ 1271666 h 3098304"/>
              <a:gd name="connsiteX2372" fmla="*/ 1757725 w 10799257"/>
              <a:gd name="connsiteY2372" fmla="*/ 1349403 h 3098304"/>
              <a:gd name="connsiteX2373" fmla="*/ 1680002 w 10799257"/>
              <a:gd name="connsiteY2373" fmla="*/ 1271666 h 3098304"/>
              <a:gd name="connsiteX2374" fmla="*/ 1757725 w 10799257"/>
              <a:gd name="connsiteY2374" fmla="*/ 1193930 h 3098304"/>
              <a:gd name="connsiteX2375" fmla="*/ 1569502 w 10799257"/>
              <a:gd name="connsiteY2375" fmla="*/ 1193930 h 3098304"/>
              <a:gd name="connsiteX2376" fmla="*/ 1647263 w 10799257"/>
              <a:gd name="connsiteY2376" fmla="*/ 1271666 h 3098304"/>
              <a:gd name="connsiteX2377" fmla="*/ 1569502 w 10799257"/>
              <a:gd name="connsiteY2377" fmla="*/ 1349403 h 3098304"/>
              <a:gd name="connsiteX2378" fmla="*/ 1491781 w 10799257"/>
              <a:gd name="connsiteY2378" fmla="*/ 1271666 h 3098304"/>
              <a:gd name="connsiteX2379" fmla="*/ 1569502 w 10799257"/>
              <a:gd name="connsiteY2379" fmla="*/ 1193930 h 3098304"/>
              <a:gd name="connsiteX2380" fmla="*/ 1385962 w 10799257"/>
              <a:gd name="connsiteY2380" fmla="*/ 1193930 h 3098304"/>
              <a:gd name="connsiteX2381" fmla="*/ 1463728 w 10799257"/>
              <a:gd name="connsiteY2381" fmla="*/ 1271666 h 3098304"/>
              <a:gd name="connsiteX2382" fmla="*/ 1385962 w 10799257"/>
              <a:gd name="connsiteY2382" fmla="*/ 1349403 h 3098304"/>
              <a:gd name="connsiteX2383" fmla="*/ 1308203 w 10799257"/>
              <a:gd name="connsiteY2383" fmla="*/ 1271666 h 3098304"/>
              <a:gd name="connsiteX2384" fmla="*/ 1385962 w 10799257"/>
              <a:gd name="connsiteY2384" fmla="*/ 1193930 h 3098304"/>
              <a:gd name="connsiteX2385" fmla="*/ 1202423 w 10799257"/>
              <a:gd name="connsiteY2385" fmla="*/ 1193930 h 3098304"/>
              <a:gd name="connsiteX2386" fmla="*/ 1280154 w 10799257"/>
              <a:gd name="connsiteY2386" fmla="*/ 1271666 h 3098304"/>
              <a:gd name="connsiteX2387" fmla="*/ 1202423 w 10799257"/>
              <a:gd name="connsiteY2387" fmla="*/ 1349403 h 3098304"/>
              <a:gd name="connsiteX2388" fmla="*/ 1124711 w 10799257"/>
              <a:gd name="connsiteY2388" fmla="*/ 1271666 h 3098304"/>
              <a:gd name="connsiteX2389" fmla="*/ 1202423 w 10799257"/>
              <a:gd name="connsiteY2389" fmla="*/ 1193930 h 3098304"/>
              <a:gd name="connsiteX2390" fmla="*/ 1014183 w 10799257"/>
              <a:gd name="connsiteY2390" fmla="*/ 1193930 h 3098304"/>
              <a:gd name="connsiteX2391" fmla="*/ 1091948 w 10799257"/>
              <a:gd name="connsiteY2391" fmla="*/ 1271666 h 3098304"/>
              <a:gd name="connsiteX2392" fmla="*/ 1014183 w 10799257"/>
              <a:gd name="connsiteY2392" fmla="*/ 1349403 h 3098304"/>
              <a:gd name="connsiteX2393" fmla="*/ 936485 w 10799257"/>
              <a:gd name="connsiteY2393" fmla="*/ 1271666 h 3098304"/>
              <a:gd name="connsiteX2394" fmla="*/ 1014183 w 10799257"/>
              <a:gd name="connsiteY2394" fmla="*/ 1193930 h 3098304"/>
              <a:gd name="connsiteX2395" fmla="*/ 1047621 w 10799257"/>
              <a:gd name="connsiteY2395" fmla="*/ 1157652 h 3098304"/>
              <a:gd name="connsiteX2396" fmla="*/ 1044462 w 10799257"/>
              <a:gd name="connsiteY2396" fmla="*/ 1159780 h 3098304"/>
              <a:gd name="connsiteX2397" fmla="*/ 1043952 w 10799257"/>
              <a:gd name="connsiteY2397" fmla="*/ 1159883 h 3098304"/>
              <a:gd name="connsiteX2398" fmla="*/ 9158798 w 10799257"/>
              <a:gd name="connsiteY2398" fmla="*/ 1097912 h 3098304"/>
              <a:gd name="connsiteX2399" fmla="*/ 9261584 w 10799257"/>
              <a:gd name="connsiteY2399" fmla="*/ 1160435 h 3098304"/>
              <a:gd name="connsiteX2400" fmla="*/ 9234570 w 10799257"/>
              <a:gd name="connsiteY2400" fmla="*/ 1165888 h 3098304"/>
              <a:gd name="connsiteX2401" fmla="*/ 9162942 w 10799257"/>
              <a:gd name="connsiteY2401" fmla="*/ 1118425 h 3098304"/>
              <a:gd name="connsiteX2402" fmla="*/ 1254927 w 10799257"/>
              <a:gd name="connsiteY2402" fmla="*/ 1031550 h 3098304"/>
              <a:gd name="connsiteX2403" fmla="*/ 1257402 w 10799257"/>
              <a:gd name="connsiteY2403" fmla="*/ 1033219 h 3098304"/>
              <a:gd name="connsiteX2404" fmla="*/ 1280169 w 10799257"/>
              <a:gd name="connsiteY2404" fmla="*/ 1088187 h 3098304"/>
              <a:gd name="connsiteX2405" fmla="*/ 1202428 w 10799257"/>
              <a:gd name="connsiteY2405" fmla="*/ 1165888 h 3098304"/>
              <a:gd name="connsiteX2406" fmla="*/ 1130831 w 10799257"/>
              <a:gd name="connsiteY2406" fmla="*/ 1118426 h 3098304"/>
              <a:gd name="connsiteX2407" fmla="*/ 1128785 w 10799257"/>
              <a:gd name="connsiteY2407" fmla="*/ 1108281 h 3098304"/>
              <a:gd name="connsiteX2408" fmla="*/ 9020475 w 10799257"/>
              <a:gd name="connsiteY2408" fmla="*/ 1013773 h 3098304"/>
              <a:gd name="connsiteX2409" fmla="*/ 9110734 w 10799257"/>
              <a:gd name="connsiteY2409" fmla="*/ 1068676 h 3098304"/>
              <a:gd name="connsiteX2410" fmla="*/ 9114673 w 10799257"/>
              <a:gd name="connsiteY2410" fmla="*/ 1088185 h 3098304"/>
              <a:gd name="connsiteX2411" fmla="*/ 9036936 w 10799257"/>
              <a:gd name="connsiteY2411" fmla="*/ 1165888 h 3098304"/>
              <a:gd name="connsiteX2412" fmla="*/ 8959199 w 10799257"/>
              <a:gd name="connsiteY2412" fmla="*/ 1088185 h 3098304"/>
              <a:gd name="connsiteX2413" fmla="*/ 9006677 w 10799257"/>
              <a:gd name="connsiteY2413" fmla="*/ 1016558 h 3098304"/>
              <a:gd name="connsiteX2414" fmla="*/ 7926434 w 10799257"/>
              <a:gd name="connsiteY2414" fmla="*/ 1010450 h 3098304"/>
              <a:gd name="connsiteX2415" fmla="*/ 8004171 w 10799257"/>
              <a:gd name="connsiteY2415" fmla="*/ 1088186 h 3098304"/>
              <a:gd name="connsiteX2416" fmla="*/ 7926434 w 10799257"/>
              <a:gd name="connsiteY2416" fmla="*/ 1165888 h 3098304"/>
              <a:gd name="connsiteX2417" fmla="*/ 7848697 w 10799257"/>
              <a:gd name="connsiteY2417" fmla="*/ 1088186 h 3098304"/>
              <a:gd name="connsiteX2418" fmla="*/ 7926434 w 10799257"/>
              <a:gd name="connsiteY2418" fmla="*/ 1010450 h 3098304"/>
              <a:gd name="connsiteX2419" fmla="*/ 7738213 w 10799257"/>
              <a:gd name="connsiteY2419" fmla="*/ 1010450 h 3098304"/>
              <a:gd name="connsiteX2420" fmla="*/ 7815950 w 10799257"/>
              <a:gd name="connsiteY2420" fmla="*/ 1088186 h 3098304"/>
              <a:gd name="connsiteX2421" fmla="*/ 7738213 w 10799257"/>
              <a:gd name="connsiteY2421" fmla="*/ 1165888 h 3098304"/>
              <a:gd name="connsiteX2422" fmla="*/ 7660476 w 10799257"/>
              <a:gd name="connsiteY2422" fmla="*/ 1088186 h 3098304"/>
              <a:gd name="connsiteX2423" fmla="*/ 7738213 w 10799257"/>
              <a:gd name="connsiteY2423" fmla="*/ 1010450 h 3098304"/>
              <a:gd name="connsiteX2424" fmla="*/ 7554693 w 10799257"/>
              <a:gd name="connsiteY2424" fmla="*/ 1010450 h 3098304"/>
              <a:gd name="connsiteX2425" fmla="*/ 7632430 w 10799257"/>
              <a:gd name="connsiteY2425" fmla="*/ 1088186 h 3098304"/>
              <a:gd name="connsiteX2426" fmla="*/ 7554693 w 10799257"/>
              <a:gd name="connsiteY2426" fmla="*/ 1165888 h 3098304"/>
              <a:gd name="connsiteX2427" fmla="*/ 7476957 w 10799257"/>
              <a:gd name="connsiteY2427" fmla="*/ 1088186 h 3098304"/>
              <a:gd name="connsiteX2428" fmla="*/ 7554693 w 10799257"/>
              <a:gd name="connsiteY2428" fmla="*/ 1010450 h 3098304"/>
              <a:gd name="connsiteX2429" fmla="*/ 7366472 w 10799257"/>
              <a:gd name="connsiteY2429" fmla="*/ 1010450 h 3098304"/>
              <a:gd name="connsiteX2430" fmla="*/ 7444209 w 10799257"/>
              <a:gd name="connsiteY2430" fmla="*/ 1088186 h 3098304"/>
              <a:gd name="connsiteX2431" fmla="*/ 7366472 w 10799257"/>
              <a:gd name="connsiteY2431" fmla="*/ 1165888 h 3098304"/>
              <a:gd name="connsiteX2432" fmla="*/ 7288736 w 10799257"/>
              <a:gd name="connsiteY2432" fmla="*/ 1088186 h 3098304"/>
              <a:gd name="connsiteX2433" fmla="*/ 7366472 w 10799257"/>
              <a:gd name="connsiteY2433" fmla="*/ 1010450 h 3098304"/>
              <a:gd name="connsiteX2434" fmla="*/ 6613588 w 10799257"/>
              <a:gd name="connsiteY2434" fmla="*/ 1010450 h 3098304"/>
              <a:gd name="connsiteX2435" fmla="*/ 6691325 w 10799257"/>
              <a:gd name="connsiteY2435" fmla="*/ 1088186 h 3098304"/>
              <a:gd name="connsiteX2436" fmla="*/ 6613588 w 10799257"/>
              <a:gd name="connsiteY2436" fmla="*/ 1165888 h 3098304"/>
              <a:gd name="connsiteX2437" fmla="*/ 6535852 w 10799257"/>
              <a:gd name="connsiteY2437" fmla="*/ 1088186 h 3098304"/>
              <a:gd name="connsiteX2438" fmla="*/ 6613588 w 10799257"/>
              <a:gd name="connsiteY2438" fmla="*/ 1010450 h 3098304"/>
              <a:gd name="connsiteX2439" fmla="*/ 6425365 w 10799257"/>
              <a:gd name="connsiteY2439" fmla="*/ 1010450 h 3098304"/>
              <a:gd name="connsiteX2440" fmla="*/ 6503102 w 10799257"/>
              <a:gd name="connsiteY2440" fmla="*/ 1088186 h 3098304"/>
              <a:gd name="connsiteX2441" fmla="*/ 6425365 w 10799257"/>
              <a:gd name="connsiteY2441" fmla="*/ 1165888 h 3098304"/>
              <a:gd name="connsiteX2442" fmla="*/ 6347628 w 10799257"/>
              <a:gd name="connsiteY2442" fmla="*/ 1088186 h 3098304"/>
              <a:gd name="connsiteX2443" fmla="*/ 6425365 w 10799257"/>
              <a:gd name="connsiteY2443" fmla="*/ 1010450 h 3098304"/>
              <a:gd name="connsiteX2444" fmla="*/ 6241850 w 10799257"/>
              <a:gd name="connsiteY2444" fmla="*/ 1010450 h 3098304"/>
              <a:gd name="connsiteX2445" fmla="*/ 6319587 w 10799257"/>
              <a:gd name="connsiteY2445" fmla="*/ 1088186 h 3098304"/>
              <a:gd name="connsiteX2446" fmla="*/ 6241850 w 10799257"/>
              <a:gd name="connsiteY2446" fmla="*/ 1165888 h 3098304"/>
              <a:gd name="connsiteX2447" fmla="*/ 6164113 w 10799257"/>
              <a:gd name="connsiteY2447" fmla="*/ 1088186 h 3098304"/>
              <a:gd name="connsiteX2448" fmla="*/ 6241850 w 10799257"/>
              <a:gd name="connsiteY2448" fmla="*/ 1010450 h 3098304"/>
              <a:gd name="connsiteX2449" fmla="*/ 6053630 w 10799257"/>
              <a:gd name="connsiteY2449" fmla="*/ 1010450 h 3098304"/>
              <a:gd name="connsiteX2450" fmla="*/ 6131367 w 10799257"/>
              <a:gd name="connsiteY2450" fmla="*/ 1088186 h 3098304"/>
              <a:gd name="connsiteX2451" fmla="*/ 6053630 w 10799257"/>
              <a:gd name="connsiteY2451" fmla="*/ 1165888 h 3098304"/>
              <a:gd name="connsiteX2452" fmla="*/ 5975894 w 10799257"/>
              <a:gd name="connsiteY2452" fmla="*/ 1088186 h 3098304"/>
              <a:gd name="connsiteX2453" fmla="*/ 6053630 w 10799257"/>
              <a:gd name="connsiteY2453" fmla="*/ 1010450 h 3098304"/>
              <a:gd name="connsiteX2454" fmla="*/ 5870113 w 10799257"/>
              <a:gd name="connsiteY2454" fmla="*/ 1010450 h 3098304"/>
              <a:gd name="connsiteX2455" fmla="*/ 5947850 w 10799257"/>
              <a:gd name="connsiteY2455" fmla="*/ 1088186 h 3098304"/>
              <a:gd name="connsiteX2456" fmla="*/ 5870113 w 10799257"/>
              <a:gd name="connsiteY2456" fmla="*/ 1165888 h 3098304"/>
              <a:gd name="connsiteX2457" fmla="*/ 5792376 w 10799257"/>
              <a:gd name="connsiteY2457" fmla="*/ 1088186 h 3098304"/>
              <a:gd name="connsiteX2458" fmla="*/ 5870113 w 10799257"/>
              <a:gd name="connsiteY2458" fmla="*/ 1010450 h 3098304"/>
              <a:gd name="connsiteX2459" fmla="*/ 4185559 w 10799257"/>
              <a:gd name="connsiteY2459" fmla="*/ 1010450 h 3098304"/>
              <a:gd name="connsiteX2460" fmla="*/ 4263314 w 10799257"/>
              <a:gd name="connsiteY2460" fmla="*/ 1088187 h 3098304"/>
              <a:gd name="connsiteX2461" fmla="*/ 4185559 w 10799257"/>
              <a:gd name="connsiteY2461" fmla="*/ 1165888 h 3098304"/>
              <a:gd name="connsiteX2462" fmla="*/ 4107799 w 10799257"/>
              <a:gd name="connsiteY2462" fmla="*/ 1088187 h 3098304"/>
              <a:gd name="connsiteX2463" fmla="*/ 4185559 w 10799257"/>
              <a:gd name="connsiteY2463" fmla="*/ 1010450 h 3098304"/>
              <a:gd name="connsiteX2464" fmla="*/ 3997354 w 10799257"/>
              <a:gd name="connsiteY2464" fmla="*/ 1010450 h 3098304"/>
              <a:gd name="connsiteX2465" fmla="*/ 4075062 w 10799257"/>
              <a:gd name="connsiteY2465" fmla="*/ 1088187 h 3098304"/>
              <a:gd name="connsiteX2466" fmla="*/ 3997354 w 10799257"/>
              <a:gd name="connsiteY2466" fmla="*/ 1165888 h 3098304"/>
              <a:gd name="connsiteX2467" fmla="*/ 3919622 w 10799257"/>
              <a:gd name="connsiteY2467" fmla="*/ 1088187 h 3098304"/>
              <a:gd name="connsiteX2468" fmla="*/ 3997354 w 10799257"/>
              <a:gd name="connsiteY2468" fmla="*/ 1010450 h 3098304"/>
              <a:gd name="connsiteX2469" fmla="*/ 3813851 w 10799257"/>
              <a:gd name="connsiteY2469" fmla="*/ 1010450 h 3098304"/>
              <a:gd name="connsiteX2470" fmla="*/ 3891567 w 10799257"/>
              <a:gd name="connsiteY2470" fmla="*/ 1088187 h 3098304"/>
              <a:gd name="connsiteX2471" fmla="*/ 3813851 w 10799257"/>
              <a:gd name="connsiteY2471" fmla="*/ 1165888 h 3098304"/>
              <a:gd name="connsiteX2472" fmla="*/ 3736077 w 10799257"/>
              <a:gd name="connsiteY2472" fmla="*/ 1088187 h 3098304"/>
              <a:gd name="connsiteX2473" fmla="*/ 3813851 w 10799257"/>
              <a:gd name="connsiteY2473" fmla="*/ 1010450 h 3098304"/>
              <a:gd name="connsiteX2474" fmla="*/ 3625629 w 10799257"/>
              <a:gd name="connsiteY2474" fmla="*/ 1010450 h 3098304"/>
              <a:gd name="connsiteX2475" fmla="*/ 3703372 w 10799257"/>
              <a:gd name="connsiteY2475" fmla="*/ 1088187 h 3098304"/>
              <a:gd name="connsiteX2476" fmla="*/ 3625629 w 10799257"/>
              <a:gd name="connsiteY2476" fmla="*/ 1165888 h 3098304"/>
              <a:gd name="connsiteX2477" fmla="*/ 3547906 w 10799257"/>
              <a:gd name="connsiteY2477" fmla="*/ 1088187 h 3098304"/>
              <a:gd name="connsiteX2478" fmla="*/ 3625629 w 10799257"/>
              <a:gd name="connsiteY2478" fmla="*/ 1010450 h 3098304"/>
              <a:gd name="connsiteX2479" fmla="*/ 3442100 w 10799257"/>
              <a:gd name="connsiteY2479" fmla="*/ 1010450 h 3098304"/>
              <a:gd name="connsiteX2480" fmla="*/ 3519851 w 10799257"/>
              <a:gd name="connsiteY2480" fmla="*/ 1088187 h 3098304"/>
              <a:gd name="connsiteX2481" fmla="*/ 3442100 w 10799257"/>
              <a:gd name="connsiteY2481" fmla="*/ 1165888 h 3098304"/>
              <a:gd name="connsiteX2482" fmla="*/ 3364528 w 10799257"/>
              <a:gd name="connsiteY2482" fmla="*/ 1088187 h 3098304"/>
              <a:gd name="connsiteX2483" fmla="*/ 3442100 w 10799257"/>
              <a:gd name="connsiteY2483" fmla="*/ 1010450 h 3098304"/>
              <a:gd name="connsiteX2484" fmla="*/ 2689397 w 10799257"/>
              <a:gd name="connsiteY2484" fmla="*/ 1010450 h 3098304"/>
              <a:gd name="connsiteX2485" fmla="*/ 2767106 w 10799257"/>
              <a:gd name="connsiteY2485" fmla="*/ 1088187 h 3098304"/>
              <a:gd name="connsiteX2486" fmla="*/ 2689397 w 10799257"/>
              <a:gd name="connsiteY2486" fmla="*/ 1165888 h 3098304"/>
              <a:gd name="connsiteX2487" fmla="*/ 2611665 w 10799257"/>
              <a:gd name="connsiteY2487" fmla="*/ 1088187 h 3098304"/>
              <a:gd name="connsiteX2488" fmla="*/ 2689397 w 10799257"/>
              <a:gd name="connsiteY2488" fmla="*/ 1010450 h 3098304"/>
              <a:gd name="connsiteX2489" fmla="*/ 2510576 w 10799257"/>
              <a:gd name="connsiteY2489" fmla="*/ 1010450 h 3098304"/>
              <a:gd name="connsiteX2490" fmla="*/ 2588319 w 10799257"/>
              <a:gd name="connsiteY2490" fmla="*/ 1088187 h 3098304"/>
              <a:gd name="connsiteX2491" fmla="*/ 2510576 w 10799257"/>
              <a:gd name="connsiteY2491" fmla="*/ 1165888 h 3098304"/>
              <a:gd name="connsiteX2492" fmla="*/ 2432814 w 10799257"/>
              <a:gd name="connsiteY2492" fmla="*/ 1088187 h 3098304"/>
              <a:gd name="connsiteX2493" fmla="*/ 2510576 w 10799257"/>
              <a:gd name="connsiteY2493" fmla="*/ 1010450 h 3098304"/>
              <a:gd name="connsiteX2494" fmla="*/ 2317606 w 10799257"/>
              <a:gd name="connsiteY2494" fmla="*/ 1010450 h 3098304"/>
              <a:gd name="connsiteX2495" fmla="*/ 2395351 w 10799257"/>
              <a:gd name="connsiteY2495" fmla="*/ 1088187 h 3098304"/>
              <a:gd name="connsiteX2496" fmla="*/ 2317606 w 10799257"/>
              <a:gd name="connsiteY2496" fmla="*/ 1165888 h 3098304"/>
              <a:gd name="connsiteX2497" fmla="*/ 2239883 w 10799257"/>
              <a:gd name="connsiteY2497" fmla="*/ 1088187 h 3098304"/>
              <a:gd name="connsiteX2498" fmla="*/ 2317606 w 10799257"/>
              <a:gd name="connsiteY2498" fmla="*/ 1010450 h 3098304"/>
              <a:gd name="connsiteX2499" fmla="*/ 2129421 w 10799257"/>
              <a:gd name="connsiteY2499" fmla="*/ 1010450 h 3098304"/>
              <a:gd name="connsiteX2500" fmla="*/ 2207140 w 10799257"/>
              <a:gd name="connsiteY2500" fmla="*/ 1088187 h 3098304"/>
              <a:gd name="connsiteX2501" fmla="*/ 2129421 w 10799257"/>
              <a:gd name="connsiteY2501" fmla="*/ 1165888 h 3098304"/>
              <a:gd name="connsiteX2502" fmla="*/ 2051692 w 10799257"/>
              <a:gd name="connsiteY2502" fmla="*/ 1088187 h 3098304"/>
              <a:gd name="connsiteX2503" fmla="*/ 2129421 w 10799257"/>
              <a:gd name="connsiteY2503" fmla="*/ 1010450 h 3098304"/>
              <a:gd name="connsiteX2504" fmla="*/ 1941229 w 10799257"/>
              <a:gd name="connsiteY2504" fmla="*/ 1010450 h 3098304"/>
              <a:gd name="connsiteX2505" fmla="*/ 2018951 w 10799257"/>
              <a:gd name="connsiteY2505" fmla="*/ 1088187 h 3098304"/>
              <a:gd name="connsiteX2506" fmla="*/ 1941229 w 10799257"/>
              <a:gd name="connsiteY2506" fmla="*/ 1165888 h 3098304"/>
              <a:gd name="connsiteX2507" fmla="*/ 1863506 w 10799257"/>
              <a:gd name="connsiteY2507" fmla="*/ 1088187 h 3098304"/>
              <a:gd name="connsiteX2508" fmla="*/ 1941229 w 10799257"/>
              <a:gd name="connsiteY2508" fmla="*/ 1010450 h 3098304"/>
              <a:gd name="connsiteX2509" fmla="*/ 1757744 w 10799257"/>
              <a:gd name="connsiteY2509" fmla="*/ 1010450 h 3098304"/>
              <a:gd name="connsiteX2510" fmla="*/ 1835468 w 10799257"/>
              <a:gd name="connsiteY2510" fmla="*/ 1088187 h 3098304"/>
              <a:gd name="connsiteX2511" fmla="*/ 1757744 w 10799257"/>
              <a:gd name="connsiteY2511" fmla="*/ 1165888 h 3098304"/>
              <a:gd name="connsiteX2512" fmla="*/ 1680016 w 10799257"/>
              <a:gd name="connsiteY2512" fmla="*/ 1088187 h 3098304"/>
              <a:gd name="connsiteX2513" fmla="*/ 1757744 w 10799257"/>
              <a:gd name="connsiteY2513" fmla="*/ 1010450 h 3098304"/>
              <a:gd name="connsiteX2514" fmla="*/ 1569502 w 10799257"/>
              <a:gd name="connsiteY2514" fmla="*/ 1010450 h 3098304"/>
              <a:gd name="connsiteX2515" fmla="*/ 1647277 w 10799257"/>
              <a:gd name="connsiteY2515" fmla="*/ 1088187 h 3098304"/>
              <a:gd name="connsiteX2516" fmla="*/ 1569502 w 10799257"/>
              <a:gd name="connsiteY2516" fmla="*/ 1165888 h 3098304"/>
              <a:gd name="connsiteX2517" fmla="*/ 1491796 w 10799257"/>
              <a:gd name="connsiteY2517" fmla="*/ 1088187 h 3098304"/>
              <a:gd name="connsiteX2518" fmla="*/ 1569502 w 10799257"/>
              <a:gd name="connsiteY2518" fmla="*/ 1010450 h 3098304"/>
              <a:gd name="connsiteX2519" fmla="*/ 1385980 w 10799257"/>
              <a:gd name="connsiteY2519" fmla="*/ 1010450 h 3098304"/>
              <a:gd name="connsiteX2520" fmla="*/ 1463744 w 10799257"/>
              <a:gd name="connsiteY2520" fmla="*/ 1088187 h 3098304"/>
              <a:gd name="connsiteX2521" fmla="*/ 1385980 w 10799257"/>
              <a:gd name="connsiteY2521" fmla="*/ 1165888 h 3098304"/>
              <a:gd name="connsiteX2522" fmla="*/ 1308218 w 10799257"/>
              <a:gd name="connsiteY2522" fmla="*/ 1088187 h 3098304"/>
              <a:gd name="connsiteX2523" fmla="*/ 1385980 w 10799257"/>
              <a:gd name="connsiteY2523" fmla="*/ 1010450 h 3098304"/>
              <a:gd name="connsiteX2524" fmla="*/ 8853421 w 10799257"/>
              <a:gd name="connsiteY2524" fmla="*/ 1010449 h 3098304"/>
              <a:gd name="connsiteX2525" fmla="*/ 8931158 w 10799257"/>
              <a:gd name="connsiteY2525" fmla="*/ 1088185 h 3098304"/>
              <a:gd name="connsiteX2526" fmla="*/ 8853421 w 10799257"/>
              <a:gd name="connsiteY2526" fmla="*/ 1165888 h 3098304"/>
              <a:gd name="connsiteX2527" fmla="*/ 8775685 w 10799257"/>
              <a:gd name="connsiteY2527" fmla="*/ 1088185 h 3098304"/>
              <a:gd name="connsiteX2528" fmla="*/ 8853421 w 10799257"/>
              <a:gd name="connsiteY2528" fmla="*/ 1010449 h 3098304"/>
              <a:gd name="connsiteX2529" fmla="*/ 8669908 w 10799257"/>
              <a:gd name="connsiteY2529" fmla="*/ 1010449 h 3098304"/>
              <a:gd name="connsiteX2530" fmla="*/ 8747645 w 10799257"/>
              <a:gd name="connsiteY2530" fmla="*/ 1088185 h 3098304"/>
              <a:gd name="connsiteX2531" fmla="*/ 8669908 w 10799257"/>
              <a:gd name="connsiteY2531" fmla="*/ 1165888 h 3098304"/>
              <a:gd name="connsiteX2532" fmla="*/ 8592171 w 10799257"/>
              <a:gd name="connsiteY2532" fmla="*/ 1088185 h 3098304"/>
              <a:gd name="connsiteX2533" fmla="*/ 8669908 w 10799257"/>
              <a:gd name="connsiteY2533" fmla="*/ 1010449 h 3098304"/>
              <a:gd name="connsiteX2534" fmla="*/ 8481684 w 10799257"/>
              <a:gd name="connsiteY2534" fmla="*/ 1010449 h 3098304"/>
              <a:gd name="connsiteX2535" fmla="*/ 8559421 w 10799257"/>
              <a:gd name="connsiteY2535" fmla="*/ 1088185 h 3098304"/>
              <a:gd name="connsiteX2536" fmla="*/ 8481684 w 10799257"/>
              <a:gd name="connsiteY2536" fmla="*/ 1165888 h 3098304"/>
              <a:gd name="connsiteX2537" fmla="*/ 8403948 w 10799257"/>
              <a:gd name="connsiteY2537" fmla="*/ 1088185 h 3098304"/>
              <a:gd name="connsiteX2538" fmla="*/ 8481684 w 10799257"/>
              <a:gd name="connsiteY2538" fmla="*/ 1010449 h 3098304"/>
              <a:gd name="connsiteX2539" fmla="*/ 8298167 w 10799257"/>
              <a:gd name="connsiteY2539" fmla="*/ 1010449 h 3098304"/>
              <a:gd name="connsiteX2540" fmla="*/ 8375904 w 10799257"/>
              <a:gd name="connsiteY2540" fmla="*/ 1088185 h 3098304"/>
              <a:gd name="connsiteX2541" fmla="*/ 8298167 w 10799257"/>
              <a:gd name="connsiteY2541" fmla="*/ 1165888 h 3098304"/>
              <a:gd name="connsiteX2542" fmla="*/ 8220430 w 10799257"/>
              <a:gd name="connsiteY2542" fmla="*/ 1088185 h 3098304"/>
              <a:gd name="connsiteX2543" fmla="*/ 8298167 w 10799257"/>
              <a:gd name="connsiteY2543" fmla="*/ 1010449 h 3098304"/>
              <a:gd name="connsiteX2544" fmla="*/ 8109949 w 10799257"/>
              <a:gd name="connsiteY2544" fmla="*/ 1010449 h 3098304"/>
              <a:gd name="connsiteX2545" fmla="*/ 8187686 w 10799257"/>
              <a:gd name="connsiteY2545" fmla="*/ 1088185 h 3098304"/>
              <a:gd name="connsiteX2546" fmla="*/ 8109949 w 10799257"/>
              <a:gd name="connsiteY2546" fmla="*/ 1165888 h 3098304"/>
              <a:gd name="connsiteX2547" fmla="*/ 8032212 w 10799257"/>
              <a:gd name="connsiteY2547" fmla="*/ 1088185 h 3098304"/>
              <a:gd name="connsiteX2548" fmla="*/ 8109949 w 10799257"/>
              <a:gd name="connsiteY2548" fmla="*/ 1010449 h 3098304"/>
              <a:gd name="connsiteX2549" fmla="*/ 1462147 w 10799257"/>
              <a:gd name="connsiteY2549" fmla="*/ 915542 h 3098304"/>
              <a:gd name="connsiteX2550" fmla="*/ 1463752 w 10799257"/>
              <a:gd name="connsiteY2550" fmla="*/ 923488 h 3098304"/>
              <a:gd name="connsiteX2551" fmla="*/ 1385988 w 10799257"/>
              <a:gd name="connsiteY2551" fmla="*/ 1001228 h 3098304"/>
              <a:gd name="connsiteX2552" fmla="*/ 1355721 w 10799257"/>
              <a:gd name="connsiteY2552" fmla="*/ 995118 h 3098304"/>
              <a:gd name="connsiteX2553" fmla="*/ 1336670 w 10799257"/>
              <a:gd name="connsiteY2553" fmla="*/ 982277 h 3098304"/>
              <a:gd name="connsiteX2554" fmla="*/ 8786740 w 10799257"/>
              <a:gd name="connsiteY2554" fmla="*/ 885896 h 3098304"/>
              <a:gd name="connsiteX2555" fmla="*/ 8922217 w 10799257"/>
              <a:gd name="connsiteY2555" fmla="*/ 957949 h 3098304"/>
              <a:gd name="connsiteX2556" fmla="*/ 8908389 w 10799257"/>
              <a:gd name="connsiteY2556" fmla="*/ 978459 h 3098304"/>
              <a:gd name="connsiteX2557" fmla="*/ 8853421 w 10799257"/>
              <a:gd name="connsiteY2557" fmla="*/ 1001229 h 3098304"/>
              <a:gd name="connsiteX2558" fmla="*/ 8775685 w 10799257"/>
              <a:gd name="connsiteY2558" fmla="*/ 923490 h 3098304"/>
              <a:gd name="connsiteX2559" fmla="*/ 8781794 w 10799257"/>
              <a:gd name="connsiteY2559" fmla="*/ 893233 h 3098304"/>
              <a:gd name="connsiteX2560" fmla="*/ 1586811 w 10799257"/>
              <a:gd name="connsiteY2560" fmla="*/ 849240 h 3098304"/>
              <a:gd name="connsiteX2561" fmla="*/ 1599802 w 10799257"/>
              <a:gd name="connsiteY2561" fmla="*/ 851861 h 3098304"/>
              <a:gd name="connsiteX2562" fmla="*/ 1647285 w 10799257"/>
              <a:gd name="connsiteY2562" fmla="*/ 923487 h 3098304"/>
              <a:gd name="connsiteX2563" fmla="*/ 1569527 w 10799257"/>
              <a:gd name="connsiteY2563" fmla="*/ 1001228 h 3098304"/>
              <a:gd name="connsiteX2564" fmla="*/ 1491803 w 10799257"/>
              <a:gd name="connsiteY2564" fmla="*/ 923487 h 3098304"/>
              <a:gd name="connsiteX2565" fmla="*/ 1497170 w 10799257"/>
              <a:gd name="connsiteY2565" fmla="*/ 896915 h 3098304"/>
              <a:gd name="connsiteX2566" fmla="*/ 8669908 w 10799257"/>
              <a:gd name="connsiteY2566" fmla="*/ 845754 h 3098304"/>
              <a:gd name="connsiteX2567" fmla="*/ 8747645 w 10799257"/>
              <a:gd name="connsiteY2567" fmla="*/ 923490 h 3098304"/>
              <a:gd name="connsiteX2568" fmla="*/ 8669908 w 10799257"/>
              <a:gd name="connsiteY2568" fmla="*/ 1001229 h 3098304"/>
              <a:gd name="connsiteX2569" fmla="*/ 8592171 w 10799257"/>
              <a:gd name="connsiteY2569" fmla="*/ 923490 h 3098304"/>
              <a:gd name="connsiteX2570" fmla="*/ 8669908 w 10799257"/>
              <a:gd name="connsiteY2570" fmla="*/ 845754 h 3098304"/>
              <a:gd name="connsiteX2571" fmla="*/ 8481684 w 10799257"/>
              <a:gd name="connsiteY2571" fmla="*/ 845754 h 3098304"/>
              <a:gd name="connsiteX2572" fmla="*/ 8559421 w 10799257"/>
              <a:gd name="connsiteY2572" fmla="*/ 923490 h 3098304"/>
              <a:gd name="connsiteX2573" fmla="*/ 8481684 w 10799257"/>
              <a:gd name="connsiteY2573" fmla="*/ 1001229 h 3098304"/>
              <a:gd name="connsiteX2574" fmla="*/ 8403948 w 10799257"/>
              <a:gd name="connsiteY2574" fmla="*/ 923490 h 3098304"/>
              <a:gd name="connsiteX2575" fmla="*/ 8481684 w 10799257"/>
              <a:gd name="connsiteY2575" fmla="*/ 845754 h 3098304"/>
              <a:gd name="connsiteX2576" fmla="*/ 8298167 w 10799257"/>
              <a:gd name="connsiteY2576" fmla="*/ 845754 h 3098304"/>
              <a:gd name="connsiteX2577" fmla="*/ 8375904 w 10799257"/>
              <a:gd name="connsiteY2577" fmla="*/ 923490 h 3098304"/>
              <a:gd name="connsiteX2578" fmla="*/ 8298167 w 10799257"/>
              <a:gd name="connsiteY2578" fmla="*/ 1001229 h 3098304"/>
              <a:gd name="connsiteX2579" fmla="*/ 8220430 w 10799257"/>
              <a:gd name="connsiteY2579" fmla="*/ 923490 h 3098304"/>
              <a:gd name="connsiteX2580" fmla="*/ 8298167 w 10799257"/>
              <a:gd name="connsiteY2580" fmla="*/ 845754 h 3098304"/>
              <a:gd name="connsiteX2581" fmla="*/ 8109949 w 10799257"/>
              <a:gd name="connsiteY2581" fmla="*/ 845754 h 3098304"/>
              <a:gd name="connsiteX2582" fmla="*/ 8187686 w 10799257"/>
              <a:gd name="connsiteY2582" fmla="*/ 923490 h 3098304"/>
              <a:gd name="connsiteX2583" fmla="*/ 8109949 w 10799257"/>
              <a:gd name="connsiteY2583" fmla="*/ 1001229 h 3098304"/>
              <a:gd name="connsiteX2584" fmla="*/ 8032212 w 10799257"/>
              <a:gd name="connsiteY2584" fmla="*/ 923490 h 3098304"/>
              <a:gd name="connsiteX2585" fmla="*/ 8109949 w 10799257"/>
              <a:gd name="connsiteY2585" fmla="*/ 845754 h 3098304"/>
              <a:gd name="connsiteX2586" fmla="*/ 7366472 w 10799257"/>
              <a:gd name="connsiteY2586" fmla="*/ 845754 h 3098304"/>
              <a:gd name="connsiteX2587" fmla="*/ 7444209 w 10799257"/>
              <a:gd name="connsiteY2587" fmla="*/ 923490 h 3098304"/>
              <a:gd name="connsiteX2588" fmla="*/ 7366472 w 10799257"/>
              <a:gd name="connsiteY2588" fmla="*/ 1001229 h 3098304"/>
              <a:gd name="connsiteX2589" fmla="*/ 7288736 w 10799257"/>
              <a:gd name="connsiteY2589" fmla="*/ 923490 h 3098304"/>
              <a:gd name="connsiteX2590" fmla="*/ 7366472 w 10799257"/>
              <a:gd name="connsiteY2590" fmla="*/ 845754 h 3098304"/>
              <a:gd name="connsiteX2591" fmla="*/ 6425365 w 10799257"/>
              <a:gd name="connsiteY2591" fmla="*/ 845754 h 3098304"/>
              <a:gd name="connsiteX2592" fmla="*/ 6503102 w 10799257"/>
              <a:gd name="connsiteY2592" fmla="*/ 923490 h 3098304"/>
              <a:gd name="connsiteX2593" fmla="*/ 6425365 w 10799257"/>
              <a:gd name="connsiteY2593" fmla="*/ 1001230 h 3098304"/>
              <a:gd name="connsiteX2594" fmla="*/ 6347628 w 10799257"/>
              <a:gd name="connsiteY2594" fmla="*/ 923490 h 3098304"/>
              <a:gd name="connsiteX2595" fmla="*/ 6425365 w 10799257"/>
              <a:gd name="connsiteY2595" fmla="*/ 845754 h 3098304"/>
              <a:gd name="connsiteX2596" fmla="*/ 6241850 w 10799257"/>
              <a:gd name="connsiteY2596" fmla="*/ 845754 h 3098304"/>
              <a:gd name="connsiteX2597" fmla="*/ 6319587 w 10799257"/>
              <a:gd name="connsiteY2597" fmla="*/ 923490 h 3098304"/>
              <a:gd name="connsiteX2598" fmla="*/ 6241850 w 10799257"/>
              <a:gd name="connsiteY2598" fmla="*/ 1001230 h 3098304"/>
              <a:gd name="connsiteX2599" fmla="*/ 6164113 w 10799257"/>
              <a:gd name="connsiteY2599" fmla="*/ 923490 h 3098304"/>
              <a:gd name="connsiteX2600" fmla="*/ 6241850 w 10799257"/>
              <a:gd name="connsiteY2600" fmla="*/ 845754 h 3098304"/>
              <a:gd name="connsiteX2601" fmla="*/ 6053630 w 10799257"/>
              <a:gd name="connsiteY2601" fmla="*/ 845752 h 3098304"/>
              <a:gd name="connsiteX2602" fmla="*/ 6131367 w 10799257"/>
              <a:gd name="connsiteY2602" fmla="*/ 923487 h 3098304"/>
              <a:gd name="connsiteX2603" fmla="*/ 6053630 w 10799257"/>
              <a:gd name="connsiteY2603" fmla="*/ 1001228 h 3098304"/>
              <a:gd name="connsiteX2604" fmla="*/ 5975894 w 10799257"/>
              <a:gd name="connsiteY2604" fmla="*/ 923487 h 3098304"/>
              <a:gd name="connsiteX2605" fmla="*/ 6053630 w 10799257"/>
              <a:gd name="connsiteY2605" fmla="*/ 845752 h 3098304"/>
              <a:gd name="connsiteX2606" fmla="*/ 4373793 w 10799257"/>
              <a:gd name="connsiteY2606" fmla="*/ 845752 h 3098304"/>
              <a:gd name="connsiteX2607" fmla="*/ 4451526 w 10799257"/>
              <a:gd name="connsiteY2607" fmla="*/ 923487 h 3098304"/>
              <a:gd name="connsiteX2608" fmla="*/ 4373793 w 10799257"/>
              <a:gd name="connsiteY2608" fmla="*/ 1001228 h 3098304"/>
              <a:gd name="connsiteX2609" fmla="*/ 4296066 w 10799257"/>
              <a:gd name="connsiteY2609" fmla="*/ 923487 h 3098304"/>
              <a:gd name="connsiteX2610" fmla="*/ 4373793 w 10799257"/>
              <a:gd name="connsiteY2610" fmla="*/ 845752 h 3098304"/>
              <a:gd name="connsiteX2611" fmla="*/ 4185559 w 10799257"/>
              <a:gd name="connsiteY2611" fmla="*/ 845752 h 3098304"/>
              <a:gd name="connsiteX2612" fmla="*/ 4263314 w 10799257"/>
              <a:gd name="connsiteY2612" fmla="*/ 923487 h 3098304"/>
              <a:gd name="connsiteX2613" fmla="*/ 4185559 w 10799257"/>
              <a:gd name="connsiteY2613" fmla="*/ 1001228 h 3098304"/>
              <a:gd name="connsiteX2614" fmla="*/ 4107799 w 10799257"/>
              <a:gd name="connsiteY2614" fmla="*/ 923487 h 3098304"/>
              <a:gd name="connsiteX2615" fmla="*/ 4185559 w 10799257"/>
              <a:gd name="connsiteY2615" fmla="*/ 845752 h 3098304"/>
              <a:gd name="connsiteX2616" fmla="*/ 3997354 w 10799257"/>
              <a:gd name="connsiteY2616" fmla="*/ 845752 h 3098304"/>
              <a:gd name="connsiteX2617" fmla="*/ 4075062 w 10799257"/>
              <a:gd name="connsiteY2617" fmla="*/ 923487 h 3098304"/>
              <a:gd name="connsiteX2618" fmla="*/ 3997354 w 10799257"/>
              <a:gd name="connsiteY2618" fmla="*/ 1001228 h 3098304"/>
              <a:gd name="connsiteX2619" fmla="*/ 3919622 w 10799257"/>
              <a:gd name="connsiteY2619" fmla="*/ 923487 h 3098304"/>
              <a:gd name="connsiteX2620" fmla="*/ 3997354 w 10799257"/>
              <a:gd name="connsiteY2620" fmla="*/ 845752 h 3098304"/>
              <a:gd name="connsiteX2621" fmla="*/ 3813851 w 10799257"/>
              <a:gd name="connsiteY2621" fmla="*/ 845752 h 3098304"/>
              <a:gd name="connsiteX2622" fmla="*/ 3891567 w 10799257"/>
              <a:gd name="connsiteY2622" fmla="*/ 923487 h 3098304"/>
              <a:gd name="connsiteX2623" fmla="*/ 3813851 w 10799257"/>
              <a:gd name="connsiteY2623" fmla="*/ 1001228 h 3098304"/>
              <a:gd name="connsiteX2624" fmla="*/ 3736077 w 10799257"/>
              <a:gd name="connsiteY2624" fmla="*/ 923487 h 3098304"/>
              <a:gd name="connsiteX2625" fmla="*/ 3813851 w 10799257"/>
              <a:gd name="connsiteY2625" fmla="*/ 845752 h 3098304"/>
              <a:gd name="connsiteX2626" fmla="*/ 3625636 w 10799257"/>
              <a:gd name="connsiteY2626" fmla="*/ 845752 h 3098304"/>
              <a:gd name="connsiteX2627" fmla="*/ 3703376 w 10799257"/>
              <a:gd name="connsiteY2627" fmla="*/ 923487 h 3098304"/>
              <a:gd name="connsiteX2628" fmla="*/ 3625636 w 10799257"/>
              <a:gd name="connsiteY2628" fmla="*/ 1001228 h 3098304"/>
              <a:gd name="connsiteX2629" fmla="*/ 3547906 w 10799257"/>
              <a:gd name="connsiteY2629" fmla="*/ 923487 h 3098304"/>
              <a:gd name="connsiteX2630" fmla="*/ 3625636 w 10799257"/>
              <a:gd name="connsiteY2630" fmla="*/ 845752 h 3098304"/>
              <a:gd name="connsiteX2631" fmla="*/ 3442100 w 10799257"/>
              <a:gd name="connsiteY2631" fmla="*/ 845752 h 3098304"/>
              <a:gd name="connsiteX2632" fmla="*/ 3519851 w 10799257"/>
              <a:gd name="connsiteY2632" fmla="*/ 923487 h 3098304"/>
              <a:gd name="connsiteX2633" fmla="*/ 3442100 w 10799257"/>
              <a:gd name="connsiteY2633" fmla="*/ 1001228 h 3098304"/>
              <a:gd name="connsiteX2634" fmla="*/ 3364537 w 10799257"/>
              <a:gd name="connsiteY2634" fmla="*/ 923487 h 3098304"/>
              <a:gd name="connsiteX2635" fmla="*/ 3442100 w 10799257"/>
              <a:gd name="connsiteY2635" fmla="*/ 845752 h 3098304"/>
              <a:gd name="connsiteX2636" fmla="*/ 3254053 w 10799257"/>
              <a:gd name="connsiteY2636" fmla="*/ 845752 h 3098304"/>
              <a:gd name="connsiteX2637" fmla="*/ 3331793 w 10799257"/>
              <a:gd name="connsiteY2637" fmla="*/ 923487 h 3098304"/>
              <a:gd name="connsiteX2638" fmla="*/ 3254053 w 10799257"/>
              <a:gd name="connsiteY2638" fmla="*/ 1001228 h 3098304"/>
              <a:gd name="connsiteX2639" fmla="*/ 3176307 w 10799257"/>
              <a:gd name="connsiteY2639" fmla="*/ 923487 h 3098304"/>
              <a:gd name="connsiteX2640" fmla="*/ 3254053 w 10799257"/>
              <a:gd name="connsiteY2640" fmla="*/ 845752 h 3098304"/>
              <a:gd name="connsiteX2641" fmla="*/ 2317622 w 10799257"/>
              <a:gd name="connsiteY2641" fmla="*/ 845752 h 3098304"/>
              <a:gd name="connsiteX2642" fmla="*/ 2395360 w 10799257"/>
              <a:gd name="connsiteY2642" fmla="*/ 923487 h 3098304"/>
              <a:gd name="connsiteX2643" fmla="*/ 2317622 w 10799257"/>
              <a:gd name="connsiteY2643" fmla="*/ 1001228 h 3098304"/>
              <a:gd name="connsiteX2644" fmla="*/ 2239894 w 10799257"/>
              <a:gd name="connsiteY2644" fmla="*/ 923487 h 3098304"/>
              <a:gd name="connsiteX2645" fmla="*/ 2317622 w 10799257"/>
              <a:gd name="connsiteY2645" fmla="*/ 845752 h 3098304"/>
              <a:gd name="connsiteX2646" fmla="*/ 2129431 w 10799257"/>
              <a:gd name="connsiteY2646" fmla="*/ 845752 h 3098304"/>
              <a:gd name="connsiteX2647" fmla="*/ 2207150 w 10799257"/>
              <a:gd name="connsiteY2647" fmla="*/ 923487 h 3098304"/>
              <a:gd name="connsiteX2648" fmla="*/ 2129431 w 10799257"/>
              <a:gd name="connsiteY2648" fmla="*/ 1001228 h 3098304"/>
              <a:gd name="connsiteX2649" fmla="*/ 2051703 w 10799257"/>
              <a:gd name="connsiteY2649" fmla="*/ 923487 h 3098304"/>
              <a:gd name="connsiteX2650" fmla="*/ 2129431 w 10799257"/>
              <a:gd name="connsiteY2650" fmla="*/ 845752 h 3098304"/>
              <a:gd name="connsiteX2651" fmla="*/ 1941239 w 10799257"/>
              <a:gd name="connsiteY2651" fmla="*/ 845752 h 3098304"/>
              <a:gd name="connsiteX2652" fmla="*/ 2018960 w 10799257"/>
              <a:gd name="connsiteY2652" fmla="*/ 923487 h 3098304"/>
              <a:gd name="connsiteX2653" fmla="*/ 1941239 w 10799257"/>
              <a:gd name="connsiteY2653" fmla="*/ 1001228 h 3098304"/>
              <a:gd name="connsiteX2654" fmla="*/ 1863515 w 10799257"/>
              <a:gd name="connsiteY2654" fmla="*/ 923487 h 3098304"/>
              <a:gd name="connsiteX2655" fmla="*/ 1941239 w 10799257"/>
              <a:gd name="connsiteY2655" fmla="*/ 845752 h 3098304"/>
              <a:gd name="connsiteX2656" fmla="*/ 1757753 w 10799257"/>
              <a:gd name="connsiteY2656" fmla="*/ 845752 h 3098304"/>
              <a:gd name="connsiteX2657" fmla="*/ 1835478 w 10799257"/>
              <a:gd name="connsiteY2657" fmla="*/ 923487 h 3098304"/>
              <a:gd name="connsiteX2658" fmla="*/ 1757753 w 10799257"/>
              <a:gd name="connsiteY2658" fmla="*/ 1001228 h 3098304"/>
              <a:gd name="connsiteX2659" fmla="*/ 1680025 w 10799257"/>
              <a:gd name="connsiteY2659" fmla="*/ 923487 h 3098304"/>
              <a:gd name="connsiteX2660" fmla="*/ 1757753 w 10799257"/>
              <a:gd name="connsiteY2660" fmla="*/ 845752 h 3098304"/>
              <a:gd name="connsiteX2661" fmla="*/ 8596457 w 10799257"/>
              <a:gd name="connsiteY2661" fmla="*/ 784733 h 3098304"/>
              <a:gd name="connsiteX2662" fmla="*/ 8597001 w 10799257"/>
              <a:gd name="connsiteY2662" fmla="*/ 784984 h 3098304"/>
              <a:gd name="connsiteX2663" fmla="*/ 8693733 w 10799257"/>
              <a:gd name="connsiteY2663" fmla="*/ 836430 h 3098304"/>
              <a:gd name="connsiteX2664" fmla="*/ 8669908 w 10799257"/>
              <a:gd name="connsiteY2664" fmla="*/ 841240 h 3098304"/>
              <a:gd name="connsiteX2665" fmla="*/ 8598280 w 10799257"/>
              <a:gd name="connsiteY2665" fmla="*/ 793763 h 3098304"/>
              <a:gd name="connsiteX2666" fmla="*/ 1827167 w 10799257"/>
              <a:gd name="connsiteY2666" fmla="*/ 729971 h 3098304"/>
              <a:gd name="connsiteX2667" fmla="*/ 1829376 w 10799257"/>
              <a:gd name="connsiteY2667" fmla="*/ 733247 h 3098304"/>
              <a:gd name="connsiteX2668" fmla="*/ 1835484 w 10799257"/>
              <a:gd name="connsiteY2668" fmla="*/ 763506 h 3098304"/>
              <a:gd name="connsiteX2669" fmla="*/ 1757760 w 10799257"/>
              <a:gd name="connsiteY2669" fmla="*/ 841242 h 3098304"/>
              <a:gd name="connsiteX2670" fmla="*/ 1702792 w 10799257"/>
              <a:gd name="connsiteY2670" fmla="*/ 818473 h 3098304"/>
              <a:gd name="connsiteX2671" fmla="*/ 1687452 w 10799257"/>
              <a:gd name="connsiteY2671" fmla="*/ 795714 h 3098304"/>
              <a:gd name="connsiteX2672" fmla="*/ 1707627 w 10799257"/>
              <a:gd name="connsiteY2672" fmla="*/ 784984 h 3098304"/>
              <a:gd name="connsiteX2673" fmla="*/ 8428408 w 10799257"/>
              <a:gd name="connsiteY2673" fmla="*/ 707396 h 3098304"/>
              <a:gd name="connsiteX2674" fmla="*/ 8558648 w 10799257"/>
              <a:gd name="connsiteY2674" fmla="*/ 767333 h 3098304"/>
              <a:gd name="connsiteX2675" fmla="*/ 8553312 w 10799257"/>
              <a:gd name="connsiteY2675" fmla="*/ 793763 h 3098304"/>
              <a:gd name="connsiteX2676" fmla="*/ 8481684 w 10799257"/>
              <a:gd name="connsiteY2676" fmla="*/ 841240 h 3098304"/>
              <a:gd name="connsiteX2677" fmla="*/ 8403948 w 10799257"/>
              <a:gd name="connsiteY2677" fmla="*/ 763506 h 3098304"/>
              <a:gd name="connsiteX2678" fmla="*/ 8426717 w 10799257"/>
              <a:gd name="connsiteY2678" fmla="*/ 708537 h 3098304"/>
              <a:gd name="connsiteX2679" fmla="*/ 7554693 w 10799257"/>
              <a:gd name="connsiteY2679" fmla="*/ 685769 h 3098304"/>
              <a:gd name="connsiteX2680" fmla="*/ 7632430 w 10799257"/>
              <a:gd name="connsiteY2680" fmla="*/ 763506 h 3098304"/>
              <a:gd name="connsiteX2681" fmla="*/ 7554693 w 10799257"/>
              <a:gd name="connsiteY2681" fmla="*/ 841242 h 3098304"/>
              <a:gd name="connsiteX2682" fmla="*/ 7476957 w 10799257"/>
              <a:gd name="connsiteY2682" fmla="*/ 763506 h 3098304"/>
              <a:gd name="connsiteX2683" fmla="*/ 7554693 w 10799257"/>
              <a:gd name="connsiteY2683" fmla="*/ 685769 h 3098304"/>
              <a:gd name="connsiteX2684" fmla="*/ 4373793 w 10799257"/>
              <a:gd name="connsiteY2684" fmla="*/ 685769 h 3098304"/>
              <a:gd name="connsiteX2685" fmla="*/ 4451526 w 10799257"/>
              <a:gd name="connsiteY2685" fmla="*/ 763506 h 3098304"/>
              <a:gd name="connsiteX2686" fmla="*/ 4373793 w 10799257"/>
              <a:gd name="connsiteY2686" fmla="*/ 841242 h 3098304"/>
              <a:gd name="connsiteX2687" fmla="*/ 4296066 w 10799257"/>
              <a:gd name="connsiteY2687" fmla="*/ 763506 h 3098304"/>
              <a:gd name="connsiteX2688" fmla="*/ 4373793 w 10799257"/>
              <a:gd name="connsiteY2688" fmla="*/ 685769 h 3098304"/>
              <a:gd name="connsiteX2689" fmla="*/ 4185559 w 10799257"/>
              <a:gd name="connsiteY2689" fmla="*/ 685769 h 3098304"/>
              <a:gd name="connsiteX2690" fmla="*/ 4263314 w 10799257"/>
              <a:gd name="connsiteY2690" fmla="*/ 763506 h 3098304"/>
              <a:gd name="connsiteX2691" fmla="*/ 4185559 w 10799257"/>
              <a:gd name="connsiteY2691" fmla="*/ 841242 h 3098304"/>
              <a:gd name="connsiteX2692" fmla="*/ 4107799 w 10799257"/>
              <a:gd name="connsiteY2692" fmla="*/ 763506 h 3098304"/>
              <a:gd name="connsiteX2693" fmla="*/ 4185559 w 10799257"/>
              <a:gd name="connsiteY2693" fmla="*/ 685769 h 3098304"/>
              <a:gd name="connsiteX2694" fmla="*/ 3997354 w 10799257"/>
              <a:gd name="connsiteY2694" fmla="*/ 685769 h 3098304"/>
              <a:gd name="connsiteX2695" fmla="*/ 4075062 w 10799257"/>
              <a:gd name="connsiteY2695" fmla="*/ 763506 h 3098304"/>
              <a:gd name="connsiteX2696" fmla="*/ 3997354 w 10799257"/>
              <a:gd name="connsiteY2696" fmla="*/ 841242 h 3098304"/>
              <a:gd name="connsiteX2697" fmla="*/ 3919622 w 10799257"/>
              <a:gd name="connsiteY2697" fmla="*/ 763506 h 3098304"/>
              <a:gd name="connsiteX2698" fmla="*/ 3997354 w 10799257"/>
              <a:gd name="connsiteY2698" fmla="*/ 685769 h 3098304"/>
              <a:gd name="connsiteX2699" fmla="*/ 3813851 w 10799257"/>
              <a:gd name="connsiteY2699" fmla="*/ 685769 h 3098304"/>
              <a:gd name="connsiteX2700" fmla="*/ 3891567 w 10799257"/>
              <a:gd name="connsiteY2700" fmla="*/ 763506 h 3098304"/>
              <a:gd name="connsiteX2701" fmla="*/ 3813851 w 10799257"/>
              <a:gd name="connsiteY2701" fmla="*/ 841242 h 3098304"/>
              <a:gd name="connsiteX2702" fmla="*/ 3736077 w 10799257"/>
              <a:gd name="connsiteY2702" fmla="*/ 763506 h 3098304"/>
              <a:gd name="connsiteX2703" fmla="*/ 3813851 w 10799257"/>
              <a:gd name="connsiteY2703" fmla="*/ 685769 h 3098304"/>
              <a:gd name="connsiteX2704" fmla="*/ 3625636 w 10799257"/>
              <a:gd name="connsiteY2704" fmla="*/ 685769 h 3098304"/>
              <a:gd name="connsiteX2705" fmla="*/ 3703376 w 10799257"/>
              <a:gd name="connsiteY2705" fmla="*/ 763506 h 3098304"/>
              <a:gd name="connsiteX2706" fmla="*/ 3625636 w 10799257"/>
              <a:gd name="connsiteY2706" fmla="*/ 841242 h 3098304"/>
              <a:gd name="connsiteX2707" fmla="*/ 3547906 w 10799257"/>
              <a:gd name="connsiteY2707" fmla="*/ 763506 h 3098304"/>
              <a:gd name="connsiteX2708" fmla="*/ 3625636 w 10799257"/>
              <a:gd name="connsiteY2708" fmla="*/ 685769 h 3098304"/>
              <a:gd name="connsiteX2709" fmla="*/ 3442100 w 10799257"/>
              <a:gd name="connsiteY2709" fmla="*/ 685769 h 3098304"/>
              <a:gd name="connsiteX2710" fmla="*/ 3519851 w 10799257"/>
              <a:gd name="connsiteY2710" fmla="*/ 763506 h 3098304"/>
              <a:gd name="connsiteX2711" fmla="*/ 3442100 w 10799257"/>
              <a:gd name="connsiteY2711" fmla="*/ 841242 h 3098304"/>
              <a:gd name="connsiteX2712" fmla="*/ 3364543 w 10799257"/>
              <a:gd name="connsiteY2712" fmla="*/ 763506 h 3098304"/>
              <a:gd name="connsiteX2713" fmla="*/ 3442100 w 10799257"/>
              <a:gd name="connsiteY2713" fmla="*/ 685769 h 3098304"/>
              <a:gd name="connsiteX2714" fmla="*/ 3254060 w 10799257"/>
              <a:gd name="connsiteY2714" fmla="*/ 685769 h 3098304"/>
              <a:gd name="connsiteX2715" fmla="*/ 3331797 w 10799257"/>
              <a:gd name="connsiteY2715" fmla="*/ 763506 h 3098304"/>
              <a:gd name="connsiteX2716" fmla="*/ 3254060 w 10799257"/>
              <a:gd name="connsiteY2716" fmla="*/ 841242 h 3098304"/>
              <a:gd name="connsiteX2717" fmla="*/ 3176313 w 10799257"/>
              <a:gd name="connsiteY2717" fmla="*/ 763506 h 3098304"/>
              <a:gd name="connsiteX2718" fmla="*/ 3254060 w 10799257"/>
              <a:gd name="connsiteY2718" fmla="*/ 685769 h 3098304"/>
              <a:gd name="connsiteX2719" fmla="*/ 2129431 w 10799257"/>
              <a:gd name="connsiteY2719" fmla="*/ 685769 h 3098304"/>
              <a:gd name="connsiteX2720" fmla="*/ 2207154 w 10799257"/>
              <a:gd name="connsiteY2720" fmla="*/ 763506 h 3098304"/>
              <a:gd name="connsiteX2721" fmla="*/ 2129431 w 10799257"/>
              <a:gd name="connsiteY2721" fmla="*/ 841242 h 3098304"/>
              <a:gd name="connsiteX2722" fmla="*/ 2051705 w 10799257"/>
              <a:gd name="connsiteY2722" fmla="*/ 763506 h 3098304"/>
              <a:gd name="connsiteX2723" fmla="*/ 2129431 w 10799257"/>
              <a:gd name="connsiteY2723" fmla="*/ 685769 h 3098304"/>
              <a:gd name="connsiteX2724" fmla="*/ 1941244 w 10799257"/>
              <a:gd name="connsiteY2724" fmla="*/ 685769 h 3098304"/>
              <a:gd name="connsiteX2725" fmla="*/ 2018966 w 10799257"/>
              <a:gd name="connsiteY2725" fmla="*/ 763506 h 3098304"/>
              <a:gd name="connsiteX2726" fmla="*/ 1941244 w 10799257"/>
              <a:gd name="connsiteY2726" fmla="*/ 841242 h 3098304"/>
              <a:gd name="connsiteX2727" fmla="*/ 1863520 w 10799257"/>
              <a:gd name="connsiteY2727" fmla="*/ 763506 h 3098304"/>
              <a:gd name="connsiteX2728" fmla="*/ 1941244 w 10799257"/>
              <a:gd name="connsiteY2728" fmla="*/ 685769 h 3098304"/>
              <a:gd name="connsiteX2729" fmla="*/ 2203878 w 10799257"/>
              <a:gd name="connsiteY2729" fmla="*/ 563755 h 3098304"/>
              <a:gd name="connsiteX2730" fmla="*/ 2207156 w 10799257"/>
              <a:gd name="connsiteY2730" fmla="*/ 579991 h 3098304"/>
              <a:gd name="connsiteX2731" fmla="*/ 2129440 w 10799257"/>
              <a:gd name="connsiteY2731" fmla="*/ 657724 h 3098304"/>
              <a:gd name="connsiteX2732" fmla="*/ 2074476 w 10799257"/>
              <a:gd name="connsiteY2732" fmla="*/ 634957 h 3098304"/>
              <a:gd name="connsiteX2733" fmla="*/ 2064804 w 10799257"/>
              <a:gd name="connsiteY2733" fmla="*/ 620609 h 3098304"/>
              <a:gd name="connsiteX2734" fmla="*/ 2098478 w 10799257"/>
              <a:gd name="connsiteY2734" fmla="*/ 605112 h 3098304"/>
              <a:gd name="connsiteX2735" fmla="*/ 7926434 w 10799257"/>
              <a:gd name="connsiteY2735" fmla="*/ 502255 h 3098304"/>
              <a:gd name="connsiteX2736" fmla="*/ 8004171 w 10799257"/>
              <a:gd name="connsiteY2736" fmla="*/ 579989 h 3098304"/>
              <a:gd name="connsiteX2737" fmla="*/ 7926434 w 10799257"/>
              <a:gd name="connsiteY2737" fmla="*/ 657724 h 3098304"/>
              <a:gd name="connsiteX2738" fmla="*/ 7848697 w 10799257"/>
              <a:gd name="connsiteY2738" fmla="*/ 579989 h 3098304"/>
              <a:gd name="connsiteX2739" fmla="*/ 7926434 w 10799257"/>
              <a:gd name="connsiteY2739" fmla="*/ 502255 h 3098304"/>
              <a:gd name="connsiteX2740" fmla="*/ 7738213 w 10799257"/>
              <a:gd name="connsiteY2740" fmla="*/ 502255 h 3098304"/>
              <a:gd name="connsiteX2741" fmla="*/ 7815950 w 10799257"/>
              <a:gd name="connsiteY2741" fmla="*/ 579989 h 3098304"/>
              <a:gd name="connsiteX2742" fmla="*/ 7738213 w 10799257"/>
              <a:gd name="connsiteY2742" fmla="*/ 657724 h 3098304"/>
              <a:gd name="connsiteX2743" fmla="*/ 7660476 w 10799257"/>
              <a:gd name="connsiteY2743" fmla="*/ 579989 h 3098304"/>
              <a:gd name="connsiteX2744" fmla="*/ 7738213 w 10799257"/>
              <a:gd name="connsiteY2744" fmla="*/ 502255 h 3098304"/>
              <a:gd name="connsiteX2745" fmla="*/ 4373793 w 10799257"/>
              <a:gd name="connsiteY2745" fmla="*/ 502255 h 3098304"/>
              <a:gd name="connsiteX2746" fmla="*/ 4451526 w 10799257"/>
              <a:gd name="connsiteY2746" fmla="*/ 579989 h 3098304"/>
              <a:gd name="connsiteX2747" fmla="*/ 4373793 w 10799257"/>
              <a:gd name="connsiteY2747" fmla="*/ 657724 h 3098304"/>
              <a:gd name="connsiteX2748" fmla="*/ 4296066 w 10799257"/>
              <a:gd name="connsiteY2748" fmla="*/ 579989 h 3098304"/>
              <a:gd name="connsiteX2749" fmla="*/ 4373793 w 10799257"/>
              <a:gd name="connsiteY2749" fmla="*/ 502255 h 3098304"/>
              <a:gd name="connsiteX2750" fmla="*/ 4185559 w 10799257"/>
              <a:gd name="connsiteY2750" fmla="*/ 502255 h 3098304"/>
              <a:gd name="connsiteX2751" fmla="*/ 4263314 w 10799257"/>
              <a:gd name="connsiteY2751" fmla="*/ 579989 h 3098304"/>
              <a:gd name="connsiteX2752" fmla="*/ 4185559 w 10799257"/>
              <a:gd name="connsiteY2752" fmla="*/ 657724 h 3098304"/>
              <a:gd name="connsiteX2753" fmla="*/ 4107799 w 10799257"/>
              <a:gd name="connsiteY2753" fmla="*/ 579989 h 3098304"/>
              <a:gd name="connsiteX2754" fmla="*/ 4185559 w 10799257"/>
              <a:gd name="connsiteY2754" fmla="*/ 502255 h 3098304"/>
              <a:gd name="connsiteX2755" fmla="*/ 3997354 w 10799257"/>
              <a:gd name="connsiteY2755" fmla="*/ 502255 h 3098304"/>
              <a:gd name="connsiteX2756" fmla="*/ 4075062 w 10799257"/>
              <a:gd name="connsiteY2756" fmla="*/ 579989 h 3098304"/>
              <a:gd name="connsiteX2757" fmla="*/ 3997354 w 10799257"/>
              <a:gd name="connsiteY2757" fmla="*/ 657724 h 3098304"/>
              <a:gd name="connsiteX2758" fmla="*/ 3919622 w 10799257"/>
              <a:gd name="connsiteY2758" fmla="*/ 579989 h 3098304"/>
              <a:gd name="connsiteX2759" fmla="*/ 3997354 w 10799257"/>
              <a:gd name="connsiteY2759" fmla="*/ 502255 h 3098304"/>
              <a:gd name="connsiteX2760" fmla="*/ 3813851 w 10799257"/>
              <a:gd name="connsiteY2760" fmla="*/ 502255 h 3098304"/>
              <a:gd name="connsiteX2761" fmla="*/ 3891567 w 10799257"/>
              <a:gd name="connsiteY2761" fmla="*/ 579989 h 3098304"/>
              <a:gd name="connsiteX2762" fmla="*/ 3813851 w 10799257"/>
              <a:gd name="connsiteY2762" fmla="*/ 657724 h 3098304"/>
              <a:gd name="connsiteX2763" fmla="*/ 3736077 w 10799257"/>
              <a:gd name="connsiteY2763" fmla="*/ 579989 h 3098304"/>
              <a:gd name="connsiteX2764" fmla="*/ 3813851 w 10799257"/>
              <a:gd name="connsiteY2764" fmla="*/ 502255 h 3098304"/>
              <a:gd name="connsiteX2765" fmla="*/ 3625636 w 10799257"/>
              <a:gd name="connsiteY2765" fmla="*/ 502255 h 3098304"/>
              <a:gd name="connsiteX2766" fmla="*/ 3703376 w 10799257"/>
              <a:gd name="connsiteY2766" fmla="*/ 579989 h 3098304"/>
              <a:gd name="connsiteX2767" fmla="*/ 3625636 w 10799257"/>
              <a:gd name="connsiteY2767" fmla="*/ 657724 h 3098304"/>
              <a:gd name="connsiteX2768" fmla="*/ 3547906 w 10799257"/>
              <a:gd name="connsiteY2768" fmla="*/ 579989 h 3098304"/>
              <a:gd name="connsiteX2769" fmla="*/ 3625636 w 10799257"/>
              <a:gd name="connsiteY2769" fmla="*/ 502255 h 3098304"/>
              <a:gd name="connsiteX2770" fmla="*/ 3442100 w 10799257"/>
              <a:gd name="connsiteY2770" fmla="*/ 502255 h 3098304"/>
              <a:gd name="connsiteX2771" fmla="*/ 3519851 w 10799257"/>
              <a:gd name="connsiteY2771" fmla="*/ 579989 h 3098304"/>
              <a:gd name="connsiteX2772" fmla="*/ 3442100 w 10799257"/>
              <a:gd name="connsiteY2772" fmla="*/ 657724 h 3098304"/>
              <a:gd name="connsiteX2773" fmla="*/ 3364545 w 10799257"/>
              <a:gd name="connsiteY2773" fmla="*/ 579989 h 3098304"/>
              <a:gd name="connsiteX2774" fmla="*/ 3442100 w 10799257"/>
              <a:gd name="connsiteY2774" fmla="*/ 502255 h 3098304"/>
              <a:gd name="connsiteX2775" fmla="*/ 3254065 w 10799257"/>
              <a:gd name="connsiteY2775" fmla="*/ 502255 h 3098304"/>
              <a:gd name="connsiteX2776" fmla="*/ 3331797 w 10799257"/>
              <a:gd name="connsiteY2776" fmla="*/ 579989 h 3098304"/>
              <a:gd name="connsiteX2777" fmla="*/ 3254065 w 10799257"/>
              <a:gd name="connsiteY2777" fmla="*/ 657724 h 3098304"/>
              <a:gd name="connsiteX2778" fmla="*/ 3176318 w 10799257"/>
              <a:gd name="connsiteY2778" fmla="*/ 579989 h 3098304"/>
              <a:gd name="connsiteX2779" fmla="*/ 3254065 w 10799257"/>
              <a:gd name="connsiteY2779" fmla="*/ 502255 h 3098304"/>
              <a:gd name="connsiteX2780" fmla="*/ 3061136 w 10799257"/>
              <a:gd name="connsiteY2780" fmla="*/ 502255 h 3098304"/>
              <a:gd name="connsiteX2781" fmla="*/ 3138881 w 10799257"/>
              <a:gd name="connsiteY2781" fmla="*/ 579989 h 3098304"/>
              <a:gd name="connsiteX2782" fmla="*/ 3061136 w 10799257"/>
              <a:gd name="connsiteY2782" fmla="*/ 657724 h 3098304"/>
              <a:gd name="connsiteX2783" fmla="*/ 2983381 w 10799257"/>
              <a:gd name="connsiteY2783" fmla="*/ 579989 h 3098304"/>
              <a:gd name="connsiteX2784" fmla="*/ 3061136 w 10799257"/>
              <a:gd name="connsiteY2784" fmla="*/ 502255 h 3098304"/>
              <a:gd name="connsiteX2785" fmla="*/ 2882313 w 10799257"/>
              <a:gd name="connsiteY2785" fmla="*/ 502255 h 3098304"/>
              <a:gd name="connsiteX2786" fmla="*/ 2960060 w 10799257"/>
              <a:gd name="connsiteY2786" fmla="*/ 579989 h 3098304"/>
              <a:gd name="connsiteX2787" fmla="*/ 2882313 w 10799257"/>
              <a:gd name="connsiteY2787" fmla="*/ 657724 h 3098304"/>
              <a:gd name="connsiteX2788" fmla="*/ 2804586 w 10799257"/>
              <a:gd name="connsiteY2788" fmla="*/ 579989 h 3098304"/>
              <a:gd name="connsiteX2789" fmla="*/ 2882313 w 10799257"/>
              <a:gd name="connsiteY2789" fmla="*/ 502255 h 3098304"/>
              <a:gd name="connsiteX2790" fmla="*/ 2689413 w 10799257"/>
              <a:gd name="connsiteY2790" fmla="*/ 502255 h 3098304"/>
              <a:gd name="connsiteX2791" fmla="*/ 2767122 w 10799257"/>
              <a:gd name="connsiteY2791" fmla="*/ 579991 h 3098304"/>
              <a:gd name="connsiteX2792" fmla="*/ 2689413 w 10799257"/>
              <a:gd name="connsiteY2792" fmla="*/ 657724 h 3098304"/>
              <a:gd name="connsiteX2793" fmla="*/ 2611683 w 10799257"/>
              <a:gd name="connsiteY2793" fmla="*/ 579991 h 3098304"/>
              <a:gd name="connsiteX2794" fmla="*/ 2689413 w 10799257"/>
              <a:gd name="connsiteY2794" fmla="*/ 502255 h 3098304"/>
              <a:gd name="connsiteX2795" fmla="*/ 2748247 w 10799257"/>
              <a:gd name="connsiteY2795" fmla="*/ 366081 h 3098304"/>
              <a:gd name="connsiteX2796" fmla="*/ 2761018 w 10799257"/>
              <a:gd name="connsiteY2796" fmla="*/ 385032 h 3098304"/>
              <a:gd name="connsiteX2797" fmla="*/ 2767122 w 10799257"/>
              <a:gd name="connsiteY2797" fmla="*/ 415288 h 3098304"/>
              <a:gd name="connsiteX2798" fmla="*/ 2689413 w 10799257"/>
              <a:gd name="connsiteY2798" fmla="*/ 493040 h 3098304"/>
              <a:gd name="connsiteX2799" fmla="*/ 2611683 w 10799257"/>
              <a:gd name="connsiteY2799" fmla="*/ 415288 h 3098304"/>
              <a:gd name="connsiteX2800" fmla="*/ 2612650 w 10799257"/>
              <a:gd name="connsiteY2800" fmla="*/ 410501 h 3098304"/>
              <a:gd name="connsiteX2801" fmla="*/ 3254065 w 10799257"/>
              <a:gd name="connsiteY2801" fmla="*/ 337555 h 3098304"/>
              <a:gd name="connsiteX2802" fmla="*/ 3331797 w 10799257"/>
              <a:gd name="connsiteY2802" fmla="*/ 415288 h 3098304"/>
              <a:gd name="connsiteX2803" fmla="*/ 3254065 w 10799257"/>
              <a:gd name="connsiteY2803" fmla="*/ 493040 h 3098304"/>
              <a:gd name="connsiteX2804" fmla="*/ 3176318 w 10799257"/>
              <a:gd name="connsiteY2804" fmla="*/ 415288 h 3098304"/>
              <a:gd name="connsiteX2805" fmla="*/ 3254065 w 10799257"/>
              <a:gd name="connsiteY2805" fmla="*/ 337555 h 3098304"/>
              <a:gd name="connsiteX2806" fmla="*/ 3061140 w 10799257"/>
              <a:gd name="connsiteY2806" fmla="*/ 337555 h 3098304"/>
              <a:gd name="connsiteX2807" fmla="*/ 3138881 w 10799257"/>
              <a:gd name="connsiteY2807" fmla="*/ 415288 h 3098304"/>
              <a:gd name="connsiteX2808" fmla="*/ 3061140 w 10799257"/>
              <a:gd name="connsiteY2808" fmla="*/ 493040 h 3098304"/>
              <a:gd name="connsiteX2809" fmla="*/ 2983383 w 10799257"/>
              <a:gd name="connsiteY2809" fmla="*/ 415288 h 3098304"/>
              <a:gd name="connsiteX2810" fmla="*/ 3061140 w 10799257"/>
              <a:gd name="connsiteY2810" fmla="*/ 337555 h 3098304"/>
              <a:gd name="connsiteX2811" fmla="*/ 2882313 w 10799257"/>
              <a:gd name="connsiteY2811" fmla="*/ 337555 h 3098304"/>
              <a:gd name="connsiteX2812" fmla="*/ 2960060 w 10799257"/>
              <a:gd name="connsiteY2812" fmla="*/ 415288 h 3098304"/>
              <a:gd name="connsiteX2813" fmla="*/ 2882313 w 10799257"/>
              <a:gd name="connsiteY2813" fmla="*/ 493040 h 3098304"/>
              <a:gd name="connsiteX2814" fmla="*/ 2804586 w 10799257"/>
              <a:gd name="connsiteY2814" fmla="*/ 415288 h 3098304"/>
              <a:gd name="connsiteX2815" fmla="*/ 2882313 w 10799257"/>
              <a:gd name="connsiteY2815" fmla="*/ 337555 h 3098304"/>
              <a:gd name="connsiteX2816" fmla="*/ 5870113 w 10799257"/>
              <a:gd name="connsiteY2816" fmla="*/ 337554 h 3098304"/>
              <a:gd name="connsiteX2817" fmla="*/ 5947850 w 10799257"/>
              <a:gd name="connsiteY2817" fmla="*/ 415288 h 3098304"/>
              <a:gd name="connsiteX2818" fmla="*/ 5870113 w 10799257"/>
              <a:gd name="connsiteY2818" fmla="*/ 493040 h 3098304"/>
              <a:gd name="connsiteX2819" fmla="*/ 5792376 w 10799257"/>
              <a:gd name="connsiteY2819" fmla="*/ 415288 h 3098304"/>
              <a:gd name="connsiteX2820" fmla="*/ 5870113 w 10799257"/>
              <a:gd name="connsiteY2820" fmla="*/ 337554 h 3098304"/>
              <a:gd name="connsiteX2821" fmla="*/ 4373793 w 10799257"/>
              <a:gd name="connsiteY2821" fmla="*/ 337554 h 3098304"/>
              <a:gd name="connsiteX2822" fmla="*/ 4451526 w 10799257"/>
              <a:gd name="connsiteY2822" fmla="*/ 415288 h 3098304"/>
              <a:gd name="connsiteX2823" fmla="*/ 4373793 w 10799257"/>
              <a:gd name="connsiteY2823" fmla="*/ 493040 h 3098304"/>
              <a:gd name="connsiteX2824" fmla="*/ 4296066 w 10799257"/>
              <a:gd name="connsiteY2824" fmla="*/ 415288 h 3098304"/>
              <a:gd name="connsiteX2825" fmla="*/ 4373793 w 10799257"/>
              <a:gd name="connsiteY2825" fmla="*/ 337554 h 3098304"/>
              <a:gd name="connsiteX2826" fmla="*/ 4185562 w 10799257"/>
              <a:gd name="connsiteY2826" fmla="*/ 337554 h 3098304"/>
              <a:gd name="connsiteX2827" fmla="*/ 4263323 w 10799257"/>
              <a:gd name="connsiteY2827" fmla="*/ 415288 h 3098304"/>
              <a:gd name="connsiteX2828" fmla="*/ 4185562 w 10799257"/>
              <a:gd name="connsiteY2828" fmla="*/ 493040 h 3098304"/>
              <a:gd name="connsiteX2829" fmla="*/ 4107803 w 10799257"/>
              <a:gd name="connsiteY2829" fmla="*/ 415288 h 3098304"/>
              <a:gd name="connsiteX2830" fmla="*/ 4185562 w 10799257"/>
              <a:gd name="connsiteY2830" fmla="*/ 337554 h 3098304"/>
              <a:gd name="connsiteX2831" fmla="*/ 3997354 w 10799257"/>
              <a:gd name="connsiteY2831" fmla="*/ 337554 h 3098304"/>
              <a:gd name="connsiteX2832" fmla="*/ 4075062 w 10799257"/>
              <a:gd name="connsiteY2832" fmla="*/ 415288 h 3098304"/>
              <a:gd name="connsiteX2833" fmla="*/ 3997354 w 10799257"/>
              <a:gd name="connsiteY2833" fmla="*/ 493040 h 3098304"/>
              <a:gd name="connsiteX2834" fmla="*/ 3919622 w 10799257"/>
              <a:gd name="connsiteY2834" fmla="*/ 415288 h 3098304"/>
              <a:gd name="connsiteX2835" fmla="*/ 3997354 w 10799257"/>
              <a:gd name="connsiteY2835" fmla="*/ 337554 h 3098304"/>
              <a:gd name="connsiteX2836" fmla="*/ 3813851 w 10799257"/>
              <a:gd name="connsiteY2836" fmla="*/ 337554 h 3098304"/>
              <a:gd name="connsiteX2837" fmla="*/ 3891567 w 10799257"/>
              <a:gd name="connsiteY2837" fmla="*/ 415288 h 3098304"/>
              <a:gd name="connsiteX2838" fmla="*/ 3813851 w 10799257"/>
              <a:gd name="connsiteY2838" fmla="*/ 493040 h 3098304"/>
              <a:gd name="connsiteX2839" fmla="*/ 3736077 w 10799257"/>
              <a:gd name="connsiteY2839" fmla="*/ 415288 h 3098304"/>
              <a:gd name="connsiteX2840" fmla="*/ 3813851 w 10799257"/>
              <a:gd name="connsiteY2840" fmla="*/ 337554 h 3098304"/>
              <a:gd name="connsiteX2841" fmla="*/ 3625636 w 10799257"/>
              <a:gd name="connsiteY2841" fmla="*/ 337554 h 3098304"/>
              <a:gd name="connsiteX2842" fmla="*/ 3703376 w 10799257"/>
              <a:gd name="connsiteY2842" fmla="*/ 415288 h 3098304"/>
              <a:gd name="connsiteX2843" fmla="*/ 3625636 w 10799257"/>
              <a:gd name="connsiteY2843" fmla="*/ 493040 h 3098304"/>
              <a:gd name="connsiteX2844" fmla="*/ 3547906 w 10799257"/>
              <a:gd name="connsiteY2844" fmla="*/ 415288 h 3098304"/>
              <a:gd name="connsiteX2845" fmla="*/ 3625636 w 10799257"/>
              <a:gd name="connsiteY2845" fmla="*/ 337554 h 3098304"/>
              <a:gd name="connsiteX2846" fmla="*/ 3442100 w 10799257"/>
              <a:gd name="connsiteY2846" fmla="*/ 337554 h 3098304"/>
              <a:gd name="connsiteX2847" fmla="*/ 3519851 w 10799257"/>
              <a:gd name="connsiteY2847" fmla="*/ 415288 h 3098304"/>
              <a:gd name="connsiteX2848" fmla="*/ 3442100 w 10799257"/>
              <a:gd name="connsiteY2848" fmla="*/ 493040 h 3098304"/>
              <a:gd name="connsiteX2849" fmla="*/ 3364551 w 10799257"/>
              <a:gd name="connsiteY2849" fmla="*/ 415288 h 3098304"/>
              <a:gd name="connsiteX2850" fmla="*/ 3442100 w 10799257"/>
              <a:gd name="connsiteY2850" fmla="*/ 337554 h 3098304"/>
              <a:gd name="connsiteX2851" fmla="*/ 3135600 w 10799257"/>
              <a:gd name="connsiteY2851" fmla="*/ 252734 h 3098304"/>
              <a:gd name="connsiteX2852" fmla="*/ 3132770 w 10799257"/>
              <a:gd name="connsiteY2852" fmla="*/ 266748 h 3098304"/>
              <a:gd name="connsiteX2853" fmla="*/ 3061140 w 10799257"/>
              <a:gd name="connsiteY2853" fmla="*/ 314222 h 3098304"/>
              <a:gd name="connsiteX2854" fmla="*/ 3006157 w 10799257"/>
              <a:gd name="connsiteY2854" fmla="*/ 291456 h 3098304"/>
              <a:gd name="connsiteX2855" fmla="*/ 3003640 w 10799257"/>
              <a:gd name="connsiteY2855" fmla="*/ 287723 h 3098304"/>
              <a:gd name="connsiteX2856" fmla="*/ 3323461 w 10799257"/>
              <a:gd name="connsiteY2856" fmla="*/ 202923 h 3098304"/>
              <a:gd name="connsiteX2857" fmla="*/ 3325693 w 10799257"/>
              <a:gd name="connsiteY2857" fmla="*/ 206233 h 3098304"/>
              <a:gd name="connsiteX2858" fmla="*/ 3331804 w 10799257"/>
              <a:gd name="connsiteY2858" fmla="*/ 236490 h 3098304"/>
              <a:gd name="connsiteX2859" fmla="*/ 3254069 w 10799257"/>
              <a:gd name="connsiteY2859" fmla="*/ 314222 h 3098304"/>
              <a:gd name="connsiteX2860" fmla="*/ 3182428 w 10799257"/>
              <a:gd name="connsiteY2860" fmla="*/ 266748 h 3098304"/>
              <a:gd name="connsiteX2861" fmla="*/ 3177362 w 10799257"/>
              <a:gd name="connsiteY2861" fmla="*/ 241661 h 3098304"/>
              <a:gd name="connsiteX2862" fmla="*/ 3479450 w 10799257"/>
              <a:gd name="connsiteY2862" fmla="*/ 169640 h 3098304"/>
              <a:gd name="connsiteX2863" fmla="*/ 3497078 w 10799257"/>
              <a:gd name="connsiteY2863" fmla="*/ 181523 h 3098304"/>
              <a:gd name="connsiteX2864" fmla="*/ 3519851 w 10799257"/>
              <a:gd name="connsiteY2864" fmla="*/ 236490 h 3098304"/>
              <a:gd name="connsiteX2865" fmla="*/ 3442100 w 10799257"/>
              <a:gd name="connsiteY2865" fmla="*/ 314222 h 3098304"/>
              <a:gd name="connsiteX2866" fmla="*/ 3364554 w 10799257"/>
              <a:gd name="connsiteY2866" fmla="*/ 236490 h 3098304"/>
              <a:gd name="connsiteX2867" fmla="*/ 3370660 w 10799257"/>
              <a:gd name="connsiteY2867" fmla="*/ 206233 h 3098304"/>
              <a:gd name="connsiteX2868" fmla="*/ 3381860 w 10799257"/>
              <a:gd name="connsiteY2868" fmla="*/ 189598 h 3098304"/>
              <a:gd name="connsiteX2869" fmla="*/ 6053633 w 10799257"/>
              <a:gd name="connsiteY2869" fmla="*/ 158753 h 3098304"/>
              <a:gd name="connsiteX2870" fmla="*/ 6131370 w 10799257"/>
              <a:gd name="connsiteY2870" fmla="*/ 236488 h 3098304"/>
              <a:gd name="connsiteX2871" fmla="*/ 6053633 w 10799257"/>
              <a:gd name="connsiteY2871" fmla="*/ 314222 h 3098304"/>
              <a:gd name="connsiteX2872" fmla="*/ 5975896 w 10799257"/>
              <a:gd name="connsiteY2872" fmla="*/ 236488 h 3098304"/>
              <a:gd name="connsiteX2873" fmla="*/ 6053633 w 10799257"/>
              <a:gd name="connsiteY2873" fmla="*/ 158753 h 3098304"/>
              <a:gd name="connsiteX2874" fmla="*/ 5870113 w 10799257"/>
              <a:gd name="connsiteY2874" fmla="*/ 158753 h 3098304"/>
              <a:gd name="connsiteX2875" fmla="*/ 5947850 w 10799257"/>
              <a:gd name="connsiteY2875" fmla="*/ 236488 h 3098304"/>
              <a:gd name="connsiteX2876" fmla="*/ 5870113 w 10799257"/>
              <a:gd name="connsiteY2876" fmla="*/ 314222 h 3098304"/>
              <a:gd name="connsiteX2877" fmla="*/ 5792376 w 10799257"/>
              <a:gd name="connsiteY2877" fmla="*/ 236488 h 3098304"/>
              <a:gd name="connsiteX2878" fmla="*/ 5870113 w 10799257"/>
              <a:gd name="connsiteY2878" fmla="*/ 158753 h 3098304"/>
              <a:gd name="connsiteX2879" fmla="*/ 4557299 w 10799257"/>
              <a:gd name="connsiteY2879" fmla="*/ 158753 h 3098304"/>
              <a:gd name="connsiteX2880" fmla="*/ 4635049 w 10799257"/>
              <a:gd name="connsiteY2880" fmla="*/ 236488 h 3098304"/>
              <a:gd name="connsiteX2881" fmla="*/ 4557299 w 10799257"/>
              <a:gd name="connsiteY2881" fmla="*/ 314222 h 3098304"/>
              <a:gd name="connsiteX2882" fmla="*/ 4479562 w 10799257"/>
              <a:gd name="connsiteY2882" fmla="*/ 236488 h 3098304"/>
              <a:gd name="connsiteX2883" fmla="*/ 4557299 w 10799257"/>
              <a:gd name="connsiteY2883" fmla="*/ 158753 h 3098304"/>
              <a:gd name="connsiteX2884" fmla="*/ 4373793 w 10799257"/>
              <a:gd name="connsiteY2884" fmla="*/ 158753 h 3098304"/>
              <a:gd name="connsiteX2885" fmla="*/ 4451526 w 10799257"/>
              <a:gd name="connsiteY2885" fmla="*/ 236488 h 3098304"/>
              <a:gd name="connsiteX2886" fmla="*/ 4373793 w 10799257"/>
              <a:gd name="connsiteY2886" fmla="*/ 314222 h 3098304"/>
              <a:gd name="connsiteX2887" fmla="*/ 4296066 w 10799257"/>
              <a:gd name="connsiteY2887" fmla="*/ 236488 h 3098304"/>
              <a:gd name="connsiteX2888" fmla="*/ 4373793 w 10799257"/>
              <a:gd name="connsiteY2888" fmla="*/ 158753 h 3098304"/>
              <a:gd name="connsiteX2889" fmla="*/ 4185562 w 10799257"/>
              <a:gd name="connsiteY2889" fmla="*/ 158753 h 3098304"/>
              <a:gd name="connsiteX2890" fmla="*/ 4263323 w 10799257"/>
              <a:gd name="connsiteY2890" fmla="*/ 236490 h 3098304"/>
              <a:gd name="connsiteX2891" fmla="*/ 4185562 w 10799257"/>
              <a:gd name="connsiteY2891" fmla="*/ 314222 h 3098304"/>
              <a:gd name="connsiteX2892" fmla="*/ 4107803 w 10799257"/>
              <a:gd name="connsiteY2892" fmla="*/ 236490 h 3098304"/>
              <a:gd name="connsiteX2893" fmla="*/ 4185562 w 10799257"/>
              <a:gd name="connsiteY2893" fmla="*/ 158753 h 3098304"/>
              <a:gd name="connsiteX2894" fmla="*/ 3997354 w 10799257"/>
              <a:gd name="connsiteY2894" fmla="*/ 158753 h 3098304"/>
              <a:gd name="connsiteX2895" fmla="*/ 4075062 w 10799257"/>
              <a:gd name="connsiteY2895" fmla="*/ 236490 h 3098304"/>
              <a:gd name="connsiteX2896" fmla="*/ 3997354 w 10799257"/>
              <a:gd name="connsiteY2896" fmla="*/ 314222 h 3098304"/>
              <a:gd name="connsiteX2897" fmla="*/ 3919622 w 10799257"/>
              <a:gd name="connsiteY2897" fmla="*/ 236490 h 3098304"/>
              <a:gd name="connsiteX2898" fmla="*/ 3997354 w 10799257"/>
              <a:gd name="connsiteY2898" fmla="*/ 158753 h 3098304"/>
              <a:gd name="connsiteX2899" fmla="*/ 3813851 w 10799257"/>
              <a:gd name="connsiteY2899" fmla="*/ 158753 h 3098304"/>
              <a:gd name="connsiteX2900" fmla="*/ 3891567 w 10799257"/>
              <a:gd name="connsiteY2900" fmla="*/ 236490 h 3098304"/>
              <a:gd name="connsiteX2901" fmla="*/ 3813851 w 10799257"/>
              <a:gd name="connsiteY2901" fmla="*/ 314222 h 3098304"/>
              <a:gd name="connsiteX2902" fmla="*/ 3736077 w 10799257"/>
              <a:gd name="connsiteY2902" fmla="*/ 236490 h 3098304"/>
              <a:gd name="connsiteX2903" fmla="*/ 3813851 w 10799257"/>
              <a:gd name="connsiteY2903" fmla="*/ 158753 h 3098304"/>
              <a:gd name="connsiteX2904" fmla="*/ 3625636 w 10799257"/>
              <a:gd name="connsiteY2904" fmla="*/ 158753 h 3098304"/>
              <a:gd name="connsiteX2905" fmla="*/ 3703376 w 10799257"/>
              <a:gd name="connsiteY2905" fmla="*/ 236490 h 3098304"/>
              <a:gd name="connsiteX2906" fmla="*/ 3625636 w 10799257"/>
              <a:gd name="connsiteY2906" fmla="*/ 314222 h 3098304"/>
              <a:gd name="connsiteX2907" fmla="*/ 3547906 w 10799257"/>
              <a:gd name="connsiteY2907" fmla="*/ 236490 h 3098304"/>
              <a:gd name="connsiteX2908" fmla="*/ 3625636 w 10799257"/>
              <a:gd name="connsiteY2908" fmla="*/ 158753 h 3098304"/>
              <a:gd name="connsiteX2909" fmla="*/ 3666858 w 10799257"/>
              <a:gd name="connsiteY2909" fmla="*/ 131312 h 3098304"/>
              <a:gd name="connsiteX2910" fmla="*/ 3655889 w 10799257"/>
              <a:gd name="connsiteY2910" fmla="*/ 138707 h 3098304"/>
              <a:gd name="connsiteX2911" fmla="*/ 3625636 w 10799257"/>
              <a:gd name="connsiteY2911" fmla="*/ 144816 h 3098304"/>
              <a:gd name="connsiteX2912" fmla="*/ 3613152 w 10799257"/>
              <a:gd name="connsiteY2912" fmla="*/ 142296 h 3098304"/>
              <a:gd name="connsiteX2913" fmla="*/ 3886446 w 10799257"/>
              <a:gd name="connsiteY2913" fmla="*/ 92463 h 3098304"/>
              <a:gd name="connsiteX2914" fmla="*/ 3885462 w 10799257"/>
              <a:gd name="connsiteY2914" fmla="*/ 97338 h 3098304"/>
              <a:gd name="connsiteX2915" fmla="*/ 3813851 w 10799257"/>
              <a:gd name="connsiteY2915" fmla="*/ 144816 h 3098304"/>
              <a:gd name="connsiteX2916" fmla="*/ 3758862 w 10799257"/>
              <a:gd name="connsiteY2916" fmla="*/ 122047 h 3098304"/>
              <a:gd name="connsiteX2917" fmla="*/ 3753199 w 10799257"/>
              <a:gd name="connsiteY2917" fmla="*/ 113654 h 3098304"/>
              <a:gd name="connsiteX2918" fmla="*/ 3784279 w 10799257"/>
              <a:gd name="connsiteY2918" fmla="*/ 107297 h 3098304"/>
              <a:gd name="connsiteX2919" fmla="*/ 4074670 w 10799257"/>
              <a:gd name="connsiteY2919" fmla="*/ 65135 h 3098304"/>
              <a:gd name="connsiteX2920" fmla="*/ 4075062 w 10799257"/>
              <a:gd name="connsiteY2920" fmla="*/ 67080 h 3098304"/>
              <a:gd name="connsiteX2921" fmla="*/ 3997354 w 10799257"/>
              <a:gd name="connsiteY2921" fmla="*/ 144814 h 3098304"/>
              <a:gd name="connsiteX2922" fmla="*/ 3925733 w 10799257"/>
              <a:gd name="connsiteY2922" fmla="*/ 97338 h 3098304"/>
              <a:gd name="connsiteX2923" fmla="*/ 3923657 w 10799257"/>
              <a:gd name="connsiteY2923" fmla="*/ 87061 h 3098304"/>
              <a:gd name="connsiteX2924" fmla="*/ 4257864 w 10799257"/>
              <a:gd name="connsiteY2924" fmla="*/ 40054 h 3098304"/>
              <a:gd name="connsiteX2925" fmla="*/ 4263323 w 10799257"/>
              <a:gd name="connsiteY2925" fmla="*/ 67080 h 3098304"/>
              <a:gd name="connsiteX2926" fmla="*/ 4185562 w 10799257"/>
              <a:gd name="connsiteY2926" fmla="*/ 144814 h 3098304"/>
              <a:gd name="connsiteX2927" fmla="*/ 4107803 w 10799257"/>
              <a:gd name="connsiteY2927" fmla="*/ 67080 h 3098304"/>
              <a:gd name="connsiteX2928" fmla="*/ 4109209 w 10799257"/>
              <a:gd name="connsiteY2928" fmla="*/ 60120 h 3098304"/>
              <a:gd name="connsiteX2929" fmla="*/ 4231894 w 10799257"/>
              <a:gd name="connsiteY2929" fmla="*/ 42307 h 3098304"/>
              <a:gd name="connsiteX2930" fmla="*/ 4437115 w 10799257"/>
              <a:gd name="connsiteY2930" fmla="*/ 24502 h 3098304"/>
              <a:gd name="connsiteX2931" fmla="*/ 4445419 w 10799257"/>
              <a:gd name="connsiteY2931" fmla="*/ 36821 h 3098304"/>
              <a:gd name="connsiteX2932" fmla="*/ 4451526 w 10799257"/>
              <a:gd name="connsiteY2932" fmla="*/ 67080 h 3098304"/>
              <a:gd name="connsiteX2933" fmla="*/ 4373793 w 10799257"/>
              <a:gd name="connsiteY2933" fmla="*/ 144814 h 3098304"/>
              <a:gd name="connsiteX2934" fmla="*/ 4296066 w 10799257"/>
              <a:gd name="connsiteY2934" fmla="*/ 67080 h 3098304"/>
              <a:gd name="connsiteX2935" fmla="*/ 4302175 w 10799257"/>
              <a:gd name="connsiteY2935" fmla="*/ 36821 h 3098304"/>
              <a:gd name="connsiteX2936" fmla="*/ 4302613 w 10799257"/>
              <a:gd name="connsiteY2936" fmla="*/ 36171 h 3098304"/>
              <a:gd name="connsiteX2937" fmla="*/ 4608587 w 10799257"/>
              <a:gd name="connsiteY2937" fmla="*/ 9626 h 3098304"/>
              <a:gd name="connsiteX2938" fmla="*/ 4612276 w 10799257"/>
              <a:gd name="connsiteY2938" fmla="*/ 12112 h 3098304"/>
              <a:gd name="connsiteX2939" fmla="*/ 4635049 w 10799257"/>
              <a:gd name="connsiteY2939" fmla="*/ 67080 h 3098304"/>
              <a:gd name="connsiteX2940" fmla="*/ 4557299 w 10799257"/>
              <a:gd name="connsiteY2940" fmla="*/ 144814 h 3098304"/>
              <a:gd name="connsiteX2941" fmla="*/ 4479562 w 10799257"/>
              <a:gd name="connsiteY2941" fmla="*/ 67080 h 3098304"/>
              <a:gd name="connsiteX2942" fmla="*/ 4485670 w 10799257"/>
              <a:gd name="connsiteY2942" fmla="*/ 36821 h 3098304"/>
              <a:gd name="connsiteX2943" fmla="*/ 4497506 w 10799257"/>
              <a:gd name="connsiteY2943" fmla="*/ 19263 h 3098304"/>
              <a:gd name="connsiteX2944" fmla="*/ 4782535 w 10799257"/>
              <a:gd name="connsiteY2944" fmla="*/ 0 h 3098304"/>
              <a:gd name="connsiteX2945" fmla="*/ 4800498 w 10799257"/>
              <a:gd name="connsiteY2945" fmla="*/ 12112 h 3098304"/>
              <a:gd name="connsiteX2946" fmla="*/ 4823266 w 10799257"/>
              <a:gd name="connsiteY2946" fmla="*/ 67080 h 3098304"/>
              <a:gd name="connsiteX2947" fmla="*/ 4745539 w 10799257"/>
              <a:gd name="connsiteY2947" fmla="*/ 144814 h 3098304"/>
              <a:gd name="connsiteX2948" fmla="*/ 4667788 w 10799257"/>
              <a:gd name="connsiteY2948" fmla="*/ 67080 h 3098304"/>
              <a:gd name="connsiteX2949" fmla="*/ 4690554 w 10799257"/>
              <a:gd name="connsiteY2949" fmla="*/ 12112 h 3098304"/>
              <a:gd name="connsiteX2950" fmla="*/ 4705216 w 10799257"/>
              <a:gd name="connsiteY2950" fmla="*/ 2229 h 309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Lst>
            <a:rect l="l" t="t" r="r" b="b"/>
            <a:pathLst>
              <a:path w="10799257" h="3098304">
                <a:moveTo>
                  <a:pt x="10721519" y="3066700"/>
                </a:moveTo>
                <a:cubicBezTo>
                  <a:pt x="10742985" y="3066700"/>
                  <a:pt x="10762420" y="3075401"/>
                  <a:pt x="10776487" y="3089469"/>
                </a:cubicBezTo>
                <a:lnTo>
                  <a:pt x="10782444" y="3098304"/>
                </a:lnTo>
                <a:lnTo>
                  <a:pt x="10660594" y="3098304"/>
                </a:lnTo>
                <a:lnTo>
                  <a:pt x="10666551" y="3089469"/>
                </a:lnTo>
                <a:cubicBezTo>
                  <a:pt x="10680618" y="3075401"/>
                  <a:pt x="10700052" y="3066700"/>
                  <a:pt x="10721519" y="3066700"/>
                </a:cubicBezTo>
                <a:close/>
                <a:moveTo>
                  <a:pt x="10538003" y="3066700"/>
                </a:moveTo>
                <a:cubicBezTo>
                  <a:pt x="10559469" y="3066700"/>
                  <a:pt x="10578904" y="3075401"/>
                  <a:pt x="10592971" y="3089469"/>
                </a:cubicBezTo>
                <a:lnTo>
                  <a:pt x="10598928" y="3098304"/>
                </a:lnTo>
                <a:lnTo>
                  <a:pt x="10477078" y="3098304"/>
                </a:lnTo>
                <a:lnTo>
                  <a:pt x="10483035" y="3089469"/>
                </a:lnTo>
                <a:cubicBezTo>
                  <a:pt x="10497102" y="3075401"/>
                  <a:pt x="10516536" y="3066700"/>
                  <a:pt x="10538003" y="3066700"/>
                </a:cubicBezTo>
                <a:close/>
                <a:moveTo>
                  <a:pt x="9978043" y="3066700"/>
                </a:moveTo>
                <a:cubicBezTo>
                  <a:pt x="9999509" y="3066700"/>
                  <a:pt x="10018943" y="3075401"/>
                  <a:pt x="10033011" y="3089469"/>
                </a:cubicBezTo>
                <a:lnTo>
                  <a:pt x="10038968" y="3098304"/>
                </a:lnTo>
                <a:lnTo>
                  <a:pt x="9917118" y="3098304"/>
                </a:lnTo>
                <a:lnTo>
                  <a:pt x="9923075" y="3089469"/>
                </a:lnTo>
                <a:cubicBezTo>
                  <a:pt x="9937142" y="3075401"/>
                  <a:pt x="9956577" y="3066700"/>
                  <a:pt x="9978043" y="3066700"/>
                </a:cubicBezTo>
                <a:close/>
                <a:moveTo>
                  <a:pt x="9789822" y="3066700"/>
                </a:moveTo>
                <a:cubicBezTo>
                  <a:pt x="9811288" y="3066700"/>
                  <a:pt x="9830722" y="3075401"/>
                  <a:pt x="9844790" y="3089469"/>
                </a:cubicBezTo>
                <a:lnTo>
                  <a:pt x="9850746" y="3098304"/>
                </a:lnTo>
                <a:lnTo>
                  <a:pt x="9728897" y="3098304"/>
                </a:lnTo>
                <a:lnTo>
                  <a:pt x="9734854" y="3089469"/>
                </a:lnTo>
                <a:cubicBezTo>
                  <a:pt x="9748921" y="3075401"/>
                  <a:pt x="9768356" y="3066700"/>
                  <a:pt x="9789822" y="3066700"/>
                </a:cubicBezTo>
                <a:close/>
                <a:moveTo>
                  <a:pt x="9606306" y="3066700"/>
                </a:moveTo>
                <a:cubicBezTo>
                  <a:pt x="9627772" y="3066700"/>
                  <a:pt x="9647206" y="3075401"/>
                  <a:pt x="9661274" y="3089469"/>
                </a:cubicBezTo>
                <a:lnTo>
                  <a:pt x="9667231" y="3098304"/>
                </a:lnTo>
                <a:lnTo>
                  <a:pt x="9545381" y="3098304"/>
                </a:lnTo>
                <a:lnTo>
                  <a:pt x="9551338" y="3089469"/>
                </a:lnTo>
                <a:cubicBezTo>
                  <a:pt x="9565405" y="3075401"/>
                  <a:pt x="9584840" y="3066700"/>
                  <a:pt x="9606306" y="3066700"/>
                </a:cubicBezTo>
                <a:close/>
                <a:moveTo>
                  <a:pt x="9413378" y="3066700"/>
                </a:moveTo>
                <a:cubicBezTo>
                  <a:pt x="9434845" y="3066700"/>
                  <a:pt x="9454279" y="3075401"/>
                  <a:pt x="9468346" y="3089469"/>
                </a:cubicBezTo>
                <a:lnTo>
                  <a:pt x="9474303" y="3098304"/>
                </a:lnTo>
                <a:lnTo>
                  <a:pt x="9352453" y="3098304"/>
                </a:lnTo>
                <a:lnTo>
                  <a:pt x="9358410" y="3089469"/>
                </a:lnTo>
                <a:cubicBezTo>
                  <a:pt x="9372477" y="3075401"/>
                  <a:pt x="9391912" y="3066700"/>
                  <a:pt x="9413378" y="3066700"/>
                </a:cubicBezTo>
                <a:close/>
                <a:moveTo>
                  <a:pt x="9234567" y="3066700"/>
                </a:moveTo>
                <a:cubicBezTo>
                  <a:pt x="9256034" y="3066700"/>
                  <a:pt x="9275468" y="3075401"/>
                  <a:pt x="9289535" y="3089469"/>
                </a:cubicBezTo>
                <a:lnTo>
                  <a:pt x="9295492" y="3098304"/>
                </a:lnTo>
                <a:lnTo>
                  <a:pt x="9173643" y="3098304"/>
                </a:lnTo>
                <a:lnTo>
                  <a:pt x="9179599" y="3089469"/>
                </a:lnTo>
                <a:cubicBezTo>
                  <a:pt x="9193667" y="3075401"/>
                  <a:pt x="9213101" y="3066700"/>
                  <a:pt x="9234567" y="3066700"/>
                </a:cubicBezTo>
                <a:close/>
                <a:moveTo>
                  <a:pt x="9036936" y="3066700"/>
                </a:moveTo>
                <a:cubicBezTo>
                  <a:pt x="9058403" y="3066700"/>
                  <a:pt x="9077837" y="3075401"/>
                  <a:pt x="9091904" y="3089469"/>
                </a:cubicBezTo>
                <a:lnTo>
                  <a:pt x="9097861" y="3098304"/>
                </a:lnTo>
                <a:lnTo>
                  <a:pt x="8976011" y="3098304"/>
                </a:lnTo>
                <a:lnTo>
                  <a:pt x="8981968" y="3089469"/>
                </a:lnTo>
                <a:cubicBezTo>
                  <a:pt x="8996035" y="3075401"/>
                  <a:pt x="9015469" y="3066700"/>
                  <a:pt x="9036936" y="3066700"/>
                </a:cubicBezTo>
                <a:close/>
                <a:moveTo>
                  <a:pt x="8853419" y="3066700"/>
                </a:moveTo>
                <a:cubicBezTo>
                  <a:pt x="8874885" y="3066700"/>
                  <a:pt x="8894320" y="3075401"/>
                  <a:pt x="8908387" y="3089469"/>
                </a:cubicBezTo>
                <a:lnTo>
                  <a:pt x="8914344" y="3098304"/>
                </a:lnTo>
                <a:lnTo>
                  <a:pt x="8792494" y="3098304"/>
                </a:lnTo>
                <a:lnTo>
                  <a:pt x="8798451" y="3089469"/>
                </a:lnTo>
                <a:cubicBezTo>
                  <a:pt x="8812518" y="3075401"/>
                  <a:pt x="8831953" y="3066700"/>
                  <a:pt x="8853419" y="3066700"/>
                </a:cubicBezTo>
                <a:close/>
                <a:moveTo>
                  <a:pt x="8669907" y="3066700"/>
                </a:moveTo>
                <a:cubicBezTo>
                  <a:pt x="8691374" y="3066700"/>
                  <a:pt x="8710808" y="3075401"/>
                  <a:pt x="8724875" y="3089469"/>
                </a:cubicBezTo>
                <a:lnTo>
                  <a:pt x="8730832" y="3098304"/>
                </a:lnTo>
                <a:lnTo>
                  <a:pt x="8608982" y="3098304"/>
                </a:lnTo>
                <a:lnTo>
                  <a:pt x="8614939" y="3089469"/>
                </a:lnTo>
                <a:cubicBezTo>
                  <a:pt x="8629006" y="3075401"/>
                  <a:pt x="8648440" y="3066700"/>
                  <a:pt x="8669907" y="3066700"/>
                </a:cubicBezTo>
                <a:close/>
                <a:moveTo>
                  <a:pt x="8481683" y="3066700"/>
                </a:moveTo>
                <a:cubicBezTo>
                  <a:pt x="8503149" y="3066700"/>
                  <a:pt x="8522584" y="3075401"/>
                  <a:pt x="8536651" y="3089469"/>
                </a:cubicBezTo>
                <a:lnTo>
                  <a:pt x="8542608" y="3098304"/>
                </a:lnTo>
                <a:lnTo>
                  <a:pt x="8420758" y="3098304"/>
                </a:lnTo>
                <a:lnTo>
                  <a:pt x="8426715" y="3089469"/>
                </a:lnTo>
                <a:cubicBezTo>
                  <a:pt x="8440782" y="3075401"/>
                  <a:pt x="8460217" y="3066700"/>
                  <a:pt x="8481683" y="3066700"/>
                </a:cubicBezTo>
                <a:close/>
                <a:moveTo>
                  <a:pt x="8298167" y="3066700"/>
                </a:moveTo>
                <a:cubicBezTo>
                  <a:pt x="8319633" y="3066700"/>
                  <a:pt x="8339068" y="3075401"/>
                  <a:pt x="8353135" y="3089469"/>
                </a:cubicBezTo>
                <a:lnTo>
                  <a:pt x="8359092" y="3098304"/>
                </a:lnTo>
                <a:lnTo>
                  <a:pt x="8237242" y="3098304"/>
                </a:lnTo>
                <a:lnTo>
                  <a:pt x="8243199" y="3089469"/>
                </a:lnTo>
                <a:cubicBezTo>
                  <a:pt x="8257267" y="3075401"/>
                  <a:pt x="8276701" y="3066700"/>
                  <a:pt x="8298167" y="3066700"/>
                </a:cubicBezTo>
                <a:close/>
                <a:moveTo>
                  <a:pt x="8109949" y="3066700"/>
                </a:moveTo>
                <a:cubicBezTo>
                  <a:pt x="8131415" y="3066700"/>
                  <a:pt x="8150850" y="3075401"/>
                  <a:pt x="8164917" y="3089469"/>
                </a:cubicBezTo>
                <a:lnTo>
                  <a:pt x="8170874" y="3098304"/>
                </a:lnTo>
                <a:lnTo>
                  <a:pt x="8049024" y="3098304"/>
                </a:lnTo>
                <a:lnTo>
                  <a:pt x="8054981" y="3089469"/>
                </a:lnTo>
                <a:cubicBezTo>
                  <a:pt x="8069048" y="3075401"/>
                  <a:pt x="8088482" y="3066700"/>
                  <a:pt x="8109949" y="3066700"/>
                </a:cubicBezTo>
                <a:close/>
                <a:moveTo>
                  <a:pt x="7926432" y="3066700"/>
                </a:moveTo>
                <a:cubicBezTo>
                  <a:pt x="7947898" y="3066700"/>
                  <a:pt x="7967332" y="3075401"/>
                  <a:pt x="7981400" y="3089469"/>
                </a:cubicBezTo>
                <a:lnTo>
                  <a:pt x="7987357" y="3098304"/>
                </a:lnTo>
                <a:lnTo>
                  <a:pt x="7865507" y="3098304"/>
                </a:lnTo>
                <a:lnTo>
                  <a:pt x="7871464" y="3089469"/>
                </a:lnTo>
                <a:cubicBezTo>
                  <a:pt x="7885531" y="3075401"/>
                  <a:pt x="7904966" y="3066700"/>
                  <a:pt x="7926432" y="3066700"/>
                </a:cubicBezTo>
                <a:close/>
                <a:moveTo>
                  <a:pt x="7738211" y="3066700"/>
                </a:moveTo>
                <a:cubicBezTo>
                  <a:pt x="7759677" y="3066700"/>
                  <a:pt x="7779111" y="3075401"/>
                  <a:pt x="7793179" y="3089469"/>
                </a:cubicBezTo>
                <a:lnTo>
                  <a:pt x="7799135" y="3098304"/>
                </a:lnTo>
                <a:lnTo>
                  <a:pt x="7677286" y="3098304"/>
                </a:lnTo>
                <a:lnTo>
                  <a:pt x="7683243" y="3089469"/>
                </a:lnTo>
                <a:cubicBezTo>
                  <a:pt x="7697310" y="3075401"/>
                  <a:pt x="7716744" y="3066700"/>
                  <a:pt x="7738211" y="3066700"/>
                </a:cubicBezTo>
                <a:close/>
                <a:moveTo>
                  <a:pt x="7554693" y="3066700"/>
                </a:moveTo>
                <a:cubicBezTo>
                  <a:pt x="7576159" y="3066700"/>
                  <a:pt x="7595594" y="3075401"/>
                  <a:pt x="7609661" y="3089469"/>
                </a:cubicBezTo>
                <a:lnTo>
                  <a:pt x="7615618" y="3098304"/>
                </a:lnTo>
                <a:lnTo>
                  <a:pt x="7493769" y="3098304"/>
                </a:lnTo>
                <a:lnTo>
                  <a:pt x="7499725" y="3089469"/>
                </a:lnTo>
                <a:cubicBezTo>
                  <a:pt x="7513793" y="3075401"/>
                  <a:pt x="7533227" y="3066700"/>
                  <a:pt x="7554693" y="3066700"/>
                </a:cubicBezTo>
                <a:close/>
                <a:moveTo>
                  <a:pt x="7366472" y="3066700"/>
                </a:moveTo>
                <a:cubicBezTo>
                  <a:pt x="7387939" y="3066700"/>
                  <a:pt x="7407373" y="3075401"/>
                  <a:pt x="7421441" y="3089469"/>
                </a:cubicBezTo>
                <a:lnTo>
                  <a:pt x="7427397" y="3098304"/>
                </a:lnTo>
                <a:lnTo>
                  <a:pt x="7305548" y="3098304"/>
                </a:lnTo>
                <a:lnTo>
                  <a:pt x="7311505" y="3089469"/>
                </a:lnTo>
                <a:cubicBezTo>
                  <a:pt x="7325572" y="3075401"/>
                  <a:pt x="7345006" y="3066700"/>
                  <a:pt x="7366472" y="3066700"/>
                </a:cubicBezTo>
                <a:close/>
                <a:moveTo>
                  <a:pt x="7178251" y="3066700"/>
                </a:moveTo>
                <a:cubicBezTo>
                  <a:pt x="7199718" y="3066700"/>
                  <a:pt x="7219152" y="3075401"/>
                  <a:pt x="7233220" y="3089469"/>
                </a:cubicBezTo>
                <a:lnTo>
                  <a:pt x="7239176" y="3098304"/>
                </a:lnTo>
                <a:lnTo>
                  <a:pt x="7117326" y="3098304"/>
                </a:lnTo>
                <a:lnTo>
                  <a:pt x="7123283" y="3089469"/>
                </a:lnTo>
                <a:cubicBezTo>
                  <a:pt x="7137351" y="3075401"/>
                  <a:pt x="7156785" y="3066700"/>
                  <a:pt x="7178251" y="3066700"/>
                </a:cubicBezTo>
                <a:close/>
                <a:moveTo>
                  <a:pt x="6985327" y="3066700"/>
                </a:moveTo>
                <a:cubicBezTo>
                  <a:pt x="7006793" y="3066700"/>
                  <a:pt x="7026228" y="3075401"/>
                  <a:pt x="7040295" y="3089469"/>
                </a:cubicBezTo>
                <a:lnTo>
                  <a:pt x="7046252" y="3098304"/>
                </a:lnTo>
                <a:lnTo>
                  <a:pt x="6924402" y="3098304"/>
                </a:lnTo>
                <a:lnTo>
                  <a:pt x="6930358" y="3089469"/>
                </a:lnTo>
                <a:cubicBezTo>
                  <a:pt x="6944426" y="3075401"/>
                  <a:pt x="6963860" y="3066700"/>
                  <a:pt x="6985327" y="3066700"/>
                </a:cubicBezTo>
                <a:close/>
                <a:moveTo>
                  <a:pt x="6801807" y="3066700"/>
                </a:moveTo>
                <a:cubicBezTo>
                  <a:pt x="6823274" y="3066700"/>
                  <a:pt x="6842708" y="3075401"/>
                  <a:pt x="6856775" y="3089469"/>
                </a:cubicBezTo>
                <a:lnTo>
                  <a:pt x="6862732" y="3098304"/>
                </a:lnTo>
                <a:lnTo>
                  <a:pt x="6740882" y="3098304"/>
                </a:lnTo>
                <a:lnTo>
                  <a:pt x="6746839" y="3089469"/>
                </a:lnTo>
                <a:cubicBezTo>
                  <a:pt x="6760907" y="3075401"/>
                  <a:pt x="6780341" y="3066700"/>
                  <a:pt x="6801807" y="3066700"/>
                </a:cubicBezTo>
                <a:close/>
                <a:moveTo>
                  <a:pt x="5681918" y="3066700"/>
                </a:moveTo>
                <a:cubicBezTo>
                  <a:pt x="5703371" y="3066700"/>
                  <a:pt x="5722798" y="3075401"/>
                  <a:pt x="5736863" y="3089469"/>
                </a:cubicBezTo>
                <a:lnTo>
                  <a:pt x="5742818" y="3098304"/>
                </a:lnTo>
                <a:lnTo>
                  <a:pt x="5620982" y="3098304"/>
                </a:lnTo>
                <a:lnTo>
                  <a:pt x="5626940" y="3089469"/>
                </a:lnTo>
                <a:cubicBezTo>
                  <a:pt x="5641010" y="3075401"/>
                  <a:pt x="5660447" y="3066700"/>
                  <a:pt x="5681918" y="3066700"/>
                </a:cubicBezTo>
                <a:close/>
                <a:moveTo>
                  <a:pt x="5498376" y="3066700"/>
                </a:moveTo>
                <a:cubicBezTo>
                  <a:pt x="5519844" y="3066700"/>
                  <a:pt x="5539280" y="3075401"/>
                  <a:pt x="5553349" y="3089469"/>
                </a:cubicBezTo>
                <a:lnTo>
                  <a:pt x="5559307" y="3098304"/>
                </a:lnTo>
                <a:lnTo>
                  <a:pt x="5437452" y="3098304"/>
                </a:lnTo>
                <a:lnTo>
                  <a:pt x="5443409" y="3089469"/>
                </a:lnTo>
                <a:cubicBezTo>
                  <a:pt x="5457477" y="3075401"/>
                  <a:pt x="5476911" y="3066700"/>
                  <a:pt x="5498376" y="3066700"/>
                </a:cubicBezTo>
                <a:close/>
                <a:moveTo>
                  <a:pt x="5310161" y="3066700"/>
                </a:moveTo>
                <a:cubicBezTo>
                  <a:pt x="5331627" y="3066700"/>
                  <a:pt x="5351061" y="3075401"/>
                  <a:pt x="5365128" y="3089469"/>
                </a:cubicBezTo>
                <a:lnTo>
                  <a:pt x="5371085" y="3098304"/>
                </a:lnTo>
                <a:lnTo>
                  <a:pt x="5249241" y="3098304"/>
                </a:lnTo>
                <a:lnTo>
                  <a:pt x="5255197" y="3089469"/>
                </a:lnTo>
                <a:cubicBezTo>
                  <a:pt x="5269263" y="3075401"/>
                  <a:pt x="5288695" y="3066700"/>
                  <a:pt x="5310161" y="3066700"/>
                </a:cubicBezTo>
                <a:close/>
                <a:moveTo>
                  <a:pt x="5126649" y="3066700"/>
                </a:moveTo>
                <a:cubicBezTo>
                  <a:pt x="5148118" y="3066700"/>
                  <a:pt x="5167552" y="3075401"/>
                  <a:pt x="5181620" y="3089469"/>
                </a:cubicBezTo>
                <a:lnTo>
                  <a:pt x="5187576" y="3098304"/>
                </a:lnTo>
                <a:lnTo>
                  <a:pt x="5065733" y="3098304"/>
                </a:lnTo>
                <a:lnTo>
                  <a:pt x="5071690" y="3089469"/>
                </a:lnTo>
                <a:cubicBezTo>
                  <a:pt x="5085757" y="3075401"/>
                  <a:pt x="5105189" y="3066700"/>
                  <a:pt x="5126649" y="3066700"/>
                </a:cubicBezTo>
                <a:close/>
                <a:moveTo>
                  <a:pt x="2129305" y="3066700"/>
                </a:moveTo>
                <a:cubicBezTo>
                  <a:pt x="2150769" y="3066700"/>
                  <a:pt x="2170201" y="3075401"/>
                  <a:pt x="2184268" y="3089469"/>
                </a:cubicBezTo>
                <a:lnTo>
                  <a:pt x="2190224" y="3098304"/>
                </a:lnTo>
                <a:lnTo>
                  <a:pt x="2068384" y="3098304"/>
                </a:lnTo>
                <a:lnTo>
                  <a:pt x="2074340" y="3089469"/>
                </a:lnTo>
                <a:cubicBezTo>
                  <a:pt x="2088407" y="3075401"/>
                  <a:pt x="2107840" y="3066700"/>
                  <a:pt x="2129305" y="3066700"/>
                </a:cubicBezTo>
                <a:close/>
                <a:moveTo>
                  <a:pt x="1941099" y="3066700"/>
                </a:moveTo>
                <a:cubicBezTo>
                  <a:pt x="1962565" y="3066700"/>
                  <a:pt x="1981997" y="3075401"/>
                  <a:pt x="1996064" y="3089469"/>
                </a:cubicBezTo>
                <a:lnTo>
                  <a:pt x="2002020" y="3098304"/>
                </a:lnTo>
                <a:lnTo>
                  <a:pt x="1880181" y="3098304"/>
                </a:lnTo>
                <a:lnTo>
                  <a:pt x="1886137" y="3089469"/>
                </a:lnTo>
                <a:cubicBezTo>
                  <a:pt x="1900203" y="3075401"/>
                  <a:pt x="1919635" y="3066700"/>
                  <a:pt x="1941099" y="3066700"/>
                </a:cubicBezTo>
                <a:close/>
                <a:moveTo>
                  <a:pt x="1757600" y="3066700"/>
                </a:moveTo>
                <a:cubicBezTo>
                  <a:pt x="1779066" y="3066700"/>
                  <a:pt x="1798498" y="3075401"/>
                  <a:pt x="1812565" y="3089469"/>
                </a:cubicBezTo>
                <a:lnTo>
                  <a:pt x="1818521" y="3098304"/>
                </a:lnTo>
                <a:lnTo>
                  <a:pt x="1696678" y="3098304"/>
                </a:lnTo>
                <a:lnTo>
                  <a:pt x="1702633" y="3089469"/>
                </a:lnTo>
                <a:cubicBezTo>
                  <a:pt x="1716699" y="3075401"/>
                  <a:pt x="1736132" y="3066700"/>
                  <a:pt x="1757600" y="3066700"/>
                </a:cubicBezTo>
                <a:close/>
                <a:moveTo>
                  <a:pt x="1569376" y="3066700"/>
                </a:moveTo>
                <a:cubicBezTo>
                  <a:pt x="1590850" y="3066700"/>
                  <a:pt x="1610286" y="3075401"/>
                  <a:pt x="1624355" y="3089469"/>
                </a:cubicBezTo>
                <a:lnTo>
                  <a:pt x="1630311" y="3098304"/>
                </a:lnTo>
                <a:lnTo>
                  <a:pt x="1508459" y="3098304"/>
                </a:lnTo>
                <a:lnTo>
                  <a:pt x="1514416" y="3089469"/>
                </a:lnTo>
                <a:cubicBezTo>
                  <a:pt x="1528483" y="3075401"/>
                  <a:pt x="1547915" y="3066700"/>
                  <a:pt x="1569376" y="3066700"/>
                </a:cubicBezTo>
                <a:close/>
                <a:moveTo>
                  <a:pt x="1385849" y="3066700"/>
                </a:moveTo>
                <a:cubicBezTo>
                  <a:pt x="1407318" y="3066700"/>
                  <a:pt x="1426756" y="3075401"/>
                  <a:pt x="1440826" y="3089469"/>
                </a:cubicBezTo>
                <a:lnTo>
                  <a:pt x="1446784" y="3098304"/>
                </a:lnTo>
                <a:lnTo>
                  <a:pt x="1324913" y="3098304"/>
                </a:lnTo>
                <a:lnTo>
                  <a:pt x="1330871" y="3089469"/>
                </a:lnTo>
                <a:cubicBezTo>
                  <a:pt x="1344941" y="3075401"/>
                  <a:pt x="1364379" y="3066700"/>
                  <a:pt x="1385849" y="3066700"/>
                </a:cubicBezTo>
                <a:close/>
                <a:moveTo>
                  <a:pt x="1202313" y="3066700"/>
                </a:moveTo>
                <a:cubicBezTo>
                  <a:pt x="1223780" y="3066700"/>
                  <a:pt x="1243215" y="3075401"/>
                  <a:pt x="1257283" y="3089469"/>
                </a:cubicBezTo>
                <a:lnTo>
                  <a:pt x="1263240" y="3098304"/>
                </a:lnTo>
                <a:lnTo>
                  <a:pt x="1141397" y="3098304"/>
                </a:lnTo>
                <a:lnTo>
                  <a:pt x="1147351" y="3089469"/>
                </a:lnTo>
                <a:cubicBezTo>
                  <a:pt x="1161413" y="3075401"/>
                  <a:pt x="1180842" y="3066700"/>
                  <a:pt x="1202313" y="3066700"/>
                </a:cubicBezTo>
                <a:close/>
                <a:moveTo>
                  <a:pt x="1014085" y="3066700"/>
                </a:moveTo>
                <a:cubicBezTo>
                  <a:pt x="1035559" y="3066700"/>
                  <a:pt x="1054998" y="3075401"/>
                  <a:pt x="1069068" y="3089469"/>
                </a:cubicBezTo>
                <a:lnTo>
                  <a:pt x="1075026" y="3098304"/>
                </a:lnTo>
                <a:lnTo>
                  <a:pt x="953182" y="3098304"/>
                </a:lnTo>
                <a:lnTo>
                  <a:pt x="959138" y="3089469"/>
                </a:lnTo>
                <a:cubicBezTo>
                  <a:pt x="973202" y="3075401"/>
                  <a:pt x="992631" y="3066700"/>
                  <a:pt x="1014085" y="3066700"/>
                </a:cubicBezTo>
                <a:close/>
                <a:moveTo>
                  <a:pt x="830577" y="3066700"/>
                </a:moveTo>
                <a:cubicBezTo>
                  <a:pt x="852039" y="3066700"/>
                  <a:pt x="871477" y="3075401"/>
                  <a:pt x="885549" y="3089469"/>
                </a:cubicBezTo>
                <a:lnTo>
                  <a:pt x="891508" y="3098304"/>
                </a:lnTo>
                <a:lnTo>
                  <a:pt x="769649" y="3098304"/>
                </a:lnTo>
                <a:lnTo>
                  <a:pt x="775607" y="3089469"/>
                </a:lnTo>
                <a:cubicBezTo>
                  <a:pt x="789675" y="3075401"/>
                  <a:pt x="809110" y="3066700"/>
                  <a:pt x="830577" y="3066700"/>
                </a:cubicBezTo>
                <a:close/>
                <a:moveTo>
                  <a:pt x="642348" y="3066700"/>
                </a:moveTo>
                <a:cubicBezTo>
                  <a:pt x="663816" y="3066700"/>
                  <a:pt x="683251" y="3075401"/>
                  <a:pt x="697320" y="3089469"/>
                </a:cubicBezTo>
                <a:lnTo>
                  <a:pt x="703276" y="3098304"/>
                </a:lnTo>
                <a:lnTo>
                  <a:pt x="581426" y="3098304"/>
                </a:lnTo>
                <a:lnTo>
                  <a:pt x="587383" y="3089469"/>
                </a:lnTo>
                <a:cubicBezTo>
                  <a:pt x="601450" y="3075401"/>
                  <a:pt x="620883" y="3066700"/>
                  <a:pt x="642348" y="3066700"/>
                </a:cubicBezTo>
                <a:close/>
                <a:moveTo>
                  <a:pt x="10721519" y="2902009"/>
                </a:moveTo>
                <a:cubicBezTo>
                  <a:pt x="10764452" y="2902009"/>
                  <a:pt x="10799256" y="2936814"/>
                  <a:pt x="10799256" y="2979747"/>
                </a:cubicBezTo>
                <a:cubicBezTo>
                  <a:pt x="10799256" y="3022679"/>
                  <a:pt x="10764452" y="3057483"/>
                  <a:pt x="10721519" y="3057483"/>
                </a:cubicBezTo>
                <a:cubicBezTo>
                  <a:pt x="10678586" y="3057483"/>
                  <a:pt x="10643782" y="3022679"/>
                  <a:pt x="10643782" y="2979747"/>
                </a:cubicBezTo>
                <a:cubicBezTo>
                  <a:pt x="10643782" y="2936814"/>
                  <a:pt x="10678586" y="2902009"/>
                  <a:pt x="10721519" y="2902009"/>
                </a:cubicBezTo>
                <a:close/>
                <a:moveTo>
                  <a:pt x="10349781" y="2902009"/>
                </a:moveTo>
                <a:cubicBezTo>
                  <a:pt x="10392714" y="2902009"/>
                  <a:pt x="10427518" y="2936814"/>
                  <a:pt x="10427518" y="2979747"/>
                </a:cubicBezTo>
                <a:cubicBezTo>
                  <a:pt x="10427518" y="3022679"/>
                  <a:pt x="10392714" y="3057483"/>
                  <a:pt x="10349781" y="3057483"/>
                </a:cubicBezTo>
                <a:cubicBezTo>
                  <a:pt x="10306848" y="3057483"/>
                  <a:pt x="10272044" y="3022679"/>
                  <a:pt x="10272044" y="2979747"/>
                </a:cubicBezTo>
                <a:cubicBezTo>
                  <a:pt x="10272044" y="2936814"/>
                  <a:pt x="10306848" y="2902009"/>
                  <a:pt x="10349781" y="2902009"/>
                </a:cubicBezTo>
                <a:close/>
                <a:moveTo>
                  <a:pt x="9978043" y="2902009"/>
                </a:moveTo>
                <a:cubicBezTo>
                  <a:pt x="10020975" y="2902009"/>
                  <a:pt x="10055780" y="2936814"/>
                  <a:pt x="10055780" y="2979747"/>
                </a:cubicBezTo>
                <a:cubicBezTo>
                  <a:pt x="10055780" y="3022679"/>
                  <a:pt x="10020975" y="3057483"/>
                  <a:pt x="9978043" y="3057483"/>
                </a:cubicBezTo>
                <a:cubicBezTo>
                  <a:pt x="9935110" y="3057483"/>
                  <a:pt x="9900306" y="3022679"/>
                  <a:pt x="9900306" y="2979747"/>
                </a:cubicBezTo>
                <a:cubicBezTo>
                  <a:pt x="9900306" y="2936814"/>
                  <a:pt x="9935110" y="2902009"/>
                  <a:pt x="9978043" y="2902009"/>
                </a:cubicBezTo>
                <a:close/>
                <a:moveTo>
                  <a:pt x="9789822" y="2902009"/>
                </a:moveTo>
                <a:cubicBezTo>
                  <a:pt x="9832754" y="2902009"/>
                  <a:pt x="9867558" y="2936814"/>
                  <a:pt x="9867558" y="2979747"/>
                </a:cubicBezTo>
                <a:cubicBezTo>
                  <a:pt x="9867558" y="3022679"/>
                  <a:pt x="9832754" y="3057483"/>
                  <a:pt x="9789822" y="3057483"/>
                </a:cubicBezTo>
                <a:cubicBezTo>
                  <a:pt x="9746889" y="3057483"/>
                  <a:pt x="9712085" y="3022679"/>
                  <a:pt x="9712085" y="2979747"/>
                </a:cubicBezTo>
                <a:cubicBezTo>
                  <a:pt x="9712085" y="2936814"/>
                  <a:pt x="9746889" y="2902009"/>
                  <a:pt x="9789822" y="2902009"/>
                </a:cubicBezTo>
                <a:close/>
                <a:moveTo>
                  <a:pt x="9606306" y="2902009"/>
                </a:moveTo>
                <a:cubicBezTo>
                  <a:pt x="9649238" y="2902009"/>
                  <a:pt x="9684043" y="2936814"/>
                  <a:pt x="9684043" y="2979747"/>
                </a:cubicBezTo>
                <a:cubicBezTo>
                  <a:pt x="9684043" y="3022679"/>
                  <a:pt x="9649238" y="3057483"/>
                  <a:pt x="9606306" y="3057483"/>
                </a:cubicBezTo>
                <a:cubicBezTo>
                  <a:pt x="9563373" y="3057483"/>
                  <a:pt x="9528569" y="3022679"/>
                  <a:pt x="9528569" y="2979747"/>
                </a:cubicBezTo>
                <a:cubicBezTo>
                  <a:pt x="9528569" y="2936814"/>
                  <a:pt x="9563373" y="2902009"/>
                  <a:pt x="9606306" y="2902009"/>
                </a:cubicBezTo>
                <a:close/>
                <a:moveTo>
                  <a:pt x="9413381" y="2902009"/>
                </a:moveTo>
                <a:cubicBezTo>
                  <a:pt x="9456314" y="2902009"/>
                  <a:pt x="9491118" y="2936814"/>
                  <a:pt x="9491118" y="2979747"/>
                </a:cubicBezTo>
                <a:cubicBezTo>
                  <a:pt x="9491118" y="3022679"/>
                  <a:pt x="9456314" y="3057483"/>
                  <a:pt x="9413381" y="3057483"/>
                </a:cubicBezTo>
                <a:cubicBezTo>
                  <a:pt x="9370448" y="3057483"/>
                  <a:pt x="9335644" y="3022679"/>
                  <a:pt x="9335644" y="2979747"/>
                </a:cubicBezTo>
                <a:cubicBezTo>
                  <a:pt x="9335644" y="2936814"/>
                  <a:pt x="9370448" y="2902009"/>
                  <a:pt x="9413381" y="2902009"/>
                </a:cubicBezTo>
                <a:close/>
                <a:moveTo>
                  <a:pt x="9234570" y="2902009"/>
                </a:moveTo>
                <a:cubicBezTo>
                  <a:pt x="9277503" y="2902009"/>
                  <a:pt x="9312307" y="2936814"/>
                  <a:pt x="9312307" y="2979747"/>
                </a:cubicBezTo>
                <a:cubicBezTo>
                  <a:pt x="9312307" y="3022679"/>
                  <a:pt x="9277503" y="3057483"/>
                  <a:pt x="9234570" y="3057483"/>
                </a:cubicBezTo>
                <a:cubicBezTo>
                  <a:pt x="9191637" y="3057483"/>
                  <a:pt x="9156833" y="3022679"/>
                  <a:pt x="9156833" y="2979747"/>
                </a:cubicBezTo>
                <a:cubicBezTo>
                  <a:pt x="9156833" y="2936814"/>
                  <a:pt x="9191637" y="2902009"/>
                  <a:pt x="9234570" y="2902009"/>
                </a:cubicBezTo>
                <a:close/>
                <a:moveTo>
                  <a:pt x="9036939" y="2902009"/>
                </a:moveTo>
                <a:cubicBezTo>
                  <a:pt x="9079871" y="2902009"/>
                  <a:pt x="9114675" y="2936814"/>
                  <a:pt x="9114675" y="2979747"/>
                </a:cubicBezTo>
                <a:cubicBezTo>
                  <a:pt x="9114675" y="3022679"/>
                  <a:pt x="9079871" y="3057483"/>
                  <a:pt x="9036939" y="3057483"/>
                </a:cubicBezTo>
                <a:cubicBezTo>
                  <a:pt x="8994006" y="3057483"/>
                  <a:pt x="8959202" y="3022679"/>
                  <a:pt x="8959202" y="2979747"/>
                </a:cubicBezTo>
                <a:cubicBezTo>
                  <a:pt x="8959202" y="2936814"/>
                  <a:pt x="8994006" y="2902009"/>
                  <a:pt x="9036939" y="2902009"/>
                </a:cubicBezTo>
                <a:close/>
                <a:moveTo>
                  <a:pt x="8853421" y="2902009"/>
                </a:moveTo>
                <a:cubicBezTo>
                  <a:pt x="8896354" y="2902009"/>
                  <a:pt x="8931158" y="2936814"/>
                  <a:pt x="8931158" y="2979747"/>
                </a:cubicBezTo>
                <a:cubicBezTo>
                  <a:pt x="8931158" y="3022679"/>
                  <a:pt x="8896354" y="3057483"/>
                  <a:pt x="8853421" y="3057483"/>
                </a:cubicBezTo>
                <a:cubicBezTo>
                  <a:pt x="8810489" y="3057483"/>
                  <a:pt x="8775685" y="3022679"/>
                  <a:pt x="8775685" y="2979747"/>
                </a:cubicBezTo>
                <a:cubicBezTo>
                  <a:pt x="8775685" y="2936814"/>
                  <a:pt x="8810489" y="2902009"/>
                  <a:pt x="8853421" y="2902009"/>
                </a:cubicBezTo>
                <a:close/>
                <a:moveTo>
                  <a:pt x="8669908" y="2902009"/>
                </a:moveTo>
                <a:cubicBezTo>
                  <a:pt x="8712841" y="2902009"/>
                  <a:pt x="8747645" y="2936814"/>
                  <a:pt x="8747645" y="2979747"/>
                </a:cubicBezTo>
                <a:cubicBezTo>
                  <a:pt x="8747645" y="3022679"/>
                  <a:pt x="8712841" y="3057483"/>
                  <a:pt x="8669908" y="3057483"/>
                </a:cubicBezTo>
                <a:cubicBezTo>
                  <a:pt x="8626975" y="3057483"/>
                  <a:pt x="8592171" y="3022679"/>
                  <a:pt x="8592171" y="2979747"/>
                </a:cubicBezTo>
                <a:cubicBezTo>
                  <a:pt x="8592171" y="2936814"/>
                  <a:pt x="8626975" y="2902009"/>
                  <a:pt x="8669908" y="2902009"/>
                </a:cubicBezTo>
                <a:close/>
                <a:moveTo>
                  <a:pt x="8481684" y="2902009"/>
                </a:moveTo>
                <a:cubicBezTo>
                  <a:pt x="8524617" y="2902009"/>
                  <a:pt x="8559421" y="2936814"/>
                  <a:pt x="8559421" y="2979747"/>
                </a:cubicBezTo>
                <a:cubicBezTo>
                  <a:pt x="8559421" y="3022679"/>
                  <a:pt x="8524617" y="3057483"/>
                  <a:pt x="8481684" y="3057483"/>
                </a:cubicBezTo>
                <a:cubicBezTo>
                  <a:pt x="8438752" y="3057483"/>
                  <a:pt x="8403948" y="3022679"/>
                  <a:pt x="8403948" y="2979747"/>
                </a:cubicBezTo>
                <a:cubicBezTo>
                  <a:pt x="8403948" y="2936814"/>
                  <a:pt x="8438752" y="2902009"/>
                  <a:pt x="8481684" y="2902009"/>
                </a:cubicBezTo>
                <a:close/>
                <a:moveTo>
                  <a:pt x="8298167" y="2902009"/>
                </a:moveTo>
                <a:cubicBezTo>
                  <a:pt x="8341100" y="2902009"/>
                  <a:pt x="8375904" y="2936814"/>
                  <a:pt x="8375904" y="2979747"/>
                </a:cubicBezTo>
                <a:cubicBezTo>
                  <a:pt x="8375904" y="3022679"/>
                  <a:pt x="8341100" y="3057483"/>
                  <a:pt x="8298167" y="3057483"/>
                </a:cubicBezTo>
                <a:cubicBezTo>
                  <a:pt x="8255235" y="3057483"/>
                  <a:pt x="8220430" y="3022679"/>
                  <a:pt x="8220430" y="2979747"/>
                </a:cubicBezTo>
                <a:cubicBezTo>
                  <a:pt x="8220430" y="2936814"/>
                  <a:pt x="8255235" y="2902009"/>
                  <a:pt x="8298167" y="2902009"/>
                </a:cubicBezTo>
                <a:close/>
                <a:moveTo>
                  <a:pt x="8109949" y="2902009"/>
                </a:moveTo>
                <a:cubicBezTo>
                  <a:pt x="8152882" y="2902009"/>
                  <a:pt x="8187686" y="2936814"/>
                  <a:pt x="8187686" y="2979747"/>
                </a:cubicBezTo>
                <a:cubicBezTo>
                  <a:pt x="8187686" y="3022679"/>
                  <a:pt x="8152882" y="3057483"/>
                  <a:pt x="8109949" y="3057483"/>
                </a:cubicBezTo>
                <a:cubicBezTo>
                  <a:pt x="8067016" y="3057483"/>
                  <a:pt x="8032212" y="3022679"/>
                  <a:pt x="8032212" y="2979747"/>
                </a:cubicBezTo>
                <a:cubicBezTo>
                  <a:pt x="8032212" y="2936814"/>
                  <a:pt x="8067016" y="2902009"/>
                  <a:pt x="8109949" y="2902009"/>
                </a:cubicBezTo>
                <a:close/>
                <a:moveTo>
                  <a:pt x="7926434" y="2902009"/>
                </a:moveTo>
                <a:cubicBezTo>
                  <a:pt x="7969367" y="2902009"/>
                  <a:pt x="8004171" y="2936814"/>
                  <a:pt x="8004171" y="2979747"/>
                </a:cubicBezTo>
                <a:cubicBezTo>
                  <a:pt x="8004171" y="3022679"/>
                  <a:pt x="7969367" y="3057483"/>
                  <a:pt x="7926434" y="3057483"/>
                </a:cubicBezTo>
                <a:cubicBezTo>
                  <a:pt x="7883501" y="3057483"/>
                  <a:pt x="7848697" y="3022679"/>
                  <a:pt x="7848697" y="2979747"/>
                </a:cubicBezTo>
                <a:cubicBezTo>
                  <a:pt x="7848697" y="2936814"/>
                  <a:pt x="7883501" y="2902009"/>
                  <a:pt x="7926434" y="2902009"/>
                </a:cubicBezTo>
                <a:close/>
                <a:moveTo>
                  <a:pt x="7738213" y="2902009"/>
                </a:moveTo>
                <a:cubicBezTo>
                  <a:pt x="7781146" y="2902009"/>
                  <a:pt x="7815950" y="2936814"/>
                  <a:pt x="7815950" y="2979747"/>
                </a:cubicBezTo>
                <a:cubicBezTo>
                  <a:pt x="7815950" y="3022679"/>
                  <a:pt x="7781146" y="3057483"/>
                  <a:pt x="7738213" y="3057483"/>
                </a:cubicBezTo>
                <a:cubicBezTo>
                  <a:pt x="7695280" y="3057483"/>
                  <a:pt x="7660476" y="3022679"/>
                  <a:pt x="7660476" y="2979747"/>
                </a:cubicBezTo>
                <a:cubicBezTo>
                  <a:pt x="7660476" y="2936814"/>
                  <a:pt x="7695280" y="2902009"/>
                  <a:pt x="7738213" y="2902009"/>
                </a:cubicBezTo>
                <a:close/>
                <a:moveTo>
                  <a:pt x="7554696" y="2902009"/>
                </a:moveTo>
                <a:cubicBezTo>
                  <a:pt x="7597629" y="2902009"/>
                  <a:pt x="7632433" y="2936814"/>
                  <a:pt x="7632433" y="2979747"/>
                </a:cubicBezTo>
                <a:cubicBezTo>
                  <a:pt x="7632433" y="3022679"/>
                  <a:pt x="7597629" y="3057483"/>
                  <a:pt x="7554696" y="3057483"/>
                </a:cubicBezTo>
                <a:cubicBezTo>
                  <a:pt x="7511763" y="3057483"/>
                  <a:pt x="7476959" y="3022679"/>
                  <a:pt x="7476959" y="2979747"/>
                </a:cubicBezTo>
                <a:cubicBezTo>
                  <a:pt x="7476959" y="2936814"/>
                  <a:pt x="7511763" y="2902009"/>
                  <a:pt x="7554696" y="2902009"/>
                </a:cubicBezTo>
                <a:close/>
                <a:moveTo>
                  <a:pt x="7178251" y="2902009"/>
                </a:moveTo>
                <a:cubicBezTo>
                  <a:pt x="7221184" y="2902009"/>
                  <a:pt x="7255988" y="2936814"/>
                  <a:pt x="7255988" y="2979747"/>
                </a:cubicBezTo>
                <a:cubicBezTo>
                  <a:pt x="7255988" y="3022679"/>
                  <a:pt x="7221184" y="3057483"/>
                  <a:pt x="7178251" y="3057483"/>
                </a:cubicBezTo>
                <a:cubicBezTo>
                  <a:pt x="7135319" y="3057483"/>
                  <a:pt x="7100514" y="3022679"/>
                  <a:pt x="7100514" y="2979747"/>
                </a:cubicBezTo>
                <a:cubicBezTo>
                  <a:pt x="7100514" y="2936814"/>
                  <a:pt x="7135319" y="2902009"/>
                  <a:pt x="7178251" y="2902009"/>
                </a:cubicBezTo>
                <a:close/>
                <a:moveTo>
                  <a:pt x="6985327" y="2902009"/>
                </a:moveTo>
                <a:cubicBezTo>
                  <a:pt x="7028260" y="2902009"/>
                  <a:pt x="7063064" y="2936814"/>
                  <a:pt x="7063064" y="2979747"/>
                </a:cubicBezTo>
                <a:cubicBezTo>
                  <a:pt x="7063064" y="3022679"/>
                  <a:pt x="7028260" y="3057483"/>
                  <a:pt x="6985327" y="3057483"/>
                </a:cubicBezTo>
                <a:cubicBezTo>
                  <a:pt x="6942394" y="3057483"/>
                  <a:pt x="6907590" y="3022679"/>
                  <a:pt x="6907590" y="2979747"/>
                </a:cubicBezTo>
                <a:cubicBezTo>
                  <a:pt x="6907590" y="2936814"/>
                  <a:pt x="6942394" y="2902009"/>
                  <a:pt x="6985327" y="2902009"/>
                </a:cubicBezTo>
                <a:close/>
                <a:moveTo>
                  <a:pt x="6801810" y="2902009"/>
                </a:moveTo>
                <a:cubicBezTo>
                  <a:pt x="6844742" y="2902009"/>
                  <a:pt x="6879546" y="2936814"/>
                  <a:pt x="6879546" y="2979747"/>
                </a:cubicBezTo>
                <a:cubicBezTo>
                  <a:pt x="6879546" y="3022679"/>
                  <a:pt x="6844742" y="3057483"/>
                  <a:pt x="6801810" y="3057483"/>
                </a:cubicBezTo>
                <a:cubicBezTo>
                  <a:pt x="6758877" y="3057483"/>
                  <a:pt x="6724073" y="3022679"/>
                  <a:pt x="6724073" y="2979747"/>
                </a:cubicBezTo>
                <a:cubicBezTo>
                  <a:pt x="6724073" y="2936814"/>
                  <a:pt x="6758877" y="2902009"/>
                  <a:pt x="6801810" y="2902009"/>
                </a:cubicBezTo>
                <a:close/>
                <a:moveTo>
                  <a:pt x="6613588" y="2902009"/>
                </a:moveTo>
                <a:cubicBezTo>
                  <a:pt x="6656521" y="2902009"/>
                  <a:pt x="6691325" y="2936814"/>
                  <a:pt x="6691325" y="2979747"/>
                </a:cubicBezTo>
                <a:cubicBezTo>
                  <a:pt x="6691325" y="3022679"/>
                  <a:pt x="6656521" y="3057483"/>
                  <a:pt x="6613588" y="3057483"/>
                </a:cubicBezTo>
                <a:cubicBezTo>
                  <a:pt x="6570656" y="3057483"/>
                  <a:pt x="6535852" y="3022679"/>
                  <a:pt x="6535852" y="2979747"/>
                </a:cubicBezTo>
                <a:cubicBezTo>
                  <a:pt x="6535852" y="2936814"/>
                  <a:pt x="6570656" y="2902009"/>
                  <a:pt x="6613588" y="2902009"/>
                </a:cubicBezTo>
                <a:close/>
                <a:moveTo>
                  <a:pt x="6425367" y="2902009"/>
                </a:moveTo>
                <a:cubicBezTo>
                  <a:pt x="6468300" y="2902009"/>
                  <a:pt x="6503104" y="2936814"/>
                  <a:pt x="6503104" y="2979747"/>
                </a:cubicBezTo>
                <a:cubicBezTo>
                  <a:pt x="6503104" y="3022679"/>
                  <a:pt x="6468300" y="3057483"/>
                  <a:pt x="6425367" y="3057483"/>
                </a:cubicBezTo>
                <a:cubicBezTo>
                  <a:pt x="6382435" y="3057483"/>
                  <a:pt x="6347631" y="3022679"/>
                  <a:pt x="6347631" y="2979747"/>
                </a:cubicBezTo>
                <a:cubicBezTo>
                  <a:pt x="6347631" y="2936814"/>
                  <a:pt x="6382435" y="2902009"/>
                  <a:pt x="6425367" y="2902009"/>
                </a:cubicBezTo>
                <a:close/>
                <a:moveTo>
                  <a:pt x="6241850" y="2902009"/>
                </a:moveTo>
                <a:cubicBezTo>
                  <a:pt x="6284783" y="2902009"/>
                  <a:pt x="6319587" y="2936814"/>
                  <a:pt x="6319587" y="2979747"/>
                </a:cubicBezTo>
                <a:cubicBezTo>
                  <a:pt x="6319587" y="3022679"/>
                  <a:pt x="6284783" y="3057483"/>
                  <a:pt x="6241850" y="3057483"/>
                </a:cubicBezTo>
                <a:cubicBezTo>
                  <a:pt x="6198917" y="3057483"/>
                  <a:pt x="6164113" y="3022679"/>
                  <a:pt x="6164113" y="2979747"/>
                </a:cubicBezTo>
                <a:cubicBezTo>
                  <a:pt x="6164113" y="2936814"/>
                  <a:pt x="6198917" y="2902009"/>
                  <a:pt x="6241850" y="2902009"/>
                </a:cubicBezTo>
                <a:close/>
                <a:moveTo>
                  <a:pt x="5870113" y="2902009"/>
                </a:moveTo>
                <a:cubicBezTo>
                  <a:pt x="5913046" y="2902009"/>
                  <a:pt x="5947850" y="2936814"/>
                  <a:pt x="5947850" y="2979747"/>
                </a:cubicBezTo>
                <a:cubicBezTo>
                  <a:pt x="5947850" y="3022679"/>
                  <a:pt x="5913046" y="3057483"/>
                  <a:pt x="5870113" y="3057483"/>
                </a:cubicBezTo>
                <a:cubicBezTo>
                  <a:pt x="5827181" y="3057483"/>
                  <a:pt x="5792376" y="3022679"/>
                  <a:pt x="5792376" y="2979747"/>
                </a:cubicBezTo>
                <a:cubicBezTo>
                  <a:pt x="5792376" y="2936814"/>
                  <a:pt x="5827181" y="2902009"/>
                  <a:pt x="5870113" y="2902009"/>
                </a:cubicBezTo>
                <a:close/>
                <a:moveTo>
                  <a:pt x="5126655" y="2902009"/>
                </a:moveTo>
                <a:cubicBezTo>
                  <a:pt x="5169588" y="2902009"/>
                  <a:pt x="5204389" y="2936814"/>
                  <a:pt x="5204389" y="2979747"/>
                </a:cubicBezTo>
                <a:cubicBezTo>
                  <a:pt x="5204389" y="3022679"/>
                  <a:pt x="5169588" y="3057483"/>
                  <a:pt x="5126655" y="3057483"/>
                </a:cubicBezTo>
                <a:cubicBezTo>
                  <a:pt x="5083732" y="3057483"/>
                  <a:pt x="5048921" y="3022679"/>
                  <a:pt x="5048921" y="2979747"/>
                </a:cubicBezTo>
                <a:cubicBezTo>
                  <a:pt x="5048921" y="2936814"/>
                  <a:pt x="5083732" y="2902009"/>
                  <a:pt x="5126655" y="2902009"/>
                </a:cubicBezTo>
                <a:close/>
                <a:moveTo>
                  <a:pt x="4938438" y="2902009"/>
                </a:moveTo>
                <a:cubicBezTo>
                  <a:pt x="4981374" y="2902009"/>
                  <a:pt x="5016170" y="2936814"/>
                  <a:pt x="5016170" y="2979747"/>
                </a:cubicBezTo>
                <a:cubicBezTo>
                  <a:pt x="5016170" y="3022679"/>
                  <a:pt x="4981374" y="3057483"/>
                  <a:pt x="4938438" y="3057483"/>
                </a:cubicBezTo>
                <a:cubicBezTo>
                  <a:pt x="4895508" y="3057483"/>
                  <a:pt x="4860700" y="3022679"/>
                  <a:pt x="4860700" y="2979747"/>
                </a:cubicBezTo>
                <a:cubicBezTo>
                  <a:pt x="4860700" y="2936814"/>
                  <a:pt x="4895508" y="2902009"/>
                  <a:pt x="4938438" y="2902009"/>
                </a:cubicBezTo>
                <a:close/>
                <a:moveTo>
                  <a:pt x="2317516" y="2902009"/>
                </a:moveTo>
                <a:cubicBezTo>
                  <a:pt x="2360447" y="2902009"/>
                  <a:pt x="2395256" y="2936814"/>
                  <a:pt x="2395256" y="2979747"/>
                </a:cubicBezTo>
                <a:cubicBezTo>
                  <a:pt x="2395256" y="3022679"/>
                  <a:pt x="2360447" y="3057483"/>
                  <a:pt x="2317516" y="3057483"/>
                </a:cubicBezTo>
                <a:cubicBezTo>
                  <a:pt x="2274587" y="3057483"/>
                  <a:pt x="2239787" y="3022679"/>
                  <a:pt x="2239787" y="2979747"/>
                </a:cubicBezTo>
                <a:cubicBezTo>
                  <a:pt x="2239787" y="2936814"/>
                  <a:pt x="2274587" y="2902009"/>
                  <a:pt x="2317516" y="2902009"/>
                </a:cubicBezTo>
                <a:close/>
                <a:moveTo>
                  <a:pt x="2129311" y="2902009"/>
                </a:moveTo>
                <a:cubicBezTo>
                  <a:pt x="2172240" y="2902009"/>
                  <a:pt x="2207040" y="2936814"/>
                  <a:pt x="2207040" y="2979747"/>
                </a:cubicBezTo>
                <a:cubicBezTo>
                  <a:pt x="2207040" y="3022679"/>
                  <a:pt x="2172240" y="3057483"/>
                  <a:pt x="2129311" y="3057483"/>
                </a:cubicBezTo>
                <a:cubicBezTo>
                  <a:pt x="2086383" y="3057483"/>
                  <a:pt x="2051581" y="3022679"/>
                  <a:pt x="2051581" y="2979747"/>
                </a:cubicBezTo>
                <a:cubicBezTo>
                  <a:pt x="2051581" y="2936814"/>
                  <a:pt x="2086383" y="2902009"/>
                  <a:pt x="2129311" y="2902009"/>
                </a:cubicBezTo>
                <a:close/>
                <a:moveTo>
                  <a:pt x="1941108" y="2902009"/>
                </a:moveTo>
                <a:cubicBezTo>
                  <a:pt x="1984036" y="2902009"/>
                  <a:pt x="2018839" y="2936814"/>
                  <a:pt x="2018839" y="2979747"/>
                </a:cubicBezTo>
                <a:cubicBezTo>
                  <a:pt x="2018839" y="3022679"/>
                  <a:pt x="1984036" y="3057483"/>
                  <a:pt x="1941108" y="3057483"/>
                </a:cubicBezTo>
                <a:cubicBezTo>
                  <a:pt x="1898180" y="3057483"/>
                  <a:pt x="1863379" y="3022679"/>
                  <a:pt x="1863379" y="2979747"/>
                </a:cubicBezTo>
                <a:cubicBezTo>
                  <a:pt x="1863379" y="2936814"/>
                  <a:pt x="1898180" y="2902009"/>
                  <a:pt x="1941108" y="2902009"/>
                </a:cubicBezTo>
                <a:close/>
                <a:moveTo>
                  <a:pt x="1757610" y="2902009"/>
                </a:moveTo>
                <a:cubicBezTo>
                  <a:pt x="1800539" y="2902009"/>
                  <a:pt x="1835341" y="2936814"/>
                  <a:pt x="1835341" y="2979747"/>
                </a:cubicBezTo>
                <a:cubicBezTo>
                  <a:pt x="1835341" y="3022679"/>
                  <a:pt x="1800539" y="3057483"/>
                  <a:pt x="1757610" y="3057483"/>
                </a:cubicBezTo>
                <a:cubicBezTo>
                  <a:pt x="1714667" y="3057483"/>
                  <a:pt x="1679879" y="3022679"/>
                  <a:pt x="1679879" y="2979747"/>
                </a:cubicBezTo>
                <a:cubicBezTo>
                  <a:pt x="1679879" y="2936814"/>
                  <a:pt x="1714667" y="2902009"/>
                  <a:pt x="1757610" y="2902009"/>
                </a:cubicBezTo>
                <a:close/>
                <a:moveTo>
                  <a:pt x="1569376" y="2902009"/>
                </a:moveTo>
                <a:cubicBezTo>
                  <a:pt x="1612335" y="2902009"/>
                  <a:pt x="1647137" y="2936814"/>
                  <a:pt x="1647137" y="2979747"/>
                </a:cubicBezTo>
                <a:cubicBezTo>
                  <a:pt x="1647137" y="3022679"/>
                  <a:pt x="1612335" y="3057483"/>
                  <a:pt x="1569376" y="3057483"/>
                </a:cubicBezTo>
                <a:cubicBezTo>
                  <a:pt x="1526467" y="3057483"/>
                  <a:pt x="1491657" y="3022679"/>
                  <a:pt x="1491657" y="2979747"/>
                </a:cubicBezTo>
                <a:cubicBezTo>
                  <a:pt x="1491657" y="2936814"/>
                  <a:pt x="1526467" y="2902009"/>
                  <a:pt x="1569376" y="2902009"/>
                </a:cubicBezTo>
                <a:close/>
                <a:moveTo>
                  <a:pt x="1385857" y="2902009"/>
                </a:moveTo>
                <a:cubicBezTo>
                  <a:pt x="1428799" y="2902009"/>
                  <a:pt x="1463610" y="2936814"/>
                  <a:pt x="1463610" y="2979747"/>
                </a:cubicBezTo>
                <a:cubicBezTo>
                  <a:pt x="1463610" y="3022679"/>
                  <a:pt x="1428799" y="3057483"/>
                  <a:pt x="1385857" y="3057483"/>
                </a:cubicBezTo>
                <a:cubicBezTo>
                  <a:pt x="1342917" y="3057483"/>
                  <a:pt x="1308106" y="3022679"/>
                  <a:pt x="1308106" y="2979747"/>
                </a:cubicBezTo>
                <a:cubicBezTo>
                  <a:pt x="1308106" y="2936814"/>
                  <a:pt x="1342917" y="2902009"/>
                  <a:pt x="1385857" y="2902009"/>
                </a:cubicBezTo>
                <a:close/>
                <a:moveTo>
                  <a:pt x="1202320" y="2902009"/>
                </a:moveTo>
                <a:cubicBezTo>
                  <a:pt x="1245257" y="2902009"/>
                  <a:pt x="1280058" y="2936814"/>
                  <a:pt x="1280058" y="2979747"/>
                </a:cubicBezTo>
                <a:cubicBezTo>
                  <a:pt x="1280058" y="3022679"/>
                  <a:pt x="1245257" y="3057483"/>
                  <a:pt x="1202320" y="3057483"/>
                </a:cubicBezTo>
                <a:cubicBezTo>
                  <a:pt x="1159377" y="3057483"/>
                  <a:pt x="1124603" y="3022679"/>
                  <a:pt x="1124603" y="2979747"/>
                </a:cubicBezTo>
                <a:cubicBezTo>
                  <a:pt x="1124603" y="2936814"/>
                  <a:pt x="1159377" y="2902009"/>
                  <a:pt x="1202320" y="2902009"/>
                </a:cubicBezTo>
                <a:close/>
                <a:moveTo>
                  <a:pt x="1014100" y="2902009"/>
                </a:moveTo>
                <a:cubicBezTo>
                  <a:pt x="1057033" y="2902009"/>
                  <a:pt x="1091847" y="2936814"/>
                  <a:pt x="1091847" y="2979747"/>
                </a:cubicBezTo>
                <a:cubicBezTo>
                  <a:pt x="1091847" y="3022679"/>
                  <a:pt x="1057033" y="3057483"/>
                  <a:pt x="1014100" y="3057483"/>
                </a:cubicBezTo>
                <a:cubicBezTo>
                  <a:pt x="971183" y="3057483"/>
                  <a:pt x="936381" y="3022679"/>
                  <a:pt x="936381" y="2979747"/>
                </a:cubicBezTo>
                <a:cubicBezTo>
                  <a:pt x="936381" y="2936814"/>
                  <a:pt x="971183" y="2902009"/>
                  <a:pt x="1014100" y="2902009"/>
                </a:cubicBezTo>
                <a:close/>
                <a:moveTo>
                  <a:pt x="830585" y="2902009"/>
                </a:moveTo>
                <a:cubicBezTo>
                  <a:pt x="873511" y="2902009"/>
                  <a:pt x="908338" y="2936814"/>
                  <a:pt x="908338" y="2979747"/>
                </a:cubicBezTo>
                <a:cubicBezTo>
                  <a:pt x="908338" y="3022679"/>
                  <a:pt x="873511" y="3057483"/>
                  <a:pt x="830585" y="3057483"/>
                </a:cubicBezTo>
                <a:cubicBezTo>
                  <a:pt x="787650" y="3057483"/>
                  <a:pt x="752846" y="3022679"/>
                  <a:pt x="752846" y="2979747"/>
                </a:cubicBezTo>
                <a:cubicBezTo>
                  <a:pt x="752846" y="2936814"/>
                  <a:pt x="787650" y="2902009"/>
                  <a:pt x="830585" y="2902009"/>
                </a:cubicBezTo>
                <a:close/>
                <a:moveTo>
                  <a:pt x="642357" y="2902009"/>
                </a:moveTo>
                <a:cubicBezTo>
                  <a:pt x="685294" y="2902009"/>
                  <a:pt x="720097" y="2936814"/>
                  <a:pt x="720097" y="2979747"/>
                </a:cubicBezTo>
                <a:cubicBezTo>
                  <a:pt x="720097" y="3022679"/>
                  <a:pt x="685294" y="3057483"/>
                  <a:pt x="642357" y="3057483"/>
                </a:cubicBezTo>
                <a:cubicBezTo>
                  <a:pt x="599426" y="3057483"/>
                  <a:pt x="564622" y="3022679"/>
                  <a:pt x="564622" y="2979747"/>
                </a:cubicBezTo>
                <a:cubicBezTo>
                  <a:pt x="564622" y="2936814"/>
                  <a:pt x="599426" y="2902009"/>
                  <a:pt x="642357" y="2902009"/>
                </a:cubicBezTo>
                <a:close/>
                <a:moveTo>
                  <a:pt x="458842" y="2902009"/>
                </a:moveTo>
                <a:cubicBezTo>
                  <a:pt x="501775" y="2902009"/>
                  <a:pt x="536579" y="2936814"/>
                  <a:pt x="536579" y="2979747"/>
                </a:cubicBezTo>
                <a:cubicBezTo>
                  <a:pt x="536579" y="3022679"/>
                  <a:pt x="501775" y="3057483"/>
                  <a:pt x="458842" y="3057483"/>
                </a:cubicBezTo>
                <a:cubicBezTo>
                  <a:pt x="415909" y="3057483"/>
                  <a:pt x="381108" y="3022679"/>
                  <a:pt x="381108" y="2979747"/>
                </a:cubicBezTo>
                <a:cubicBezTo>
                  <a:pt x="381108" y="2936814"/>
                  <a:pt x="415909" y="2902009"/>
                  <a:pt x="458842" y="2902009"/>
                </a:cubicBezTo>
                <a:close/>
                <a:moveTo>
                  <a:pt x="458849" y="2727907"/>
                </a:moveTo>
                <a:cubicBezTo>
                  <a:pt x="501781" y="2727907"/>
                  <a:pt x="536586" y="2762711"/>
                  <a:pt x="536586" y="2805643"/>
                </a:cubicBezTo>
                <a:cubicBezTo>
                  <a:pt x="536586" y="2848576"/>
                  <a:pt x="501781" y="2883380"/>
                  <a:pt x="458849" y="2883380"/>
                </a:cubicBezTo>
                <a:cubicBezTo>
                  <a:pt x="415918" y="2883380"/>
                  <a:pt x="381115" y="2848576"/>
                  <a:pt x="381115" y="2805643"/>
                </a:cubicBezTo>
                <a:cubicBezTo>
                  <a:pt x="381115" y="2762711"/>
                  <a:pt x="415918" y="2727907"/>
                  <a:pt x="458849" y="2727907"/>
                </a:cubicBezTo>
                <a:close/>
                <a:moveTo>
                  <a:pt x="1202330" y="2727904"/>
                </a:moveTo>
                <a:cubicBezTo>
                  <a:pt x="1245263" y="2727904"/>
                  <a:pt x="1280065" y="2762708"/>
                  <a:pt x="1280065" y="2805641"/>
                </a:cubicBezTo>
                <a:cubicBezTo>
                  <a:pt x="1280065" y="2848574"/>
                  <a:pt x="1245263" y="2883379"/>
                  <a:pt x="1202330" y="2883379"/>
                </a:cubicBezTo>
                <a:cubicBezTo>
                  <a:pt x="1159386" y="2883379"/>
                  <a:pt x="1124612" y="2848574"/>
                  <a:pt x="1124612" y="2805641"/>
                </a:cubicBezTo>
                <a:cubicBezTo>
                  <a:pt x="1124612" y="2762708"/>
                  <a:pt x="1159386" y="2727904"/>
                  <a:pt x="1202330" y="2727904"/>
                </a:cubicBezTo>
                <a:close/>
                <a:moveTo>
                  <a:pt x="1014100" y="2727904"/>
                </a:moveTo>
                <a:cubicBezTo>
                  <a:pt x="1057033" y="2727904"/>
                  <a:pt x="1091855" y="2762708"/>
                  <a:pt x="1091855" y="2805641"/>
                </a:cubicBezTo>
                <a:cubicBezTo>
                  <a:pt x="1091855" y="2848574"/>
                  <a:pt x="1057033" y="2883379"/>
                  <a:pt x="1014100" y="2883379"/>
                </a:cubicBezTo>
                <a:cubicBezTo>
                  <a:pt x="971192" y="2883379"/>
                  <a:pt x="936391" y="2848574"/>
                  <a:pt x="936391" y="2805641"/>
                </a:cubicBezTo>
                <a:cubicBezTo>
                  <a:pt x="936391" y="2762708"/>
                  <a:pt x="971192" y="2727904"/>
                  <a:pt x="1014100" y="2727904"/>
                </a:cubicBezTo>
                <a:close/>
                <a:moveTo>
                  <a:pt x="830594" y="2727904"/>
                </a:moveTo>
                <a:cubicBezTo>
                  <a:pt x="873518" y="2727904"/>
                  <a:pt x="908346" y="2762708"/>
                  <a:pt x="908346" y="2805641"/>
                </a:cubicBezTo>
                <a:cubicBezTo>
                  <a:pt x="908346" y="2848574"/>
                  <a:pt x="873518" y="2883379"/>
                  <a:pt x="830594" y="2883379"/>
                </a:cubicBezTo>
                <a:cubicBezTo>
                  <a:pt x="787657" y="2883379"/>
                  <a:pt x="752853" y="2848574"/>
                  <a:pt x="752853" y="2805641"/>
                </a:cubicBezTo>
                <a:cubicBezTo>
                  <a:pt x="752853" y="2762708"/>
                  <a:pt x="787657" y="2727904"/>
                  <a:pt x="830594" y="2727904"/>
                </a:cubicBezTo>
                <a:close/>
                <a:moveTo>
                  <a:pt x="642364" y="2727904"/>
                </a:moveTo>
                <a:cubicBezTo>
                  <a:pt x="685303" y="2727904"/>
                  <a:pt x="720105" y="2762708"/>
                  <a:pt x="720105" y="2805641"/>
                </a:cubicBezTo>
                <a:cubicBezTo>
                  <a:pt x="720105" y="2848574"/>
                  <a:pt x="685303" y="2883379"/>
                  <a:pt x="642364" y="2883379"/>
                </a:cubicBezTo>
                <a:cubicBezTo>
                  <a:pt x="599434" y="2883379"/>
                  <a:pt x="564631" y="2848574"/>
                  <a:pt x="564631" y="2805641"/>
                </a:cubicBezTo>
                <a:cubicBezTo>
                  <a:pt x="564631" y="2762708"/>
                  <a:pt x="599434" y="2727904"/>
                  <a:pt x="642364" y="2727904"/>
                </a:cubicBezTo>
                <a:close/>
                <a:moveTo>
                  <a:pt x="10721520" y="2727902"/>
                </a:moveTo>
                <a:cubicBezTo>
                  <a:pt x="10764453" y="2727902"/>
                  <a:pt x="10799257" y="2762707"/>
                  <a:pt x="10799257" y="2805639"/>
                </a:cubicBezTo>
                <a:cubicBezTo>
                  <a:pt x="10799257" y="2848572"/>
                  <a:pt x="10764453" y="2883377"/>
                  <a:pt x="10721520" y="2883377"/>
                </a:cubicBezTo>
                <a:cubicBezTo>
                  <a:pt x="10678587" y="2883377"/>
                  <a:pt x="10643783" y="2848572"/>
                  <a:pt x="10643783" y="2805639"/>
                </a:cubicBezTo>
                <a:cubicBezTo>
                  <a:pt x="10643783" y="2762707"/>
                  <a:pt x="10678587" y="2727902"/>
                  <a:pt x="10721520" y="2727902"/>
                </a:cubicBezTo>
                <a:close/>
                <a:moveTo>
                  <a:pt x="10349782" y="2727902"/>
                </a:moveTo>
                <a:cubicBezTo>
                  <a:pt x="10392715" y="2727902"/>
                  <a:pt x="10427519" y="2762707"/>
                  <a:pt x="10427519" y="2805639"/>
                </a:cubicBezTo>
                <a:cubicBezTo>
                  <a:pt x="10427519" y="2848572"/>
                  <a:pt x="10392715" y="2883377"/>
                  <a:pt x="10349782" y="2883377"/>
                </a:cubicBezTo>
                <a:cubicBezTo>
                  <a:pt x="10306849" y="2883377"/>
                  <a:pt x="10272045" y="2848572"/>
                  <a:pt x="10272045" y="2805639"/>
                </a:cubicBezTo>
                <a:cubicBezTo>
                  <a:pt x="10272045" y="2762707"/>
                  <a:pt x="10306849" y="2727902"/>
                  <a:pt x="10349782" y="2727902"/>
                </a:cubicBezTo>
                <a:close/>
                <a:moveTo>
                  <a:pt x="10166265" y="2727902"/>
                </a:moveTo>
                <a:cubicBezTo>
                  <a:pt x="10209198" y="2727902"/>
                  <a:pt x="10244002" y="2762707"/>
                  <a:pt x="10244002" y="2805639"/>
                </a:cubicBezTo>
                <a:cubicBezTo>
                  <a:pt x="10244002" y="2848572"/>
                  <a:pt x="10209198" y="2883377"/>
                  <a:pt x="10166265" y="2883377"/>
                </a:cubicBezTo>
                <a:cubicBezTo>
                  <a:pt x="10123332" y="2883377"/>
                  <a:pt x="10088528" y="2848572"/>
                  <a:pt x="10088528" y="2805639"/>
                </a:cubicBezTo>
                <a:cubicBezTo>
                  <a:pt x="10088528" y="2762707"/>
                  <a:pt x="10123332" y="2727902"/>
                  <a:pt x="10166265" y="2727902"/>
                </a:cubicBezTo>
                <a:close/>
                <a:moveTo>
                  <a:pt x="9978044" y="2727902"/>
                </a:moveTo>
                <a:cubicBezTo>
                  <a:pt x="10020977" y="2727902"/>
                  <a:pt x="10055781" y="2762707"/>
                  <a:pt x="10055781" y="2805639"/>
                </a:cubicBezTo>
                <a:cubicBezTo>
                  <a:pt x="10055781" y="2848572"/>
                  <a:pt x="10020977" y="2883377"/>
                  <a:pt x="9978044" y="2883377"/>
                </a:cubicBezTo>
                <a:cubicBezTo>
                  <a:pt x="9935111" y="2883377"/>
                  <a:pt x="9900307" y="2848572"/>
                  <a:pt x="9900307" y="2805639"/>
                </a:cubicBezTo>
                <a:cubicBezTo>
                  <a:pt x="9900307" y="2762707"/>
                  <a:pt x="9935111" y="2727902"/>
                  <a:pt x="9978044" y="2727902"/>
                </a:cubicBezTo>
                <a:close/>
                <a:moveTo>
                  <a:pt x="9789823" y="2727902"/>
                </a:moveTo>
                <a:cubicBezTo>
                  <a:pt x="9832756" y="2727902"/>
                  <a:pt x="9867560" y="2762707"/>
                  <a:pt x="9867560" y="2805639"/>
                </a:cubicBezTo>
                <a:cubicBezTo>
                  <a:pt x="9867560" y="2848572"/>
                  <a:pt x="9832756" y="2883377"/>
                  <a:pt x="9789823" y="2883377"/>
                </a:cubicBezTo>
                <a:cubicBezTo>
                  <a:pt x="9746890" y="2883377"/>
                  <a:pt x="9712086" y="2848572"/>
                  <a:pt x="9712086" y="2805639"/>
                </a:cubicBezTo>
                <a:cubicBezTo>
                  <a:pt x="9712086" y="2762707"/>
                  <a:pt x="9746890" y="2727902"/>
                  <a:pt x="9789823" y="2727902"/>
                </a:cubicBezTo>
                <a:close/>
                <a:moveTo>
                  <a:pt x="9606308" y="2727902"/>
                </a:moveTo>
                <a:cubicBezTo>
                  <a:pt x="9649241" y="2727902"/>
                  <a:pt x="9684045" y="2762707"/>
                  <a:pt x="9684045" y="2805639"/>
                </a:cubicBezTo>
                <a:cubicBezTo>
                  <a:pt x="9684045" y="2848572"/>
                  <a:pt x="9649241" y="2883377"/>
                  <a:pt x="9606308" y="2883377"/>
                </a:cubicBezTo>
                <a:cubicBezTo>
                  <a:pt x="9563375" y="2883377"/>
                  <a:pt x="9528571" y="2848572"/>
                  <a:pt x="9528571" y="2805639"/>
                </a:cubicBezTo>
                <a:cubicBezTo>
                  <a:pt x="9528571" y="2762707"/>
                  <a:pt x="9563375" y="2727902"/>
                  <a:pt x="9606308" y="2727902"/>
                </a:cubicBezTo>
                <a:close/>
                <a:moveTo>
                  <a:pt x="9413381" y="2727902"/>
                </a:moveTo>
                <a:cubicBezTo>
                  <a:pt x="9456314" y="2727902"/>
                  <a:pt x="9491118" y="2762707"/>
                  <a:pt x="9491118" y="2805639"/>
                </a:cubicBezTo>
                <a:cubicBezTo>
                  <a:pt x="9491118" y="2848572"/>
                  <a:pt x="9456314" y="2883377"/>
                  <a:pt x="9413381" y="2883377"/>
                </a:cubicBezTo>
                <a:cubicBezTo>
                  <a:pt x="9370448" y="2883377"/>
                  <a:pt x="9335644" y="2848572"/>
                  <a:pt x="9335644" y="2805639"/>
                </a:cubicBezTo>
                <a:cubicBezTo>
                  <a:pt x="9335644" y="2762707"/>
                  <a:pt x="9370448" y="2727902"/>
                  <a:pt x="9413381" y="2727902"/>
                </a:cubicBezTo>
                <a:close/>
                <a:moveTo>
                  <a:pt x="9234570" y="2727902"/>
                </a:moveTo>
                <a:cubicBezTo>
                  <a:pt x="9277503" y="2727902"/>
                  <a:pt x="9312307" y="2762707"/>
                  <a:pt x="9312307" y="2805639"/>
                </a:cubicBezTo>
                <a:cubicBezTo>
                  <a:pt x="9312307" y="2848572"/>
                  <a:pt x="9277503" y="2883377"/>
                  <a:pt x="9234570" y="2883377"/>
                </a:cubicBezTo>
                <a:cubicBezTo>
                  <a:pt x="9191637" y="2883377"/>
                  <a:pt x="9156833" y="2848572"/>
                  <a:pt x="9156833" y="2805639"/>
                </a:cubicBezTo>
                <a:cubicBezTo>
                  <a:pt x="9156833" y="2762707"/>
                  <a:pt x="9191637" y="2727902"/>
                  <a:pt x="9234570" y="2727902"/>
                </a:cubicBezTo>
                <a:close/>
                <a:moveTo>
                  <a:pt x="9036939" y="2727902"/>
                </a:moveTo>
                <a:cubicBezTo>
                  <a:pt x="9079871" y="2727902"/>
                  <a:pt x="9114675" y="2762707"/>
                  <a:pt x="9114675" y="2805639"/>
                </a:cubicBezTo>
                <a:cubicBezTo>
                  <a:pt x="9114675" y="2848572"/>
                  <a:pt x="9079871" y="2883377"/>
                  <a:pt x="9036939" y="2883377"/>
                </a:cubicBezTo>
                <a:cubicBezTo>
                  <a:pt x="8994006" y="2883377"/>
                  <a:pt x="8959202" y="2848572"/>
                  <a:pt x="8959202" y="2805639"/>
                </a:cubicBezTo>
                <a:cubicBezTo>
                  <a:pt x="8959202" y="2762707"/>
                  <a:pt x="8994006" y="2727902"/>
                  <a:pt x="9036939" y="2727902"/>
                </a:cubicBezTo>
                <a:close/>
                <a:moveTo>
                  <a:pt x="8853421" y="2727902"/>
                </a:moveTo>
                <a:cubicBezTo>
                  <a:pt x="8896354" y="2727902"/>
                  <a:pt x="8931158" y="2762707"/>
                  <a:pt x="8931158" y="2805639"/>
                </a:cubicBezTo>
                <a:cubicBezTo>
                  <a:pt x="8931158" y="2848572"/>
                  <a:pt x="8896354" y="2883377"/>
                  <a:pt x="8853421" y="2883377"/>
                </a:cubicBezTo>
                <a:cubicBezTo>
                  <a:pt x="8810489" y="2883377"/>
                  <a:pt x="8775685" y="2848572"/>
                  <a:pt x="8775685" y="2805639"/>
                </a:cubicBezTo>
                <a:cubicBezTo>
                  <a:pt x="8775685" y="2762707"/>
                  <a:pt x="8810489" y="2727902"/>
                  <a:pt x="8853421" y="2727902"/>
                </a:cubicBezTo>
                <a:close/>
                <a:moveTo>
                  <a:pt x="8669908" y="2727902"/>
                </a:moveTo>
                <a:cubicBezTo>
                  <a:pt x="8712841" y="2727902"/>
                  <a:pt x="8747645" y="2762707"/>
                  <a:pt x="8747645" y="2805639"/>
                </a:cubicBezTo>
                <a:cubicBezTo>
                  <a:pt x="8747645" y="2848572"/>
                  <a:pt x="8712841" y="2883377"/>
                  <a:pt x="8669908" y="2883377"/>
                </a:cubicBezTo>
                <a:cubicBezTo>
                  <a:pt x="8626975" y="2883377"/>
                  <a:pt x="8592171" y="2848572"/>
                  <a:pt x="8592171" y="2805639"/>
                </a:cubicBezTo>
                <a:cubicBezTo>
                  <a:pt x="8592171" y="2762707"/>
                  <a:pt x="8626975" y="2727902"/>
                  <a:pt x="8669908" y="2727902"/>
                </a:cubicBezTo>
                <a:close/>
                <a:moveTo>
                  <a:pt x="8481684" y="2727902"/>
                </a:moveTo>
                <a:cubicBezTo>
                  <a:pt x="8524617" y="2727902"/>
                  <a:pt x="8559421" y="2762707"/>
                  <a:pt x="8559421" y="2805639"/>
                </a:cubicBezTo>
                <a:cubicBezTo>
                  <a:pt x="8559421" y="2848572"/>
                  <a:pt x="8524617" y="2883377"/>
                  <a:pt x="8481684" y="2883377"/>
                </a:cubicBezTo>
                <a:cubicBezTo>
                  <a:pt x="8438752" y="2883377"/>
                  <a:pt x="8403948" y="2848572"/>
                  <a:pt x="8403948" y="2805639"/>
                </a:cubicBezTo>
                <a:cubicBezTo>
                  <a:pt x="8403948" y="2762707"/>
                  <a:pt x="8438752" y="2727902"/>
                  <a:pt x="8481684" y="2727902"/>
                </a:cubicBezTo>
                <a:close/>
                <a:moveTo>
                  <a:pt x="8298167" y="2727902"/>
                </a:moveTo>
                <a:cubicBezTo>
                  <a:pt x="8341100" y="2727902"/>
                  <a:pt x="8375904" y="2762707"/>
                  <a:pt x="8375904" y="2805639"/>
                </a:cubicBezTo>
                <a:cubicBezTo>
                  <a:pt x="8375904" y="2848572"/>
                  <a:pt x="8341100" y="2883377"/>
                  <a:pt x="8298167" y="2883377"/>
                </a:cubicBezTo>
                <a:cubicBezTo>
                  <a:pt x="8255235" y="2883377"/>
                  <a:pt x="8220430" y="2848572"/>
                  <a:pt x="8220430" y="2805639"/>
                </a:cubicBezTo>
                <a:cubicBezTo>
                  <a:pt x="8220430" y="2762707"/>
                  <a:pt x="8255235" y="2727902"/>
                  <a:pt x="8298167" y="2727902"/>
                </a:cubicBezTo>
                <a:close/>
                <a:moveTo>
                  <a:pt x="8109949" y="2727902"/>
                </a:moveTo>
                <a:cubicBezTo>
                  <a:pt x="8152882" y="2727902"/>
                  <a:pt x="8187686" y="2762707"/>
                  <a:pt x="8187686" y="2805639"/>
                </a:cubicBezTo>
                <a:cubicBezTo>
                  <a:pt x="8187686" y="2848572"/>
                  <a:pt x="8152882" y="2883377"/>
                  <a:pt x="8109949" y="2883377"/>
                </a:cubicBezTo>
                <a:cubicBezTo>
                  <a:pt x="8067016" y="2883377"/>
                  <a:pt x="8032212" y="2848572"/>
                  <a:pt x="8032212" y="2805639"/>
                </a:cubicBezTo>
                <a:cubicBezTo>
                  <a:pt x="8032212" y="2762707"/>
                  <a:pt x="8067016" y="2727902"/>
                  <a:pt x="8109949" y="2727902"/>
                </a:cubicBezTo>
                <a:close/>
                <a:moveTo>
                  <a:pt x="7926434" y="2727902"/>
                </a:moveTo>
                <a:cubicBezTo>
                  <a:pt x="7969367" y="2727902"/>
                  <a:pt x="8004171" y="2762707"/>
                  <a:pt x="8004171" y="2805639"/>
                </a:cubicBezTo>
                <a:cubicBezTo>
                  <a:pt x="8004171" y="2848572"/>
                  <a:pt x="7969367" y="2883377"/>
                  <a:pt x="7926434" y="2883377"/>
                </a:cubicBezTo>
                <a:cubicBezTo>
                  <a:pt x="7883501" y="2883377"/>
                  <a:pt x="7848697" y="2848572"/>
                  <a:pt x="7848697" y="2805639"/>
                </a:cubicBezTo>
                <a:cubicBezTo>
                  <a:pt x="7848697" y="2762707"/>
                  <a:pt x="7883501" y="2727902"/>
                  <a:pt x="7926434" y="2727902"/>
                </a:cubicBezTo>
                <a:close/>
                <a:moveTo>
                  <a:pt x="7738213" y="2727902"/>
                </a:moveTo>
                <a:cubicBezTo>
                  <a:pt x="7781146" y="2727902"/>
                  <a:pt x="7815950" y="2762707"/>
                  <a:pt x="7815950" y="2805639"/>
                </a:cubicBezTo>
                <a:cubicBezTo>
                  <a:pt x="7815950" y="2848572"/>
                  <a:pt x="7781146" y="2883377"/>
                  <a:pt x="7738213" y="2883377"/>
                </a:cubicBezTo>
                <a:cubicBezTo>
                  <a:pt x="7695280" y="2883377"/>
                  <a:pt x="7660476" y="2848572"/>
                  <a:pt x="7660476" y="2805639"/>
                </a:cubicBezTo>
                <a:cubicBezTo>
                  <a:pt x="7660476" y="2762707"/>
                  <a:pt x="7695280" y="2727902"/>
                  <a:pt x="7738213" y="2727902"/>
                </a:cubicBezTo>
                <a:close/>
                <a:moveTo>
                  <a:pt x="7554696" y="2727902"/>
                </a:moveTo>
                <a:cubicBezTo>
                  <a:pt x="7597629" y="2727902"/>
                  <a:pt x="7632433" y="2762707"/>
                  <a:pt x="7632433" y="2805639"/>
                </a:cubicBezTo>
                <a:cubicBezTo>
                  <a:pt x="7632433" y="2848572"/>
                  <a:pt x="7597629" y="2883377"/>
                  <a:pt x="7554696" y="2883377"/>
                </a:cubicBezTo>
                <a:cubicBezTo>
                  <a:pt x="7511763" y="2883377"/>
                  <a:pt x="7476959" y="2848572"/>
                  <a:pt x="7476959" y="2805639"/>
                </a:cubicBezTo>
                <a:cubicBezTo>
                  <a:pt x="7476959" y="2762707"/>
                  <a:pt x="7511763" y="2727902"/>
                  <a:pt x="7554696" y="2727902"/>
                </a:cubicBezTo>
                <a:close/>
                <a:moveTo>
                  <a:pt x="7178251" y="2727902"/>
                </a:moveTo>
                <a:cubicBezTo>
                  <a:pt x="7221184" y="2727902"/>
                  <a:pt x="7255988" y="2762707"/>
                  <a:pt x="7255988" y="2805639"/>
                </a:cubicBezTo>
                <a:cubicBezTo>
                  <a:pt x="7255988" y="2848572"/>
                  <a:pt x="7221184" y="2883377"/>
                  <a:pt x="7178251" y="2883377"/>
                </a:cubicBezTo>
                <a:cubicBezTo>
                  <a:pt x="7135319" y="2883377"/>
                  <a:pt x="7100514" y="2848572"/>
                  <a:pt x="7100514" y="2805639"/>
                </a:cubicBezTo>
                <a:cubicBezTo>
                  <a:pt x="7100514" y="2762707"/>
                  <a:pt x="7135319" y="2727902"/>
                  <a:pt x="7178251" y="2727902"/>
                </a:cubicBezTo>
                <a:close/>
                <a:moveTo>
                  <a:pt x="6985327" y="2727902"/>
                </a:moveTo>
                <a:cubicBezTo>
                  <a:pt x="7028260" y="2727902"/>
                  <a:pt x="7063064" y="2762707"/>
                  <a:pt x="7063064" y="2805639"/>
                </a:cubicBezTo>
                <a:cubicBezTo>
                  <a:pt x="7063064" y="2848572"/>
                  <a:pt x="7028260" y="2883377"/>
                  <a:pt x="6985327" y="2883377"/>
                </a:cubicBezTo>
                <a:cubicBezTo>
                  <a:pt x="6942394" y="2883377"/>
                  <a:pt x="6907590" y="2848572"/>
                  <a:pt x="6907590" y="2805639"/>
                </a:cubicBezTo>
                <a:cubicBezTo>
                  <a:pt x="6907590" y="2762707"/>
                  <a:pt x="6942394" y="2727902"/>
                  <a:pt x="6985327" y="2727902"/>
                </a:cubicBezTo>
                <a:close/>
                <a:moveTo>
                  <a:pt x="6801810" y="2727902"/>
                </a:moveTo>
                <a:cubicBezTo>
                  <a:pt x="6844742" y="2727902"/>
                  <a:pt x="6879546" y="2762707"/>
                  <a:pt x="6879546" y="2805639"/>
                </a:cubicBezTo>
                <a:cubicBezTo>
                  <a:pt x="6879546" y="2848572"/>
                  <a:pt x="6844742" y="2883377"/>
                  <a:pt x="6801810" y="2883377"/>
                </a:cubicBezTo>
                <a:cubicBezTo>
                  <a:pt x="6758877" y="2883377"/>
                  <a:pt x="6724073" y="2848572"/>
                  <a:pt x="6724073" y="2805639"/>
                </a:cubicBezTo>
                <a:cubicBezTo>
                  <a:pt x="6724073" y="2762707"/>
                  <a:pt x="6758877" y="2727902"/>
                  <a:pt x="6801810" y="2727902"/>
                </a:cubicBezTo>
                <a:close/>
                <a:moveTo>
                  <a:pt x="6613588" y="2727902"/>
                </a:moveTo>
                <a:cubicBezTo>
                  <a:pt x="6656521" y="2727902"/>
                  <a:pt x="6691325" y="2762707"/>
                  <a:pt x="6691325" y="2805639"/>
                </a:cubicBezTo>
                <a:cubicBezTo>
                  <a:pt x="6691325" y="2848572"/>
                  <a:pt x="6656521" y="2883377"/>
                  <a:pt x="6613588" y="2883377"/>
                </a:cubicBezTo>
                <a:cubicBezTo>
                  <a:pt x="6570656" y="2883377"/>
                  <a:pt x="6535852" y="2848572"/>
                  <a:pt x="6535852" y="2805639"/>
                </a:cubicBezTo>
                <a:cubicBezTo>
                  <a:pt x="6535852" y="2762707"/>
                  <a:pt x="6570656" y="2727902"/>
                  <a:pt x="6613588" y="2727902"/>
                </a:cubicBezTo>
                <a:close/>
                <a:moveTo>
                  <a:pt x="6425367" y="2727902"/>
                </a:moveTo>
                <a:cubicBezTo>
                  <a:pt x="6468300" y="2727902"/>
                  <a:pt x="6503104" y="2762707"/>
                  <a:pt x="6503104" y="2805639"/>
                </a:cubicBezTo>
                <a:cubicBezTo>
                  <a:pt x="6503104" y="2848572"/>
                  <a:pt x="6468300" y="2883377"/>
                  <a:pt x="6425367" y="2883377"/>
                </a:cubicBezTo>
                <a:cubicBezTo>
                  <a:pt x="6382435" y="2883377"/>
                  <a:pt x="6347631" y="2848572"/>
                  <a:pt x="6347631" y="2805639"/>
                </a:cubicBezTo>
                <a:cubicBezTo>
                  <a:pt x="6347631" y="2762707"/>
                  <a:pt x="6382435" y="2727902"/>
                  <a:pt x="6425367" y="2727902"/>
                </a:cubicBezTo>
                <a:close/>
                <a:moveTo>
                  <a:pt x="6241850" y="2727902"/>
                </a:moveTo>
                <a:cubicBezTo>
                  <a:pt x="6284783" y="2727902"/>
                  <a:pt x="6319587" y="2762707"/>
                  <a:pt x="6319587" y="2805639"/>
                </a:cubicBezTo>
                <a:cubicBezTo>
                  <a:pt x="6319587" y="2848572"/>
                  <a:pt x="6284783" y="2883377"/>
                  <a:pt x="6241850" y="2883377"/>
                </a:cubicBezTo>
                <a:cubicBezTo>
                  <a:pt x="6198917" y="2883377"/>
                  <a:pt x="6164113" y="2848572"/>
                  <a:pt x="6164113" y="2805639"/>
                </a:cubicBezTo>
                <a:cubicBezTo>
                  <a:pt x="6164113" y="2762707"/>
                  <a:pt x="6198917" y="2727902"/>
                  <a:pt x="6241850" y="2727902"/>
                </a:cubicBezTo>
                <a:close/>
                <a:moveTo>
                  <a:pt x="6053630" y="2727902"/>
                </a:moveTo>
                <a:cubicBezTo>
                  <a:pt x="6096563" y="2727902"/>
                  <a:pt x="6131367" y="2762707"/>
                  <a:pt x="6131367" y="2805639"/>
                </a:cubicBezTo>
                <a:cubicBezTo>
                  <a:pt x="6131367" y="2848572"/>
                  <a:pt x="6096563" y="2883377"/>
                  <a:pt x="6053630" y="2883377"/>
                </a:cubicBezTo>
                <a:cubicBezTo>
                  <a:pt x="6010698" y="2883377"/>
                  <a:pt x="5975894" y="2848572"/>
                  <a:pt x="5975894" y="2805639"/>
                </a:cubicBezTo>
                <a:cubicBezTo>
                  <a:pt x="5975894" y="2762707"/>
                  <a:pt x="6010698" y="2727902"/>
                  <a:pt x="6053630" y="2727902"/>
                </a:cubicBezTo>
                <a:close/>
                <a:moveTo>
                  <a:pt x="5870113" y="2727902"/>
                </a:moveTo>
                <a:cubicBezTo>
                  <a:pt x="5913046" y="2727902"/>
                  <a:pt x="5947850" y="2762707"/>
                  <a:pt x="5947850" y="2805639"/>
                </a:cubicBezTo>
                <a:cubicBezTo>
                  <a:pt x="5947850" y="2848572"/>
                  <a:pt x="5913046" y="2883377"/>
                  <a:pt x="5870113" y="2883377"/>
                </a:cubicBezTo>
                <a:cubicBezTo>
                  <a:pt x="5827181" y="2883377"/>
                  <a:pt x="5792376" y="2848572"/>
                  <a:pt x="5792376" y="2805639"/>
                </a:cubicBezTo>
                <a:cubicBezTo>
                  <a:pt x="5792376" y="2762707"/>
                  <a:pt x="5827181" y="2727902"/>
                  <a:pt x="5870113" y="2727902"/>
                </a:cubicBezTo>
                <a:close/>
                <a:moveTo>
                  <a:pt x="5310163" y="2727902"/>
                </a:moveTo>
                <a:cubicBezTo>
                  <a:pt x="5353095" y="2727902"/>
                  <a:pt x="5387896" y="2762707"/>
                  <a:pt x="5387896" y="2805639"/>
                </a:cubicBezTo>
                <a:cubicBezTo>
                  <a:pt x="5387896" y="2848572"/>
                  <a:pt x="5353095" y="2883377"/>
                  <a:pt x="5310163" y="2883377"/>
                </a:cubicBezTo>
                <a:cubicBezTo>
                  <a:pt x="5267230" y="2883377"/>
                  <a:pt x="5232434" y="2848572"/>
                  <a:pt x="5232434" y="2805639"/>
                </a:cubicBezTo>
                <a:cubicBezTo>
                  <a:pt x="5232434" y="2762707"/>
                  <a:pt x="5267230" y="2727902"/>
                  <a:pt x="5310163" y="2727902"/>
                </a:cubicBezTo>
                <a:close/>
                <a:moveTo>
                  <a:pt x="5126655" y="2727902"/>
                </a:moveTo>
                <a:cubicBezTo>
                  <a:pt x="5169588" y="2727902"/>
                  <a:pt x="5204391" y="2762707"/>
                  <a:pt x="5204391" y="2805639"/>
                </a:cubicBezTo>
                <a:cubicBezTo>
                  <a:pt x="5204391" y="2848572"/>
                  <a:pt x="5169588" y="2883377"/>
                  <a:pt x="5126655" y="2883377"/>
                </a:cubicBezTo>
                <a:cubicBezTo>
                  <a:pt x="5083732" y="2883377"/>
                  <a:pt x="5048924" y="2848572"/>
                  <a:pt x="5048924" y="2805639"/>
                </a:cubicBezTo>
                <a:cubicBezTo>
                  <a:pt x="5048924" y="2762707"/>
                  <a:pt x="5083732" y="2727902"/>
                  <a:pt x="5126655" y="2727902"/>
                </a:cubicBezTo>
                <a:close/>
                <a:moveTo>
                  <a:pt x="4938438" y="2727902"/>
                </a:moveTo>
                <a:cubicBezTo>
                  <a:pt x="4981377" y="2727902"/>
                  <a:pt x="5016170" y="2762707"/>
                  <a:pt x="5016170" y="2805639"/>
                </a:cubicBezTo>
                <a:cubicBezTo>
                  <a:pt x="5016170" y="2848572"/>
                  <a:pt x="4981377" y="2883377"/>
                  <a:pt x="4938438" y="2883377"/>
                </a:cubicBezTo>
                <a:cubicBezTo>
                  <a:pt x="4895511" y="2883377"/>
                  <a:pt x="4860701" y="2848572"/>
                  <a:pt x="4860701" y="2805639"/>
                </a:cubicBezTo>
                <a:cubicBezTo>
                  <a:pt x="4860701" y="2762707"/>
                  <a:pt x="4895511" y="2727902"/>
                  <a:pt x="4938438" y="2727902"/>
                </a:cubicBezTo>
                <a:close/>
                <a:moveTo>
                  <a:pt x="2510472" y="2727902"/>
                </a:moveTo>
                <a:cubicBezTo>
                  <a:pt x="2553413" y="2727902"/>
                  <a:pt x="2588214" y="2762707"/>
                  <a:pt x="2588214" y="2805639"/>
                </a:cubicBezTo>
                <a:cubicBezTo>
                  <a:pt x="2588214" y="2848572"/>
                  <a:pt x="2553413" y="2883377"/>
                  <a:pt x="2510472" y="2883377"/>
                </a:cubicBezTo>
                <a:cubicBezTo>
                  <a:pt x="2467532" y="2883377"/>
                  <a:pt x="2432721" y="2848572"/>
                  <a:pt x="2432721" y="2805639"/>
                </a:cubicBezTo>
                <a:cubicBezTo>
                  <a:pt x="2432721" y="2762707"/>
                  <a:pt x="2467532" y="2727902"/>
                  <a:pt x="2510472" y="2727902"/>
                </a:cubicBezTo>
                <a:close/>
                <a:moveTo>
                  <a:pt x="2317522" y="2727902"/>
                </a:moveTo>
                <a:cubicBezTo>
                  <a:pt x="2360452" y="2727902"/>
                  <a:pt x="2395263" y="2762707"/>
                  <a:pt x="2395263" y="2805639"/>
                </a:cubicBezTo>
                <a:cubicBezTo>
                  <a:pt x="2395263" y="2848572"/>
                  <a:pt x="2360452" y="2883377"/>
                  <a:pt x="2317522" y="2883377"/>
                </a:cubicBezTo>
                <a:cubicBezTo>
                  <a:pt x="2274594" y="2883377"/>
                  <a:pt x="2239793" y="2848572"/>
                  <a:pt x="2239793" y="2805639"/>
                </a:cubicBezTo>
                <a:cubicBezTo>
                  <a:pt x="2239793" y="2762707"/>
                  <a:pt x="2274594" y="2727902"/>
                  <a:pt x="2317522" y="2727902"/>
                </a:cubicBezTo>
                <a:close/>
                <a:moveTo>
                  <a:pt x="2129319" y="2727902"/>
                </a:moveTo>
                <a:cubicBezTo>
                  <a:pt x="2172247" y="2727902"/>
                  <a:pt x="2207048" y="2762707"/>
                  <a:pt x="2207048" y="2805639"/>
                </a:cubicBezTo>
                <a:cubicBezTo>
                  <a:pt x="2207048" y="2848572"/>
                  <a:pt x="2172247" y="2883377"/>
                  <a:pt x="2129319" y="2883377"/>
                </a:cubicBezTo>
                <a:cubicBezTo>
                  <a:pt x="2086390" y="2883377"/>
                  <a:pt x="2051590" y="2848572"/>
                  <a:pt x="2051590" y="2805639"/>
                </a:cubicBezTo>
                <a:cubicBezTo>
                  <a:pt x="2051590" y="2762707"/>
                  <a:pt x="2086390" y="2727902"/>
                  <a:pt x="2129319" y="2727902"/>
                </a:cubicBezTo>
                <a:close/>
                <a:moveTo>
                  <a:pt x="1941117" y="2727902"/>
                </a:moveTo>
                <a:cubicBezTo>
                  <a:pt x="1984045" y="2727902"/>
                  <a:pt x="2018846" y="2762707"/>
                  <a:pt x="2018846" y="2805639"/>
                </a:cubicBezTo>
                <a:cubicBezTo>
                  <a:pt x="2018846" y="2848572"/>
                  <a:pt x="1984045" y="2883377"/>
                  <a:pt x="1941117" y="2883377"/>
                </a:cubicBezTo>
                <a:cubicBezTo>
                  <a:pt x="1898189" y="2883377"/>
                  <a:pt x="1863389" y="2848572"/>
                  <a:pt x="1863389" y="2805639"/>
                </a:cubicBezTo>
                <a:cubicBezTo>
                  <a:pt x="1863389" y="2762707"/>
                  <a:pt x="1898189" y="2727902"/>
                  <a:pt x="1941117" y="2727902"/>
                </a:cubicBezTo>
                <a:close/>
                <a:moveTo>
                  <a:pt x="1757621" y="2727902"/>
                </a:moveTo>
                <a:cubicBezTo>
                  <a:pt x="1800546" y="2727902"/>
                  <a:pt x="1835350" y="2762707"/>
                  <a:pt x="1835350" y="2805639"/>
                </a:cubicBezTo>
                <a:cubicBezTo>
                  <a:pt x="1835350" y="2848572"/>
                  <a:pt x="1800546" y="2883377"/>
                  <a:pt x="1757621" y="2883377"/>
                </a:cubicBezTo>
                <a:cubicBezTo>
                  <a:pt x="1714679" y="2883377"/>
                  <a:pt x="1679891" y="2848572"/>
                  <a:pt x="1679891" y="2805639"/>
                </a:cubicBezTo>
                <a:cubicBezTo>
                  <a:pt x="1679891" y="2762707"/>
                  <a:pt x="1714679" y="2727902"/>
                  <a:pt x="1757621" y="2727902"/>
                </a:cubicBezTo>
                <a:close/>
                <a:moveTo>
                  <a:pt x="1569401" y="2727902"/>
                </a:moveTo>
                <a:cubicBezTo>
                  <a:pt x="1612347" y="2727902"/>
                  <a:pt x="1647145" y="2762707"/>
                  <a:pt x="1647145" y="2805639"/>
                </a:cubicBezTo>
                <a:cubicBezTo>
                  <a:pt x="1647145" y="2848572"/>
                  <a:pt x="1612347" y="2883377"/>
                  <a:pt x="1569401" y="2883377"/>
                </a:cubicBezTo>
                <a:cubicBezTo>
                  <a:pt x="1526479" y="2883377"/>
                  <a:pt x="1491668" y="2848572"/>
                  <a:pt x="1491668" y="2805639"/>
                </a:cubicBezTo>
                <a:cubicBezTo>
                  <a:pt x="1491668" y="2762707"/>
                  <a:pt x="1526479" y="2727902"/>
                  <a:pt x="1569401" y="2727902"/>
                </a:cubicBezTo>
                <a:close/>
                <a:moveTo>
                  <a:pt x="1385867" y="2727902"/>
                </a:moveTo>
                <a:cubicBezTo>
                  <a:pt x="1428808" y="2727902"/>
                  <a:pt x="1463620" y="2762707"/>
                  <a:pt x="1463620" y="2805639"/>
                </a:cubicBezTo>
                <a:cubicBezTo>
                  <a:pt x="1463620" y="2848572"/>
                  <a:pt x="1428808" y="2883377"/>
                  <a:pt x="1385867" y="2883377"/>
                </a:cubicBezTo>
                <a:cubicBezTo>
                  <a:pt x="1342926" y="2883377"/>
                  <a:pt x="1308114" y="2848572"/>
                  <a:pt x="1308114" y="2805639"/>
                </a:cubicBezTo>
                <a:cubicBezTo>
                  <a:pt x="1308114" y="2762707"/>
                  <a:pt x="1342926" y="2727902"/>
                  <a:pt x="1385867" y="2727902"/>
                </a:cubicBezTo>
                <a:close/>
                <a:moveTo>
                  <a:pt x="10538005" y="2558507"/>
                </a:moveTo>
                <a:cubicBezTo>
                  <a:pt x="10580938" y="2558507"/>
                  <a:pt x="10615742" y="2593311"/>
                  <a:pt x="10615742" y="2636244"/>
                </a:cubicBezTo>
                <a:cubicBezTo>
                  <a:pt x="10615742" y="2679177"/>
                  <a:pt x="10580938" y="2713981"/>
                  <a:pt x="10538005" y="2713981"/>
                </a:cubicBezTo>
                <a:cubicBezTo>
                  <a:pt x="10495073" y="2713981"/>
                  <a:pt x="10460268" y="2679177"/>
                  <a:pt x="10460268" y="2636244"/>
                </a:cubicBezTo>
                <a:cubicBezTo>
                  <a:pt x="10460268" y="2593311"/>
                  <a:pt x="10495073" y="2558507"/>
                  <a:pt x="10538005" y="2558507"/>
                </a:cubicBezTo>
                <a:close/>
                <a:moveTo>
                  <a:pt x="10349782" y="2558507"/>
                </a:moveTo>
                <a:cubicBezTo>
                  <a:pt x="10392715" y="2558507"/>
                  <a:pt x="10427519" y="2593311"/>
                  <a:pt x="10427519" y="2636244"/>
                </a:cubicBezTo>
                <a:cubicBezTo>
                  <a:pt x="10427519" y="2679177"/>
                  <a:pt x="10392715" y="2713981"/>
                  <a:pt x="10349782" y="2713981"/>
                </a:cubicBezTo>
                <a:cubicBezTo>
                  <a:pt x="10306849" y="2713981"/>
                  <a:pt x="10272045" y="2679177"/>
                  <a:pt x="10272045" y="2636244"/>
                </a:cubicBezTo>
                <a:cubicBezTo>
                  <a:pt x="10272045" y="2593311"/>
                  <a:pt x="10306849" y="2558507"/>
                  <a:pt x="10349782" y="2558507"/>
                </a:cubicBezTo>
                <a:close/>
                <a:moveTo>
                  <a:pt x="10166265" y="2558507"/>
                </a:moveTo>
                <a:cubicBezTo>
                  <a:pt x="10209198" y="2558507"/>
                  <a:pt x="10244002" y="2593311"/>
                  <a:pt x="10244002" y="2636244"/>
                </a:cubicBezTo>
                <a:cubicBezTo>
                  <a:pt x="10244002" y="2679177"/>
                  <a:pt x="10209198" y="2713981"/>
                  <a:pt x="10166265" y="2713981"/>
                </a:cubicBezTo>
                <a:cubicBezTo>
                  <a:pt x="10123332" y="2713981"/>
                  <a:pt x="10088528" y="2679177"/>
                  <a:pt x="10088528" y="2636244"/>
                </a:cubicBezTo>
                <a:cubicBezTo>
                  <a:pt x="10088528" y="2593311"/>
                  <a:pt x="10123332" y="2558507"/>
                  <a:pt x="10166265" y="2558507"/>
                </a:cubicBezTo>
                <a:close/>
                <a:moveTo>
                  <a:pt x="9978044" y="2558507"/>
                </a:moveTo>
                <a:cubicBezTo>
                  <a:pt x="10020977" y="2558507"/>
                  <a:pt x="10055781" y="2593311"/>
                  <a:pt x="10055781" y="2636244"/>
                </a:cubicBezTo>
                <a:cubicBezTo>
                  <a:pt x="10055781" y="2679177"/>
                  <a:pt x="10020977" y="2713981"/>
                  <a:pt x="9978044" y="2713981"/>
                </a:cubicBezTo>
                <a:cubicBezTo>
                  <a:pt x="9935111" y="2713981"/>
                  <a:pt x="9900307" y="2679177"/>
                  <a:pt x="9900307" y="2636244"/>
                </a:cubicBezTo>
                <a:cubicBezTo>
                  <a:pt x="9900307" y="2593311"/>
                  <a:pt x="9935111" y="2558507"/>
                  <a:pt x="9978044" y="2558507"/>
                </a:cubicBezTo>
                <a:close/>
                <a:moveTo>
                  <a:pt x="9789823" y="2558507"/>
                </a:moveTo>
                <a:cubicBezTo>
                  <a:pt x="9832756" y="2558507"/>
                  <a:pt x="9867560" y="2593311"/>
                  <a:pt x="9867560" y="2636244"/>
                </a:cubicBezTo>
                <a:cubicBezTo>
                  <a:pt x="9867560" y="2679177"/>
                  <a:pt x="9832756" y="2713981"/>
                  <a:pt x="9789823" y="2713981"/>
                </a:cubicBezTo>
                <a:cubicBezTo>
                  <a:pt x="9746890" y="2713981"/>
                  <a:pt x="9712086" y="2679177"/>
                  <a:pt x="9712086" y="2636244"/>
                </a:cubicBezTo>
                <a:cubicBezTo>
                  <a:pt x="9712086" y="2593311"/>
                  <a:pt x="9746890" y="2558507"/>
                  <a:pt x="9789823" y="2558507"/>
                </a:cubicBezTo>
                <a:close/>
                <a:moveTo>
                  <a:pt x="9606308" y="2558507"/>
                </a:moveTo>
                <a:cubicBezTo>
                  <a:pt x="9649241" y="2558507"/>
                  <a:pt x="9684045" y="2593311"/>
                  <a:pt x="9684045" y="2636244"/>
                </a:cubicBezTo>
                <a:cubicBezTo>
                  <a:pt x="9684045" y="2679177"/>
                  <a:pt x="9649241" y="2713981"/>
                  <a:pt x="9606308" y="2713981"/>
                </a:cubicBezTo>
                <a:cubicBezTo>
                  <a:pt x="9563375" y="2713981"/>
                  <a:pt x="9528571" y="2679177"/>
                  <a:pt x="9528571" y="2636244"/>
                </a:cubicBezTo>
                <a:cubicBezTo>
                  <a:pt x="9528571" y="2593311"/>
                  <a:pt x="9563375" y="2558507"/>
                  <a:pt x="9606308" y="2558507"/>
                </a:cubicBezTo>
                <a:close/>
                <a:moveTo>
                  <a:pt x="9413381" y="2558507"/>
                </a:moveTo>
                <a:cubicBezTo>
                  <a:pt x="9456314" y="2558507"/>
                  <a:pt x="9491118" y="2593311"/>
                  <a:pt x="9491118" y="2636244"/>
                </a:cubicBezTo>
                <a:cubicBezTo>
                  <a:pt x="9491118" y="2679177"/>
                  <a:pt x="9456314" y="2713981"/>
                  <a:pt x="9413381" y="2713981"/>
                </a:cubicBezTo>
                <a:cubicBezTo>
                  <a:pt x="9370448" y="2713981"/>
                  <a:pt x="9335644" y="2679177"/>
                  <a:pt x="9335644" y="2636244"/>
                </a:cubicBezTo>
                <a:cubicBezTo>
                  <a:pt x="9335644" y="2593311"/>
                  <a:pt x="9370448" y="2558507"/>
                  <a:pt x="9413381" y="2558507"/>
                </a:cubicBezTo>
                <a:close/>
                <a:moveTo>
                  <a:pt x="9234570" y="2558507"/>
                </a:moveTo>
                <a:cubicBezTo>
                  <a:pt x="9277503" y="2558507"/>
                  <a:pt x="9312307" y="2593311"/>
                  <a:pt x="9312307" y="2636244"/>
                </a:cubicBezTo>
                <a:cubicBezTo>
                  <a:pt x="9312307" y="2679177"/>
                  <a:pt x="9277503" y="2713981"/>
                  <a:pt x="9234570" y="2713981"/>
                </a:cubicBezTo>
                <a:cubicBezTo>
                  <a:pt x="9191637" y="2713981"/>
                  <a:pt x="9156833" y="2679177"/>
                  <a:pt x="9156833" y="2636244"/>
                </a:cubicBezTo>
                <a:cubicBezTo>
                  <a:pt x="9156833" y="2593311"/>
                  <a:pt x="9191637" y="2558507"/>
                  <a:pt x="9234570" y="2558507"/>
                </a:cubicBezTo>
                <a:close/>
                <a:moveTo>
                  <a:pt x="9036939" y="2558507"/>
                </a:moveTo>
                <a:cubicBezTo>
                  <a:pt x="9079871" y="2558507"/>
                  <a:pt x="9114675" y="2593311"/>
                  <a:pt x="9114675" y="2636244"/>
                </a:cubicBezTo>
                <a:cubicBezTo>
                  <a:pt x="9114675" y="2679177"/>
                  <a:pt x="9079871" y="2713981"/>
                  <a:pt x="9036939" y="2713981"/>
                </a:cubicBezTo>
                <a:cubicBezTo>
                  <a:pt x="8994006" y="2713981"/>
                  <a:pt x="8959202" y="2679177"/>
                  <a:pt x="8959202" y="2636244"/>
                </a:cubicBezTo>
                <a:cubicBezTo>
                  <a:pt x="8959202" y="2593311"/>
                  <a:pt x="8994006" y="2558507"/>
                  <a:pt x="9036939" y="2558507"/>
                </a:cubicBezTo>
                <a:close/>
                <a:moveTo>
                  <a:pt x="8853421" y="2558507"/>
                </a:moveTo>
                <a:cubicBezTo>
                  <a:pt x="8896354" y="2558507"/>
                  <a:pt x="8931158" y="2593311"/>
                  <a:pt x="8931158" y="2636244"/>
                </a:cubicBezTo>
                <a:cubicBezTo>
                  <a:pt x="8931158" y="2679177"/>
                  <a:pt x="8896354" y="2713981"/>
                  <a:pt x="8853421" y="2713981"/>
                </a:cubicBezTo>
                <a:cubicBezTo>
                  <a:pt x="8810489" y="2713981"/>
                  <a:pt x="8775685" y="2679177"/>
                  <a:pt x="8775685" y="2636244"/>
                </a:cubicBezTo>
                <a:cubicBezTo>
                  <a:pt x="8775685" y="2593311"/>
                  <a:pt x="8810489" y="2558507"/>
                  <a:pt x="8853421" y="2558507"/>
                </a:cubicBezTo>
                <a:close/>
                <a:moveTo>
                  <a:pt x="8669908" y="2558507"/>
                </a:moveTo>
                <a:cubicBezTo>
                  <a:pt x="8712841" y="2558507"/>
                  <a:pt x="8747645" y="2593311"/>
                  <a:pt x="8747645" y="2636244"/>
                </a:cubicBezTo>
                <a:cubicBezTo>
                  <a:pt x="8747645" y="2679177"/>
                  <a:pt x="8712841" y="2713981"/>
                  <a:pt x="8669908" y="2713981"/>
                </a:cubicBezTo>
                <a:cubicBezTo>
                  <a:pt x="8626975" y="2713981"/>
                  <a:pt x="8592171" y="2679177"/>
                  <a:pt x="8592171" y="2636244"/>
                </a:cubicBezTo>
                <a:cubicBezTo>
                  <a:pt x="8592171" y="2593311"/>
                  <a:pt x="8626975" y="2558507"/>
                  <a:pt x="8669908" y="2558507"/>
                </a:cubicBezTo>
                <a:close/>
                <a:moveTo>
                  <a:pt x="8481684" y="2558507"/>
                </a:moveTo>
                <a:cubicBezTo>
                  <a:pt x="8524617" y="2558507"/>
                  <a:pt x="8559421" y="2593311"/>
                  <a:pt x="8559421" y="2636244"/>
                </a:cubicBezTo>
                <a:cubicBezTo>
                  <a:pt x="8559421" y="2679177"/>
                  <a:pt x="8524617" y="2713981"/>
                  <a:pt x="8481684" y="2713981"/>
                </a:cubicBezTo>
                <a:cubicBezTo>
                  <a:pt x="8438752" y="2713981"/>
                  <a:pt x="8403948" y="2679177"/>
                  <a:pt x="8403948" y="2636244"/>
                </a:cubicBezTo>
                <a:cubicBezTo>
                  <a:pt x="8403948" y="2593311"/>
                  <a:pt x="8438752" y="2558507"/>
                  <a:pt x="8481684" y="2558507"/>
                </a:cubicBezTo>
                <a:close/>
                <a:moveTo>
                  <a:pt x="8298167" y="2558507"/>
                </a:moveTo>
                <a:cubicBezTo>
                  <a:pt x="8341100" y="2558507"/>
                  <a:pt x="8375904" y="2593311"/>
                  <a:pt x="8375904" y="2636244"/>
                </a:cubicBezTo>
                <a:cubicBezTo>
                  <a:pt x="8375904" y="2679177"/>
                  <a:pt x="8341100" y="2713981"/>
                  <a:pt x="8298167" y="2713981"/>
                </a:cubicBezTo>
                <a:cubicBezTo>
                  <a:pt x="8255235" y="2713981"/>
                  <a:pt x="8220430" y="2679177"/>
                  <a:pt x="8220430" y="2636244"/>
                </a:cubicBezTo>
                <a:cubicBezTo>
                  <a:pt x="8220430" y="2593311"/>
                  <a:pt x="8255235" y="2558507"/>
                  <a:pt x="8298167" y="2558507"/>
                </a:cubicBezTo>
                <a:close/>
                <a:moveTo>
                  <a:pt x="8109949" y="2558507"/>
                </a:moveTo>
                <a:cubicBezTo>
                  <a:pt x="8152882" y="2558507"/>
                  <a:pt x="8187686" y="2593311"/>
                  <a:pt x="8187686" y="2636244"/>
                </a:cubicBezTo>
                <a:cubicBezTo>
                  <a:pt x="8187686" y="2679177"/>
                  <a:pt x="8152882" y="2713981"/>
                  <a:pt x="8109949" y="2713981"/>
                </a:cubicBezTo>
                <a:cubicBezTo>
                  <a:pt x="8067016" y="2713981"/>
                  <a:pt x="8032212" y="2679177"/>
                  <a:pt x="8032212" y="2636244"/>
                </a:cubicBezTo>
                <a:cubicBezTo>
                  <a:pt x="8032212" y="2593311"/>
                  <a:pt x="8067016" y="2558507"/>
                  <a:pt x="8109949" y="2558507"/>
                </a:cubicBezTo>
                <a:close/>
                <a:moveTo>
                  <a:pt x="7926434" y="2558507"/>
                </a:moveTo>
                <a:cubicBezTo>
                  <a:pt x="7969367" y="2558507"/>
                  <a:pt x="8004171" y="2593311"/>
                  <a:pt x="8004171" y="2636244"/>
                </a:cubicBezTo>
                <a:cubicBezTo>
                  <a:pt x="8004171" y="2679177"/>
                  <a:pt x="7969367" y="2713981"/>
                  <a:pt x="7926434" y="2713981"/>
                </a:cubicBezTo>
                <a:cubicBezTo>
                  <a:pt x="7883501" y="2713981"/>
                  <a:pt x="7848697" y="2679177"/>
                  <a:pt x="7848697" y="2636244"/>
                </a:cubicBezTo>
                <a:cubicBezTo>
                  <a:pt x="7848697" y="2593311"/>
                  <a:pt x="7883501" y="2558507"/>
                  <a:pt x="7926434" y="2558507"/>
                </a:cubicBezTo>
                <a:close/>
                <a:moveTo>
                  <a:pt x="7554693" y="2558507"/>
                </a:moveTo>
                <a:cubicBezTo>
                  <a:pt x="7597626" y="2558507"/>
                  <a:pt x="7632430" y="2593311"/>
                  <a:pt x="7632430" y="2636244"/>
                </a:cubicBezTo>
                <a:cubicBezTo>
                  <a:pt x="7632430" y="2679177"/>
                  <a:pt x="7597626" y="2713981"/>
                  <a:pt x="7554693" y="2713981"/>
                </a:cubicBezTo>
                <a:cubicBezTo>
                  <a:pt x="7511761" y="2713981"/>
                  <a:pt x="7476957" y="2679177"/>
                  <a:pt x="7476957" y="2636244"/>
                </a:cubicBezTo>
                <a:cubicBezTo>
                  <a:pt x="7476957" y="2593311"/>
                  <a:pt x="7511761" y="2558507"/>
                  <a:pt x="7554693" y="2558507"/>
                </a:cubicBezTo>
                <a:close/>
                <a:moveTo>
                  <a:pt x="7366472" y="2558507"/>
                </a:moveTo>
                <a:cubicBezTo>
                  <a:pt x="7409405" y="2558507"/>
                  <a:pt x="7444209" y="2593311"/>
                  <a:pt x="7444209" y="2636244"/>
                </a:cubicBezTo>
                <a:cubicBezTo>
                  <a:pt x="7444209" y="2679177"/>
                  <a:pt x="7409405" y="2713981"/>
                  <a:pt x="7366472" y="2713981"/>
                </a:cubicBezTo>
                <a:cubicBezTo>
                  <a:pt x="7323540" y="2713981"/>
                  <a:pt x="7288736" y="2679177"/>
                  <a:pt x="7288736" y="2636244"/>
                </a:cubicBezTo>
                <a:cubicBezTo>
                  <a:pt x="7288736" y="2593311"/>
                  <a:pt x="7323540" y="2558507"/>
                  <a:pt x="7366472" y="2558507"/>
                </a:cubicBezTo>
                <a:close/>
                <a:moveTo>
                  <a:pt x="7178251" y="2558507"/>
                </a:moveTo>
                <a:cubicBezTo>
                  <a:pt x="7221184" y="2558507"/>
                  <a:pt x="7255988" y="2593311"/>
                  <a:pt x="7255988" y="2636244"/>
                </a:cubicBezTo>
                <a:cubicBezTo>
                  <a:pt x="7255988" y="2679177"/>
                  <a:pt x="7221184" y="2713981"/>
                  <a:pt x="7178251" y="2713981"/>
                </a:cubicBezTo>
                <a:cubicBezTo>
                  <a:pt x="7135319" y="2713981"/>
                  <a:pt x="7100514" y="2679177"/>
                  <a:pt x="7100514" y="2636244"/>
                </a:cubicBezTo>
                <a:cubicBezTo>
                  <a:pt x="7100514" y="2593311"/>
                  <a:pt x="7135319" y="2558507"/>
                  <a:pt x="7178251" y="2558507"/>
                </a:cubicBezTo>
                <a:close/>
                <a:moveTo>
                  <a:pt x="6985327" y="2558507"/>
                </a:moveTo>
                <a:cubicBezTo>
                  <a:pt x="7028260" y="2558507"/>
                  <a:pt x="7063064" y="2593311"/>
                  <a:pt x="7063064" y="2636244"/>
                </a:cubicBezTo>
                <a:cubicBezTo>
                  <a:pt x="7063064" y="2679177"/>
                  <a:pt x="7028260" y="2713981"/>
                  <a:pt x="6985327" y="2713981"/>
                </a:cubicBezTo>
                <a:cubicBezTo>
                  <a:pt x="6942394" y="2713981"/>
                  <a:pt x="6907590" y="2679177"/>
                  <a:pt x="6907590" y="2636244"/>
                </a:cubicBezTo>
                <a:cubicBezTo>
                  <a:pt x="6907590" y="2593311"/>
                  <a:pt x="6942394" y="2558507"/>
                  <a:pt x="6985327" y="2558507"/>
                </a:cubicBezTo>
                <a:close/>
                <a:moveTo>
                  <a:pt x="6801810" y="2558507"/>
                </a:moveTo>
                <a:cubicBezTo>
                  <a:pt x="6844742" y="2558507"/>
                  <a:pt x="6879546" y="2593311"/>
                  <a:pt x="6879546" y="2636244"/>
                </a:cubicBezTo>
                <a:cubicBezTo>
                  <a:pt x="6879546" y="2679177"/>
                  <a:pt x="6844742" y="2713981"/>
                  <a:pt x="6801810" y="2713981"/>
                </a:cubicBezTo>
                <a:cubicBezTo>
                  <a:pt x="6758877" y="2713981"/>
                  <a:pt x="6724073" y="2679177"/>
                  <a:pt x="6724073" y="2636244"/>
                </a:cubicBezTo>
                <a:cubicBezTo>
                  <a:pt x="6724073" y="2593311"/>
                  <a:pt x="6758877" y="2558507"/>
                  <a:pt x="6801810" y="2558507"/>
                </a:cubicBezTo>
                <a:close/>
                <a:moveTo>
                  <a:pt x="6425367" y="2558507"/>
                </a:moveTo>
                <a:cubicBezTo>
                  <a:pt x="6468300" y="2558507"/>
                  <a:pt x="6503104" y="2593311"/>
                  <a:pt x="6503104" y="2636244"/>
                </a:cubicBezTo>
                <a:cubicBezTo>
                  <a:pt x="6503104" y="2679177"/>
                  <a:pt x="6468300" y="2713981"/>
                  <a:pt x="6425367" y="2713981"/>
                </a:cubicBezTo>
                <a:cubicBezTo>
                  <a:pt x="6382435" y="2713981"/>
                  <a:pt x="6347631" y="2679177"/>
                  <a:pt x="6347631" y="2636244"/>
                </a:cubicBezTo>
                <a:cubicBezTo>
                  <a:pt x="6347631" y="2593311"/>
                  <a:pt x="6382435" y="2558507"/>
                  <a:pt x="6425367" y="2558507"/>
                </a:cubicBezTo>
                <a:close/>
                <a:moveTo>
                  <a:pt x="6241850" y="2558507"/>
                </a:moveTo>
                <a:cubicBezTo>
                  <a:pt x="6284783" y="2558507"/>
                  <a:pt x="6319587" y="2593311"/>
                  <a:pt x="6319587" y="2636244"/>
                </a:cubicBezTo>
                <a:cubicBezTo>
                  <a:pt x="6319587" y="2679177"/>
                  <a:pt x="6284783" y="2713981"/>
                  <a:pt x="6241850" y="2713981"/>
                </a:cubicBezTo>
                <a:cubicBezTo>
                  <a:pt x="6198917" y="2713981"/>
                  <a:pt x="6164113" y="2679177"/>
                  <a:pt x="6164113" y="2636244"/>
                </a:cubicBezTo>
                <a:cubicBezTo>
                  <a:pt x="6164113" y="2593311"/>
                  <a:pt x="6198917" y="2558507"/>
                  <a:pt x="6241850" y="2558507"/>
                </a:cubicBezTo>
                <a:close/>
                <a:moveTo>
                  <a:pt x="6053630" y="2558507"/>
                </a:moveTo>
                <a:cubicBezTo>
                  <a:pt x="6096563" y="2558507"/>
                  <a:pt x="6131367" y="2593311"/>
                  <a:pt x="6131367" y="2636244"/>
                </a:cubicBezTo>
                <a:cubicBezTo>
                  <a:pt x="6131367" y="2679177"/>
                  <a:pt x="6096563" y="2713981"/>
                  <a:pt x="6053630" y="2713981"/>
                </a:cubicBezTo>
                <a:cubicBezTo>
                  <a:pt x="6010698" y="2713981"/>
                  <a:pt x="5975894" y="2679177"/>
                  <a:pt x="5975894" y="2636244"/>
                </a:cubicBezTo>
                <a:cubicBezTo>
                  <a:pt x="5975894" y="2593311"/>
                  <a:pt x="6010698" y="2558507"/>
                  <a:pt x="6053630" y="2558507"/>
                </a:cubicBezTo>
                <a:close/>
                <a:moveTo>
                  <a:pt x="5870113" y="2558507"/>
                </a:moveTo>
                <a:cubicBezTo>
                  <a:pt x="5913046" y="2558507"/>
                  <a:pt x="5947850" y="2593311"/>
                  <a:pt x="5947850" y="2636244"/>
                </a:cubicBezTo>
                <a:cubicBezTo>
                  <a:pt x="5947850" y="2679177"/>
                  <a:pt x="5913046" y="2713981"/>
                  <a:pt x="5870113" y="2713981"/>
                </a:cubicBezTo>
                <a:cubicBezTo>
                  <a:pt x="5827181" y="2713981"/>
                  <a:pt x="5792376" y="2679177"/>
                  <a:pt x="5792376" y="2636244"/>
                </a:cubicBezTo>
                <a:cubicBezTo>
                  <a:pt x="5792376" y="2593311"/>
                  <a:pt x="5827181" y="2558507"/>
                  <a:pt x="5870113" y="2558507"/>
                </a:cubicBezTo>
                <a:close/>
                <a:moveTo>
                  <a:pt x="5681926" y="2558507"/>
                </a:moveTo>
                <a:cubicBezTo>
                  <a:pt x="5724825" y="2558507"/>
                  <a:pt x="5759629" y="2593311"/>
                  <a:pt x="5759629" y="2636244"/>
                </a:cubicBezTo>
                <a:cubicBezTo>
                  <a:pt x="5759629" y="2679177"/>
                  <a:pt x="5724825" y="2713981"/>
                  <a:pt x="5681926" y="2713981"/>
                </a:cubicBezTo>
                <a:cubicBezTo>
                  <a:pt x="5638984" y="2713981"/>
                  <a:pt x="5604173" y="2679177"/>
                  <a:pt x="5604173" y="2636244"/>
                </a:cubicBezTo>
                <a:cubicBezTo>
                  <a:pt x="5604173" y="2593311"/>
                  <a:pt x="5638984" y="2558507"/>
                  <a:pt x="5681926" y="2558507"/>
                </a:cubicBezTo>
                <a:close/>
                <a:moveTo>
                  <a:pt x="5498378" y="2558507"/>
                </a:moveTo>
                <a:cubicBezTo>
                  <a:pt x="5541312" y="2558507"/>
                  <a:pt x="5576123" y="2593311"/>
                  <a:pt x="5576123" y="2636244"/>
                </a:cubicBezTo>
                <a:cubicBezTo>
                  <a:pt x="5576123" y="2679177"/>
                  <a:pt x="5541312" y="2713981"/>
                  <a:pt x="5498378" y="2713981"/>
                </a:cubicBezTo>
                <a:cubicBezTo>
                  <a:pt x="5455447" y="2713981"/>
                  <a:pt x="5420640" y="2679177"/>
                  <a:pt x="5420640" y="2636244"/>
                </a:cubicBezTo>
                <a:cubicBezTo>
                  <a:pt x="5420640" y="2593311"/>
                  <a:pt x="5455447" y="2558507"/>
                  <a:pt x="5498378" y="2558507"/>
                </a:cubicBezTo>
                <a:close/>
                <a:moveTo>
                  <a:pt x="5310163" y="2558507"/>
                </a:moveTo>
                <a:cubicBezTo>
                  <a:pt x="5353095" y="2558507"/>
                  <a:pt x="5387897" y="2593311"/>
                  <a:pt x="5387897" y="2636244"/>
                </a:cubicBezTo>
                <a:cubicBezTo>
                  <a:pt x="5387897" y="2679177"/>
                  <a:pt x="5353095" y="2713981"/>
                  <a:pt x="5310163" y="2713981"/>
                </a:cubicBezTo>
                <a:cubicBezTo>
                  <a:pt x="5267230" y="2713981"/>
                  <a:pt x="5232437" y="2679177"/>
                  <a:pt x="5232437" y="2636244"/>
                </a:cubicBezTo>
                <a:cubicBezTo>
                  <a:pt x="5232437" y="2593311"/>
                  <a:pt x="5267230" y="2558507"/>
                  <a:pt x="5310163" y="2558507"/>
                </a:cubicBezTo>
                <a:close/>
                <a:moveTo>
                  <a:pt x="2689303" y="2558507"/>
                </a:moveTo>
                <a:cubicBezTo>
                  <a:pt x="2732233" y="2558507"/>
                  <a:pt x="2767023" y="2593311"/>
                  <a:pt x="2767023" y="2636244"/>
                </a:cubicBezTo>
                <a:cubicBezTo>
                  <a:pt x="2767023" y="2679177"/>
                  <a:pt x="2732233" y="2713981"/>
                  <a:pt x="2689303" y="2713981"/>
                </a:cubicBezTo>
                <a:cubicBezTo>
                  <a:pt x="2646361" y="2713981"/>
                  <a:pt x="2611568" y="2679177"/>
                  <a:pt x="2611568" y="2636244"/>
                </a:cubicBezTo>
                <a:cubicBezTo>
                  <a:pt x="2611568" y="2593311"/>
                  <a:pt x="2646361" y="2558507"/>
                  <a:pt x="2689303" y="2558507"/>
                </a:cubicBezTo>
                <a:close/>
                <a:moveTo>
                  <a:pt x="2510482" y="2558507"/>
                </a:moveTo>
                <a:cubicBezTo>
                  <a:pt x="2553423" y="2558507"/>
                  <a:pt x="2588226" y="2593311"/>
                  <a:pt x="2588226" y="2636244"/>
                </a:cubicBezTo>
                <a:cubicBezTo>
                  <a:pt x="2588226" y="2679177"/>
                  <a:pt x="2553423" y="2713981"/>
                  <a:pt x="2510482" y="2713981"/>
                </a:cubicBezTo>
                <a:cubicBezTo>
                  <a:pt x="2467540" y="2713981"/>
                  <a:pt x="2432727" y="2679177"/>
                  <a:pt x="2432727" y="2636244"/>
                </a:cubicBezTo>
                <a:cubicBezTo>
                  <a:pt x="2432727" y="2593311"/>
                  <a:pt x="2467540" y="2558507"/>
                  <a:pt x="2510482" y="2558507"/>
                </a:cubicBezTo>
                <a:close/>
                <a:moveTo>
                  <a:pt x="2317528" y="2558507"/>
                </a:moveTo>
                <a:cubicBezTo>
                  <a:pt x="2360458" y="2558507"/>
                  <a:pt x="2395269" y="2593311"/>
                  <a:pt x="2395269" y="2636244"/>
                </a:cubicBezTo>
                <a:cubicBezTo>
                  <a:pt x="2395269" y="2679177"/>
                  <a:pt x="2360458" y="2713981"/>
                  <a:pt x="2317528" y="2713981"/>
                </a:cubicBezTo>
                <a:cubicBezTo>
                  <a:pt x="2274600" y="2713981"/>
                  <a:pt x="2239801" y="2679177"/>
                  <a:pt x="2239801" y="2636244"/>
                </a:cubicBezTo>
                <a:cubicBezTo>
                  <a:pt x="2239801" y="2593311"/>
                  <a:pt x="2274600" y="2558507"/>
                  <a:pt x="2317528" y="2558507"/>
                </a:cubicBezTo>
                <a:close/>
                <a:moveTo>
                  <a:pt x="2129326" y="2558507"/>
                </a:moveTo>
                <a:cubicBezTo>
                  <a:pt x="2172255" y="2558507"/>
                  <a:pt x="2207055" y="2593311"/>
                  <a:pt x="2207055" y="2636244"/>
                </a:cubicBezTo>
                <a:cubicBezTo>
                  <a:pt x="2207055" y="2679177"/>
                  <a:pt x="2172255" y="2713981"/>
                  <a:pt x="2129326" y="2713981"/>
                </a:cubicBezTo>
                <a:cubicBezTo>
                  <a:pt x="2086398" y="2713981"/>
                  <a:pt x="2051598" y="2679177"/>
                  <a:pt x="2051598" y="2636244"/>
                </a:cubicBezTo>
                <a:cubicBezTo>
                  <a:pt x="2051598" y="2593311"/>
                  <a:pt x="2086398" y="2558507"/>
                  <a:pt x="2129326" y="2558507"/>
                </a:cubicBezTo>
                <a:close/>
                <a:moveTo>
                  <a:pt x="1941126" y="2558507"/>
                </a:moveTo>
                <a:cubicBezTo>
                  <a:pt x="1984055" y="2558507"/>
                  <a:pt x="2018854" y="2593311"/>
                  <a:pt x="2018854" y="2636244"/>
                </a:cubicBezTo>
                <a:cubicBezTo>
                  <a:pt x="2018854" y="2679177"/>
                  <a:pt x="1984055" y="2713981"/>
                  <a:pt x="1941126" y="2713981"/>
                </a:cubicBezTo>
                <a:cubicBezTo>
                  <a:pt x="1898199" y="2713981"/>
                  <a:pt x="1863399" y="2679177"/>
                  <a:pt x="1863399" y="2636244"/>
                </a:cubicBezTo>
                <a:cubicBezTo>
                  <a:pt x="1863399" y="2593311"/>
                  <a:pt x="1898199" y="2558507"/>
                  <a:pt x="1941126" y="2558507"/>
                </a:cubicBezTo>
                <a:close/>
                <a:moveTo>
                  <a:pt x="1757630" y="2558507"/>
                </a:moveTo>
                <a:cubicBezTo>
                  <a:pt x="1800560" y="2558507"/>
                  <a:pt x="1835361" y="2593311"/>
                  <a:pt x="1835361" y="2636244"/>
                </a:cubicBezTo>
                <a:cubicBezTo>
                  <a:pt x="1835361" y="2679177"/>
                  <a:pt x="1800560" y="2713981"/>
                  <a:pt x="1757630" y="2713981"/>
                </a:cubicBezTo>
                <a:cubicBezTo>
                  <a:pt x="1714690" y="2713981"/>
                  <a:pt x="1679901" y="2679177"/>
                  <a:pt x="1679901" y="2636244"/>
                </a:cubicBezTo>
                <a:cubicBezTo>
                  <a:pt x="1679901" y="2593311"/>
                  <a:pt x="1714690" y="2558507"/>
                  <a:pt x="1757630" y="2558507"/>
                </a:cubicBezTo>
                <a:close/>
                <a:moveTo>
                  <a:pt x="1569401" y="2558507"/>
                </a:moveTo>
                <a:cubicBezTo>
                  <a:pt x="1612357" y="2558507"/>
                  <a:pt x="1647158" y="2593311"/>
                  <a:pt x="1647158" y="2636244"/>
                </a:cubicBezTo>
                <a:cubicBezTo>
                  <a:pt x="1647158" y="2679177"/>
                  <a:pt x="1612357" y="2713981"/>
                  <a:pt x="1569401" y="2713981"/>
                </a:cubicBezTo>
                <a:cubicBezTo>
                  <a:pt x="1526490" y="2713981"/>
                  <a:pt x="1491678" y="2679177"/>
                  <a:pt x="1491678" y="2636244"/>
                </a:cubicBezTo>
                <a:cubicBezTo>
                  <a:pt x="1491678" y="2593311"/>
                  <a:pt x="1526490" y="2558507"/>
                  <a:pt x="1569401" y="2558507"/>
                </a:cubicBezTo>
                <a:close/>
                <a:moveTo>
                  <a:pt x="1385875" y="2558507"/>
                </a:moveTo>
                <a:cubicBezTo>
                  <a:pt x="1428818" y="2558507"/>
                  <a:pt x="1463629" y="2593311"/>
                  <a:pt x="1463629" y="2636244"/>
                </a:cubicBezTo>
                <a:cubicBezTo>
                  <a:pt x="1463629" y="2679177"/>
                  <a:pt x="1428818" y="2713981"/>
                  <a:pt x="1385875" y="2713981"/>
                </a:cubicBezTo>
                <a:cubicBezTo>
                  <a:pt x="1342933" y="2713981"/>
                  <a:pt x="1308122" y="2679177"/>
                  <a:pt x="1308122" y="2636244"/>
                </a:cubicBezTo>
                <a:cubicBezTo>
                  <a:pt x="1308122" y="2593311"/>
                  <a:pt x="1342933" y="2558507"/>
                  <a:pt x="1385875" y="2558507"/>
                </a:cubicBezTo>
                <a:close/>
                <a:moveTo>
                  <a:pt x="1202337" y="2558507"/>
                </a:moveTo>
                <a:cubicBezTo>
                  <a:pt x="1245272" y="2558507"/>
                  <a:pt x="1280074" y="2593311"/>
                  <a:pt x="1280074" y="2636244"/>
                </a:cubicBezTo>
                <a:cubicBezTo>
                  <a:pt x="1280074" y="2679177"/>
                  <a:pt x="1245272" y="2713981"/>
                  <a:pt x="1202337" y="2713981"/>
                </a:cubicBezTo>
                <a:cubicBezTo>
                  <a:pt x="1159393" y="2713981"/>
                  <a:pt x="1124620" y="2679177"/>
                  <a:pt x="1124620" y="2636244"/>
                </a:cubicBezTo>
                <a:cubicBezTo>
                  <a:pt x="1124620" y="2593311"/>
                  <a:pt x="1159393" y="2558507"/>
                  <a:pt x="1202337" y="2558507"/>
                </a:cubicBezTo>
                <a:close/>
                <a:moveTo>
                  <a:pt x="1014100" y="2558507"/>
                </a:moveTo>
                <a:cubicBezTo>
                  <a:pt x="1057033" y="2558507"/>
                  <a:pt x="1091865" y="2593311"/>
                  <a:pt x="1091865" y="2636244"/>
                </a:cubicBezTo>
                <a:cubicBezTo>
                  <a:pt x="1091865" y="2679177"/>
                  <a:pt x="1057033" y="2713981"/>
                  <a:pt x="1014100" y="2713981"/>
                </a:cubicBezTo>
                <a:cubicBezTo>
                  <a:pt x="971203" y="2713981"/>
                  <a:pt x="936398" y="2679177"/>
                  <a:pt x="936398" y="2636244"/>
                </a:cubicBezTo>
                <a:cubicBezTo>
                  <a:pt x="936398" y="2593311"/>
                  <a:pt x="971203" y="2558507"/>
                  <a:pt x="1014100" y="2558507"/>
                </a:cubicBezTo>
                <a:close/>
                <a:moveTo>
                  <a:pt x="830602" y="2558507"/>
                </a:moveTo>
                <a:cubicBezTo>
                  <a:pt x="873525" y="2558507"/>
                  <a:pt x="908355" y="2593311"/>
                  <a:pt x="908355" y="2636244"/>
                </a:cubicBezTo>
                <a:cubicBezTo>
                  <a:pt x="908355" y="2679177"/>
                  <a:pt x="873525" y="2713981"/>
                  <a:pt x="830602" y="2713981"/>
                </a:cubicBezTo>
                <a:cubicBezTo>
                  <a:pt x="787662" y="2713981"/>
                  <a:pt x="752860" y="2679177"/>
                  <a:pt x="752860" y="2636244"/>
                </a:cubicBezTo>
                <a:cubicBezTo>
                  <a:pt x="752860" y="2593311"/>
                  <a:pt x="787662" y="2558507"/>
                  <a:pt x="830602" y="2558507"/>
                </a:cubicBezTo>
                <a:close/>
                <a:moveTo>
                  <a:pt x="642371" y="2558507"/>
                </a:moveTo>
                <a:cubicBezTo>
                  <a:pt x="685308" y="2558507"/>
                  <a:pt x="720112" y="2593311"/>
                  <a:pt x="720112" y="2636244"/>
                </a:cubicBezTo>
                <a:cubicBezTo>
                  <a:pt x="720112" y="2679177"/>
                  <a:pt x="685308" y="2713981"/>
                  <a:pt x="642371" y="2713981"/>
                </a:cubicBezTo>
                <a:cubicBezTo>
                  <a:pt x="599441" y="2713981"/>
                  <a:pt x="564637" y="2679177"/>
                  <a:pt x="564637" y="2636244"/>
                </a:cubicBezTo>
                <a:cubicBezTo>
                  <a:pt x="564637" y="2593311"/>
                  <a:pt x="599441" y="2558507"/>
                  <a:pt x="642371" y="2558507"/>
                </a:cubicBezTo>
                <a:close/>
                <a:moveTo>
                  <a:pt x="458857" y="2558507"/>
                </a:moveTo>
                <a:cubicBezTo>
                  <a:pt x="501790" y="2558507"/>
                  <a:pt x="536594" y="2593311"/>
                  <a:pt x="536594" y="2636244"/>
                </a:cubicBezTo>
                <a:cubicBezTo>
                  <a:pt x="536594" y="2679177"/>
                  <a:pt x="501790" y="2713981"/>
                  <a:pt x="458857" y="2713981"/>
                </a:cubicBezTo>
                <a:cubicBezTo>
                  <a:pt x="415924" y="2713981"/>
                  <a:pt x="381122" y="2679177"/>
                  <a:pt x="381122" y="2636244"/>
                </a:cubicBezTo>
                <a:cubicBezTo>
                  <a:pt x="381122" y="2593311"/>
                  <a:pt x="415924" y="2558507"/>
                  <a:pt x="458857" y="2558507"/>
                </a:cubicBezTo>
                <a:close/>
                <a:moveTo>
                  <a:pt x="5126663" y="2558503"/>
                </a:moveTo>
                <a:cubicBezTo>
                  <a:pt x="5169597" y="2558503"/>
                  <a:pt x="5204402" y="2593308"/>
                  <a:pt x="5204402" y="2636239"/>
                </a:cubicBezTo>
                <a:cubicBezTo>
                  <a:pt x="5204402" y="2679174"/>
                  <a:pt x="5169597" y="2713978"/>
                  <a:pt x="5126663" y="2713978"/>
                </a:cubicBezTo>
                <a:cubicBezTo>
                  <a:pt x="5083753" y="2713978"/>
                  <a:pt x="5048937" y="2679174"/>
                  <a:pt x="5048937" y="2636239"/>
                </a:cubicBezTo>
                <a:cubicBezTo>
                  <a:pt x="5048937" y="2593308"/>
                  <a:pt x="5083753" y="2558503"/>
                  <a:pt x="5126663" y="2558503"/>
                </a:cubicBezTo>
                <a:close/>
                <a:moveTo>
                  <a:pt x="4938418" y="2558503"/>
                </a:moveTo>
                <a:cubicBezTo>
                  <a:pt x="4981352" y="2558503"/>
                  <a:pt x="5016155" y="2593307"/>
                  <a:pt x="5016155" y="2636239"/>
                </a:cubicBezTo>
                <a:cubicBezTo>
                  <a:pt x="5016155" y="2679172"/>
                  <a:pt x="4981352" y="2713976"/>
                  <a:pt x="4938418" y="2713976"/>
                </a:cubicBezTo>
                <a:cubicBezTo>
                  <a:pt x="4895486" y="2713976"/>
                  <a:pt x="4860682" y="2679172"/>
                  <a:pt x="4860682" y="2636239"/>
                </a:cubicBezTo>
                <a:cubicBezTo>
                  <a:pt x="4860682" y="2593307"/>
                  <a:pt x="4895486" y="2558503"/>
                  <a:pt x="4938418" y="2558503"/>
                </a:cubicBezTo>
                <a:close/>
                <a:moveTo>
                  <a:pt x="10721520" y="2393812"/>
                </a:moveTo>
                <a:lnTo>
                  <a:pt x="10731545" y="2395836"/>
                </a:lnTo>
                <a:lnTo>
                  <a:pt x="10799249" y="2471590"/>
                </a:lnTo>
                <a:lnTo>
                  <a:pt x="10793148" y="2501808"/>
                </a:lnTo>
                <a:cubicBezTo>
                  <a:pt x="10781347" y="2529710"/>
                  <a:pt x="10753720" y="2549287"/>
                  <a:pt x="10721520" y="2549287"/>
                </a:cubicBezTo>
                <a:cubicBezTo>
                  <a:pt x="10678587" y="2549287"/>
                  <a:pt x="10643783" y="2514482"/>
                  <a:pt x="10643783" y="2471549"/>
                </a:cubicBezTo>
                <a:cubicBezTo>
                  <a:pt x="10643783" y="2428616"/>
                  <a:pt x="10678587" y="2393812"/>
                  <a:pt x="10721520" y="2393812"/>
                </a:cubicBezTo>
                <a:close/>
                <a:moveTo>
                  <a:pt x="10538005" y="2393812"/>
                </a:moveTo>
                <a:cubicBezTo>
                  <a:pt x="10580938" y="2393812"/>
                  <a:pt x="10615742" y="2428616"/>
                  <a:pt x="10615742" y="2471549"/>
                </a:cubicBezTo>
                <a:cubicBezTo>
                  <a:pt x="10615742" y="2514482"/>
                  <a:pt x="10580938" y="2549287"/>
                  <a:pt x="10538005" y="2549287"/>
                </a:cubicBezTo>
                <a:cubicBezTo>
                  <a:pt x="10495073" y="2549287"/>
                  <a:pt x="10460268" y="2514482"/>
                  <a:pt x="10460268" y="2471549"/>
                </a:cubicBezTo>
                <a:cubicBezTo>
                  <a:pt x="10460268" y="2428616"/>
                  <a:pt x="10495073" y="2393812"/>
                  <a:pt x="10538005" y="2393812"/>
                </a:cubicBezTo>
                <a:close/>
                <a:moveTo>
                  <a:pt x="10349782" y="2393812"/>
                </a:moveTo>
                <a:cubicBezTo>
                  <a:pt x="10392715" y="2393812"/>
                  <a:pt x="10427519" y="2428616"/>
                  <a:pt x="10427519" y="2471549"/>
                </a:cubicBezTo>
                <a:cubicBezTo>
                  <a:pt x="10427519" y="2514482"/>
                  <a:pt x="10392715" y="2549287"/>
                  <a:pt x="10349782" y="2549287"/>
                </a:cubicBezTo>
                <a:cubicBezTo>
                  <a:pt x="10306849" y="2549287"/>
                  <a:pt x="10272045" y="2514482"/>
                  <a:pt x="10272045" y="2471549"/>
                </a:cubicBezTo>
                <a:cubicBezTo>
                  <a:pt x="10272045" y="2428616"/>
                  <a:pt x="10306849" y="2393812"/>
                  <a:pt x="10349782" y="2393812"/>
                </a:cubicBezTo>
                <a:close/>
                <a:moveTo>
                  <a:pt x="10166265" y="2393812"/>
                </a:moveTo>
                <a:cubicBezTo>
                  <a:pt x="10209198" y="2393812"/>
                  <a:pt x="10244002" y="2428616"/>
                  <a:pt x="10244002" y="2471549"/>
                </a:cubicBezTo>
                <a:cubicBezTo>
                  <a:pt x="10244002" y="2514482"/>
                  <a:pt x="10209198" y="2549287"/>
                  <a:pt x="10166265" y="2549287"/>
                </a:cubicBezTo>
                <a:cubicBezTo>
                  <a:pt x="10123332" y="2549287"/>
                  <a:pt x="10088528" y="2514482"/>
                  <a:pt x="10088528" y="2471549"/>
                </a:cubicBezTo>
                <a:cubicBezTo>
                  <a:pt x="10088528" y="2428616"/>
                  <a:pt x="10123332" y="2393812"/>
                  <a:pt x="10166265" y="2393812"/>
                </a:cubicBezTo>
                <a:close/>
                <a:moveTo>
                  <a:pt x="9978044" y="2393812"/>
                </a:moveTo>
                <a:cubicBezTo>
                  <a:pt x="10020977" y="2393812"/>
                  <a:pt x="10055781" y="2428616"/>
                  <a:pt x="10055781" y="2471549"/>
                </a:cubicBezTo>
                <a:cubicBezTo>
                  <a:pt x="10055781" y="2514482"/>
                  <a:pt x="10020977" y="2549287"/>
                  <a:pt x="9978044" y="2549287"/>
                </a:cubicBezTo>
                <a:cubicBezTo>
                  <a:pt x="9935111" y="2549287"/>
                  <a:pt x="9900307" y="2514482"/>
                  <a:pt x="9900307" y="2471549"/>
                </a:cubicBezTo>
                <a:cubicBezTo>
                  <a:pt x="9900307" y="2428616"/>
                  <a:pt x="9935111" y="2393812"/>
                  <a:pt x="9978044" y="2393812"/>
                </a:cubicBezTo>
                <a:close/>
                <a:moveTo>
                  <a:pt x="9789823" y="2393812"/>
                </a:moveTo>
                <a:cubicBezTo>
                  <a:pt x="9832756" y="2393812"/>
                  <a:pt x="9867560" y="2428616"/>
                  <a:pt x="9867560" y="2471549"/>
                </a:cubicBezTo>
                <a:cubicBezTo>
                  <a:pt x="9867560" y="2514482"/>
                  <a:pt x="9832756" y="2549287"/>
                  <a:pt x="9789823" y="2549287"/>
                </a:cubicBezTo>
                <a:cubicBezTo>
                  <a:pt x="9746890" y="2549287"/>
                  <a:pt x="9712086" y="2514482"/>
                  <a:pt x="9712086" y="2471549"/>
                </a:cubicBezTo>
                <a:cubicBezTo>
                  <a:pt x="9712086" y="2428616"/>
                  <a:pt x="9746890" y="2393812"/>
                  <a:pt x="9789823" y="2393812"/>
                </a:cubicBezTo>
                <a:close/>
                <a:moveTo>
                  <a:pt x="9606308" y="2393812"/>
                </a:moveTo>
                <a:cubicBezTo>
                  <a:pt x="9649241" y="2393812"/>
                  <a:pt x="9684045" y="2428616"/>
                  <a:pt x="9684045" y="2471549"/>
                </a:cubicBezTo>
                <a:cubicBezTo>
                  <a:pt x="9684045" y="2514482"/>
                  <a:pt x="9649241" y="2549287"/>
                  <a:pt x="9606308" y="2549287"/>
                </a:cubicBezTo>
                <a:cubicBezTo>
                  <a:pt x="9563375" y="2549287"/>
                  <a:pt x="9528571" y="2514482"/>
                  <a:pt x="9528571" y="2471549"/>
                </a:cubicBezTo>
                <a:cubicBezTo>
                  <a:pt x="9528571" y="2428616"/>
                  <a:pt x="9563375" y="2393812"/>
                  <a:pt x="9606308" y="2393812"/>
                </a:cubicBezTo>
                <a:close/>
                <a:moveTo>
                  <a:pt x="9413381" y="2393812"/>
                </a:moveTo>
                <a:cubicBezTo>
                  <a:pt x="9456314" y="2393812"/>
                  <a:pt x="9491118" y="2428616"/>
                  <a:pt x="9491118" y="2471549"/>
                </a:cubicBezTo>
                <a:cubicBezTo>
                  <a:pt x="9491118" y="2514482"/>
                  <a:pt x="9456314" y="2549287"/>
                  <a:pt x="9413381" y="2549287"/>
                </a:cubicBezTo>
                <a:cubicBezTo>
                  <a:pt x="9370448" y="2549287"/>
                  <a:pt x="9335644" y="2514482"/>
                  <a:pt x="9335644" y="2471549"/>
                </a:cubicBezTo>
                <a:cubicBezTo>
                  <a:pt x="9335644" y="2428616"/>
                  <a:pt x="9370448" y="2393812"/>
                  <a:pt x="9413381" y="2393812"/>
                </a:cubicBezTo>
                <a:close/>
                <a:moveTo>
                  <a:pt x="9234570" y="2393812"/>
                </a:moveTo>
                <a:cubicBezTo>
                  <a:pt x="9277503" y="2393812"/>
                  <a:pt x="9312307" y="2428616"/>
                  <a:pt x="9312307" y="2471549"/>
                </a:cubicBezTo>
                <a:cubicBezTo>
                  <a:pt x="9312307" y="2514482"/>
                  <a:pt x="9277503" y="2549287"/>
                  <a:pt x="9234570" y="2549287"/>
                </a:cubicBezTo>
                <a:cubicBezTo>
                  <a:pt x="9191637" y="2549287"/>
                  <a:pt x="9156833" y="2514482"/>
                  <a:pt x="9156833" y="2471549"/>
                </a:cubicBezTo>
                <a:cubicBezTo>
                  <a:pt x="9156833" y="2428616"/>
                  <a:pt x="9191637" y="2393812"/>
                  <a:pt x="9234570" y="2393812"/>
                </a:cubicBezTo>
                <a:close/>
                <a:moveTo>
                  <a:pt x="9036939" y="2393812"/>
                </a:moveTo>
                <a:cubicBezTo>
                  <a:pt x="9079871" y="2393812"/>
                  <a:pt x="9114675" y="2428616"/>
                  <a:pt x="9114675" y="2471549"/>
                </a:cubicBezTo>
                <a:cubicBezTo>
                  <a:pt x="9114675" y="2514482"/>
                  <a:pt x="9079871" y="2549287"/>
                  <a:pt x="9036939" y="2549287"/>
                </a:cubicBezTo>
                <a:cubicBezTo>
                  <a:pt x="8994006" y="2549287"/>
                  <a:pt x="8959202" y="2514482"/>
                  <a:pt x="8959202" y="2471549"/>
                </a:cubicBezTo>
                <a:cubicBezTo>
                  <a:pt x="8959202" y="2428616"/>
                  <a:pt x="8994006" y="2393812"/>
                  <a:pt x="9036939" y="2393812"/>
                </a:cubicBezTo>
                <a:close/>
                <a:moveTo>
                  <a:pt x="8853421" y="2393812"/>
                </a:moveTo>
                <a:cubicBezTo>
                  <a:pt x="8896354" y="2393812"/>
                  <a:pt x="8931158" y="2428616"/>
                  <a:pt x="8931158" y="2471549"/>
                </a:cubicBezTo>
                <a:cubicBezTo>
                  <a:pt x="8931158" y="2514482"/>
                  <a:pt x="8896354" y="2549287"/>
                  <a:pt x="8853421" y="2549287"/>
                </a:cubicBezTo>
                <a:cubicBezTo>
                  <a:pt x="8810489" y="2549287"/>
                  <a:pt x="8775685" y="2514482"/>
                  <a:pt x="8775685" y="2471549"/>
                </a:cubicBezTo>
                <a:cubicBezTo>
                  <a:pt x="8775685" y="2428616"/>
                  <a:pt x="8810489" y="2393812"/>
                  <a:pt x="8853421" y="2393812"/>
                </a:cubicBezTo>
                <a:close/>
                <a:moveTo>
                  <a:pt x="8669908" y="2393812"/>
                </a:moveTo>
                <a:cubicBezTo>
                  <a:pt x="8712841" y="2393812"/>
                  <a:pt x="8747645" y="2428616"/>
                  <a:pt x="8747645" y="2471549"/>
                </a:cubicBezTo>
                <a:cubicBezTo>
                  <a:pt x="8747645" y="2514482"/>
                  <a:pt x="8712841" y="2549287"/>
                  <a:pt x="8669908" y="2549287"/>
                </a:cubicBezTo>
                <a:cubicBezTo>
                  <a:pt x="8626975" y="2549287"/>
                  <a:pt x="8592171" y="2514482"/>
                  <a:pt x="8592171" y="2471549"/>
                </a:cubicBezTo>
                <a:cubicBezTo>
                  <a:pt x="8592171" y="2428616"/>
                  <a:pt x="8626975" y="2393812"/>
                  <a:pt x="8669908" y="2393812"/>
                </a:cubicBezTo>
                <a:close/>
                <a:moveTo>
                  <a:pt x="8481684" y="2393812"/>
                </a:moveTo>
                <a:cubicBezTo>
                  <a:pt x="8524617" y="2393812"/>
                  <a:pt x="8559421" y="2428616"/>
                  <a:pt x="8559421" y="2471549"/>
                </a:cubicBezTo>
                <a:cubicBezTo>
                  <a:pt x="8559421" y="2514482"/>
                  <a:pt x="8524617" y="2549287"/>
                  <a:pt x="8481684" y="2549287"/>
                </a:cubicBezTo>
                <a:cubicBezTo>
                  <a:pt x="8438752" y="2549287"/>
                  <a:pt x="8403948" y="2514482"/>
                  <a:pt x="8403948" y="2471549"/>
                </a:cubicBezTo>
                <a:cubicBezTo>
                  <a:pt x="8403948" y="2428616"/>
                  <a:pt x="8438752" y="2393812"/>
                  <a:pt x="8481684" y="2393812"/>
                </a:cubicBezTo>
                <a:close/>
                <a:moveTo>
                  <a:pt x="8298167" y="2393812"/>
                </a:moveTo>
                <a:cubicBezTo>
                  <a:pt x="8341100" y="2393812"/>
                  <a:pt x="8375904" y="2428616"/>
                  <a:pt x="8375904" y="2471549"/>
                </a:cubicBezTo>
                <a:cubicBezTo>
                  <a:pt x="8375904" y="2514482"/>
                  <a:pt x="8341100" y="2549287"/>
                  <a:pt x="8298167" y="2549287"/>
                </a:cubicBezTo>
                <a:cubicBezTo>
                  <a:pt x="8255235" y="2549287"/>
                  <a:pt x="8220430" y="2514482"/>
                  <a:pt x="8220430" y="2471549"/>
                </a:cubicBezTo>
                <a:cubicBezTo>
                  <a:pt x="8220430" y="2428616"/>
                  <a:pt x="8255235" y="2393812"/>
                  <a:pt x="8298167" y="2393812"/>
                </a:cubicBezTo>
                <a:close/>
                <a:moveTo>
                  <a:pt x="8109949" y="2393812"/>
                </a:moveTo>
                <a:cubicBezTo>
                  <a:pt x="8152882" y="2393812"/>
                  <a:pt x="8187686" y="2428616"/>
                  <a:pt x="8187686" y="2471549"/>
                </a:cubicBezTo>
                <a:cubicBezTo>
                  <a:pt x="8187686" y="2514482"/>
                  <a:pt x="8152882" y="2549287"/>
                  <a:pt x="8109949" y="2549287"/>
                </a:cubicBezTo>
                <a:cubicBezTo>
                  <a:pt x="8067016" y="2549287"/>
                  <a:pt x="8032212" y="2514482"/>
                  <a:pt x="8032212" y="2471549"/>
                </a:cubicBezTo>
                <a:cubicBezTo>
                  <a:pt x="8032212" y="2428616"/>
                  <a:pt x="8067016" y="2393812"/>
                  <a:pt x="8109949" y="2393812"/>
                </a:cubicBezTo>
                <a:close/>
                <a:moveTo>
                  <a:pt x="7926434" y="2393812"/>
                </a:moveTo>
                <a:cubicBezTo>
                  <a:pt x="7969367" y="2393812"/>
                  <a:pt x="8004171" y="2428616"/>
                  <a:pt x="8004171" y="2471549"/>
                </a:cubicBezTo>
                <a:cubicBezTo>
                  <a:pt x="8004171" y="2514482"/>
                  <a:pt x="7969367" y="2549287"/>
                  <a:pt x="7926434" y="2549287"/>
                </a:cubicBezTo>
                <a:cubicBezTo>
                  <a:pt x="7883501" y="2549287"/>
                  <a:pt x="7848697" y="2514482"/>
                  <a:pt x="7848697" y="2471549"/>
                </a:cubicBezTo>
                <a:cubicBezTo>
                  <a:pt x="7848697" y="2428616"/>
                  <a:pt x="7883501" y="2393812"/>
                  <a:pt x="7926434" y="2393812"/>
                </a:cubicBezTo>
                <a:close/>
                <a:moveTo>
                  <a:pt x="7738213" y="2393812"/>
                </a:moveTo>
                <a:cubicBezTo>
                  <a:pt x="7781146" y="2393812"/>
                  <a:pt x="7815950" y="2428616"/>
                  <a:pt x="7815950" y="2471549"/>
                </a:cubicBezTo>
                <a:cubicBezTo>
                  <a:pt x="7815950" y="2514482"/>
                  <a:pt x="7781146" y="2549287"/>
                  <a:pt x="7738213" y="2549287"/>
                </a:cubicBezTo>
                <a:cubicBezTo>
                  <a:pt x="7695280" y="2549287"/>
                  <a:pt x="7660476" y="2514482"/>
                  <a:pt x="7660476" y="2471549"/>
                </a:cubicBezTo>
                <a:cubicBezTo>
                  <a:pt x="7660476" y="2428616"/>
                  <a:pt x="7695280" y="2393812"/>
                  <a:pt x="7738213" y="2393812"/>
                </a:cubicBezTo>
                <a:close/>
                <a:moveTo>
                  <a:pt x="7554693" y="2393812"/>
                </a:moveTo>
                <a:cubicBezTo>
                  <a:pt x="7597626" y="2393812"/>
                  <a:pt x="7632430" y="2428616"/>
                  <a:pt x="7632430" y="2471549"/>
                </a:cubicBezTo>
                <a:cubicBezTo>
                  <a:pt x="7632430" y="2514482"/>
                  <a:pt x="7597626" y="2549287"/>
                  <a:pt x="7554693" y="2549287"/>
                </a:cubicBezTo>
                <a:cubicBezTo>
                  <a:pt x="7511761" y="2549287"/>
                  <a:pt x="7476957" y="2514482"/>
                  <a:pt x="7476957" y="2471549"/>
                </a:cubicBezTo>
                <a:cubicBezTo>
                  <a:pt x="7476957" y="2428616"/>
                  <a:pt x="7511761" y="2393812"/>
                  <a:pt x="7554693" y="2393812"/>
                </a:cubicBezTo>
                <a:close/>
                <a:moveTo>
                  <a:pt x="7366472" y="2393812"/>
                </a:moveTo>
                <a:cubicBezTo>
                  <a:pt x="7409405" y="2393812"/>
                  <a:pt x="7444209" y="2428616"/>
                  <a:pt x="7444209" y="2471549"/>
                </a:cubicBezTo>
                <a:cubicBezTo>
                  <a:pt x="7444209" y="2514482"/>
                  <a:pt x="7409405" y="2549287"/>
                  <a:pt x="7366472" y="2549287"/>
                </a:cubicBezTo>
                <a:cubicBezTo>
                  <a:pt x="7323540" y="2549287"/>
                  <a:pt x="7288736" y="2514482"/>
                  <a:pt x="7288736" y="2471549"/>
                </a:cubicBezTo>
                <a:cubicBezTo>
                  <a:pt x="7288736" y="2428616"/>
                  <a:pt x="7323540" y="2393812"/>
                  <a:pt x="7366472" y="2393812"/>
                </a:cubicBezTo>
                <a:close/>
                <a:moveTo>
                  <a:pt x="7178251" y="2393812"/>
                </a:moveTo>
                <a:cubicBezTo>
                  <a:pt x="7221184" y="2393812"/>
                  <a:pt x="7255988" y="2428616"/>
                  <a:pt x="7255988" y="2471549"/>
                </a:cubicBezTo>
                <a:cubicBezTo>
                  <a:pt x="7255988" y="2514482"/>
                  <a:pt x="7221184" y="2549287"/>
                  <a:pt x="7178251" y="2549287"/>
                </a:cubicBezTo>
                <a:cubicBezTo>
                  <a:pt x="7135319" y="2549287"/>
                  <a:pt x="7100514" y="2514482"/>
                  <a:pt x="7100514" y="2471549"/>
                </a:cubicBezTo>
                <a:cubicBezTo>
                  <a:pt x="7100514" y="2428616"/>
                  <a:pt x="7135319" y="2393812"/>
                  <a:pt x="7178251" y="2393812"/>
                </a:cubicBezTo>
                <a:close/>
                <a:moveTo>
                  <a:pt x="6985327" y="2393812"/>
                </a:moveTo>
                <a:cubicBezTo>
                  <a:pt x="7028260" y="2393812"/>
                  <a:pt x="7063064" y="2428616"/>
                  <a:pt x="7063064" y="2471549"/>
                </a:cubicBezTo>
                <a:cubicBezTo>
                  <a:pt x="7063064" y="2514482"/>
                  <a:pt x="7028260" y="2549287"/>
                  <a:pt x="6985327" y="2549287"/>
                </a:cubicBezTo>
                <a:cubicBezTo>
                  <a:pt x="6942394" y="2549287"/>
                  <a:pt x="6907590" y="2514482"/>
                  <a:pt x="6907590" y="2471549"/>
                </a:cubicBezTo>
                <a:cubicBezTo>
                  <a:pt x="6907590" y="2428616"/>
                  <a:pt x="6942394" y="2393812"/>
                  <a:pt x="6985327" y="2393812"/>
                </a:cubicBezTo>
                <a:close/>
                <a:moveTo>
                  <a:pt x="6801810" y="2393812"/>
                </a:moveTo>
                <a:cubicBezTo>
                  <a:pt x="6844742" y="2393812"/>
                  <a:pt x="6879546" y="2428616"/>
                  <a:pt x="6879546" y="2471549"/>
                </a:cubicBezTo>
                <a:cubicBezTo>
                  <a:pt x="6879546" y="2514482"/>
                  <a:pt x="6844742" y="2549287"/>
                  <a:pt x="6801810" y="2549287"/>
                </a:cubicBezTo>
                <a:cubicBezTo>
                  <a:pt x="6758877" y="2549287"/>
                  <a:pt x="6724073" y="2514482"/>
                  <a:pt x="6724073" y="2471549"/>
                </a:cubicBezTo>
                <a:cubicBezTo>
                  <a:pt x="6724073" y="2428616"/>
                  <a:pt x="6758877" y="2393812"/>
                  <a:pt x="6801810" y="2393812"/>
                </a:cubicBezTo>
                <a:close/>
                <a:moveTo>
                  <a:pt x="6613588" y="2393812"/>
                </a:moveTo>
                <a:cubicBezTo>
                  <a:pt x="6656521" y="2393812"/>
                  <a:pt x="6691325" y="2428616"/>
                  <a:pt x="6691325" y="2471549"/>
                </a:cubicBezTo>
                <a:cubicBezTo>
                  <a:pt x="6691325" y="2514482"/>
                  <a:pt x="6656521" y="2549287"/>
                  <a:pt x="6613588" y="2549287"/>
                </a:cubicBezTo>
                <a:cubicBezTo>
                  <a:pt x="6570656" y="2549287"/>
                  <a:pt x="6535852" y="2514482"/>
                  <a:pt x="6535852" y="2471549"/>
                </a:cubicBezTo>
                <a:cubicBezTo>
                  <a:pt x="6535852" y="2428616"/>
                  <a:pt x="6570656" y="2393812"/>
                  <a:pt x="6613588" y="2393812"/>
                </a:cubicBezTo>
                <a:close/>
                <a:moveTo>
                  <a:pt x="6425367" y="2393812"/>
                </a:moveTo>
                <a:cubicBezTo>
                  <a:pt x="6468300" y="2393812"/>
                  <a:pt x="6503104" y="2428616"/>
                  <a:pt x="6503104" y="2471549"/>
                </a:cubicBezTo>
                <a:cubicBezTo>
                  <a:pt x="6503104" y="2514482"/>
                  <a:pt x="6468300" y="2549287"/>
                  <a:pt x="6425367" y="2549287"/>
                </a:cubicBezTo>
                <a:cubicBezTo>
                  <a:pt x="6382435" y="2549287"/>
                  <a:pt x="6347631" y="2514482"/>
                  <a:pt x="6347631" y="2471549"/>
                </a:cubicBezTo>
                <a:cubicBezTo>
                  <a:pt x="6347631" y="2428616"/>
                  <a:pt x="6382435" y="2393812"/>
                  <a:pt x="6425367" y="2393812"/>
                </a:cubicBezTo>
                <a:close/>
                <a:moveTo>
                  <a:pt x="6241850" y="2393812"/>
                </a:moveTo>
                <a:cubicBezTo>
                  <a:pt x="6284783" y="2393812"/>
                  <a:pt x="6319587" y="2428616"/>
                  <a:pt x="6319587" y="2471549"/>
                </a:cubicBezTo>
                <a:cubicBezTo>
                  <a:pt x="6319587" y="2514482"/>
                  <a:pt x="6284783" y="2549287"/>
                  <a:pt x="6241850" y="2549287"/>
                </a:cubicBezTo>
                <a:cubicBezTo>
                  <a:pt x="6198917" y="2549287"/>
                  <a:pt x="6164113" y="2514482"/>
                  <a:pt x="6164113" y="2471549"/>
                </a:cubicBezTo>
                <a:cubicBezTo>
                  <a:pt x="6164113" y="2428616"/>
                  <a:pt x="6198917" y="2393812"/>
                  <a:pt x="6241850" y="2393812"/>
                </a:cubicBezTo>
                <a:close/>
                <a:moveTo>
                  <a:pt x="6053630" y="2393812"/>
                </a:moveTo>
                <a:cubicBezTo>
                  <a:pt x="6096563" y="2393812"/>
                  <a:pt x="6131367" y="2428616"/>
                  <a:pt x="6131367" y="2471549"/>
                </a:cubicBezTo>
                <a:cubicBezTo>
                  <a:pt x="6131367" y="2514482"/>
                  <a:pt x="6096563" y="2549287"/>
                  <a:pt x="6053630" y="2549287"/>
                </a:cubicBezTo>
                <a:cubicBezTo>
                  <a:pt x="6010698" y="2549287"/>
                  <a:pt x="5975894" y="2514482"/>
                  <a:pt x="5975894" y="2471549"/>
                </a:cubicBezTo>
                <a:cubicBezTo>
                  <a:pt x="5975894" y="2428616"/>
                  <a:pt x="6010698" y="2393812"/>
                  <a:pt x="6053630" y="2393812"/>
                </a:cubicBezTo>
                <a:close/>
                <a:moveTo>
                  <a:pt x="5870113" y="2393812"/>
                </a:moveTo>
                <a:cubicBezTo>
                  <a:pt x="5913046" y="2393812"/>
                  <a:pt x="5947850" y="2428616"/>
                  <a:pt x="5947850" y="2471549"/>
                </a:cubicBezTo>
                <a:cubicBezTo>
                  <a:pt x="5947850" y="2514482"/>
                  <a:pt x="5913046" y="2549287"/>
                  <a:pt x="5870113" y="2549287"/>
                </a:cubicBezTo>
                <a:cubicBezTo>
                  <a:pt x="5827181" y="2549287"/>
                  <a:pt x="5792376" y="2514482"/>
                  <a:pt x="5792376" y="2471549"/>
                </a:cubicBezTo>
                <a:cubicBezTo>
                  <a:pt x="5792376" y="2428616"/>
                  <a:pt x="5827181" y="2393812"/>
                  <a:pt x="5870113" y="2393812"/>
                </a:cubicBezTo>
                <a:close/>
                <a:moveTo>
                  <a:pt x="5681928" y="2393812"/>
                </a:moveTo>
                <a:cubicBezTo>
                  <a:pt x="5724825" y="2393812"/>
                  <a:pt x="5759629" y="2428616"/>
                  <a:pt x="5759629" y="2471549"/>
                </a:cubicBezTo>
                <a:cubicBezTo>
                  <a:pt x="5759629" y="2514482"/>
                  <a:pt x="5724825" y="2549287"/>
                  <a:pt x="5681928" y="2549287"/>
                </a:cubicBezTo>
                <a:cubicBezTo>
                  <a:pt x="5638987" y="2549287"/>
                  <a:pt x="5604173" y="2514482"/>
                  <a:pt x="5604173" y="2471549"/>
                </a:cubicBezTo>
                <a:cubicBezTo>
                  <a:pt x="5604173" y="2428616"/>
                  <a:pt x="5638987" y="2393812"/>
                  <a:pt x="5681928" y="2393812"/>
                </a:cubicBezTo>
                <a:close/>
                <a:moveTo>
                  <a:pt x="5498381" y="2393812"/>
                </a:moveTo>
                <a:cubicBezTo>
                  <a:pt x="5541314" y="2393812"/>
                  <a:pt x="5576126" y="2428616"/>
                  <a:pt x="5576126" y="2471549"/>
                </a:cubicBezTo>
                <a:cubicBezTo>
                  <a:pt x="5576126" y="2514482"/>
                  <a:pt x="5541314" y="2549287"/>
                  <a:pt x="5498381" y="2549287"/>
                </a:cubicBezTo>
                <a:cubicBezTo>
                  <a:pt x="5455450" y="2549287"/>
                  <a:pt x="5420642" y="2514482"/>
                  <a:pt x="5420642" y="2471549"/>
                </a:cubicBezTo>
                <a:cubicBezTo>
                  <a:pt x="5420642" y="2428616"/>
                  <a:pt x="5455450" y="2393812"/>
                  <a:pt x="5498381" y="2393812"/>
                </a:cubicBezTo>
                <a:close/>
                <a:moveTo>
                  <a:pt x="5310166" y="2393812"/>
                </a:moveTo>
                <a:cubicBezTo>
                  <a:pt x="5353095" y="2393812"/>
                  <a:pt x="5387897" y="2428616"/>
                  <a:pt x="5387897" y="2471549"/>
                </a:cubicBezTo>
                <a:cubicBezTo>
                  <a:pt x="5387897" y="2514482"/>
                  <a:pt x="5353095" y="2549287"/>
                  <a:pt x="5310166" y="2549287"/>
                </a:cubicBezTo>
                <a:cubicBezTo>
                  <a:pt x="5267231" y="2549287"/>
                  <a:pt x="5232438" y="2514482"/>
                  <a:pt x="5232438" y="2471549"/>
                </a:cubicBezTo>
                <a:cubicBezTo>
                  <a:pt x="5232438" y="2428616"/>
                  <a:pt x="5267231" y="2393812"/>
                  <a:pt x="5310166" y="2393812"/>
                </a:cubicBezTo>
                <a:close/>
                <a:moveTo>
                  <a:pt x="3061035" y="2393812"/>
                </a:moveTo>
                <a:cubicBezTo>
                  <a:pt x="3103964" y="2393812"/>
                  <a:pt x="3138771" y="2428616"/>
                  <a:pt x="3138771" y="2471549"/>
                </a:cubicBezTo>
                <a:cubicBezTo>
                  <a:pt x="3138771" y="2514482"/>
                  <a:pt x="3103964" y="2549287"/>
                  <a:pt x="3061035" y="2549287"/>
                </a:cubicBezTo>
                <a:cubicBezTo>
                  <a:pt x="3018091" y="2549287"/>
                  <a:pt x="2983286" y="2514482"/>
                  <a:pt x="2983286" y="2471549"/>
                </a:cubicBezTo>
                <a:cubicBezTo>
                  <a:pt x="2983286" y="2428616"/>
                  <a:pt x="3018091" y="2393812"/>
                  <a:pt x="3061035" y="2393812"/>
                </a:cubicBezTo>
                <a:close/>
                <a:moveTo>
                  <a:pt x="2882217" y="2393812"/>
                </a:moveTo>
                <a:cubicBezTo>
                  <a:pt x="2925151" y="2393812"/>
                  <a:pt x="2959955" y="2428616"/>
                  <a:pt x="2959955" y="2471549"/>
                </a:cubicBezTo>
                <a:cubicBezTo>
                  <a:pt x="2959955" y="2514482"/>
                  <a:pt x="2925151" y="2549287"/>
                  <a:pt x="2882217" y="2549287"/>
                </a:cubicBezTo>
                <a:cubicBezTo>
                  <a:pt x="2839290" y="2549287"/>
                  <a:pt x="2804490" y="2514482"/>
                  <a:pt x="2804490" y="2471549"/>
                </a:cubicBezTo>
                <a:cubicBezTo>
                  <a:pt x="2804490" y="2428616"/>
                  <a:pt x="2839290" y="2393812"/>
                  <a:pt x="2882217" y="2393812"/>
                </a:cubicBezTo>
                <a:close/>
                <a:moveTo>
                  <a:pt x="2689313" y="2393812"/>
                </a:moveTo>
                <a:cubicBezTo>
                  <a:pt x="2732235" y="2393812"/>
                  <a:pt x="2767029" y="2428616"/>
                  <a:pt x="2767029" y="2471549"/>
                </a:cubicBezTo>
                <a:cubicBezTo>
                  <a:pt x="2767029" y="2514482"/>
                  <a:pt x="2732235" y="2549287"/>
                  <a:pt x="2689313" y="2549287"/>
                </a:cubicBezTo>
                <a:cubicBezTo>
                  <a:pt x="2646372" y="2549287"/>
                  <a:pt x="2611576" y="2514482"/>
                  <a:pt x="2611576" y="2471549"/>
                </a:cubicBezTo>
                <a:cubicBezTo>
                  <a:pt x="2611576" y="2428616"/>
                  <a:pt x="2646372" y="2393812"/>
                  <a:pt x="2689313" y="2393812"/>
                </a:cubicBezTo>
                <a:close/>
                <a:moveTo>
                  <a:pt x="2510490" y="2393812"/>
                </a:moveTo>
                <a:cubicBezTo>
                  <a:pt x="2553433" y="2393812"/>
                  <a:pt x="2588235" y="2428616"/>
                  <a:pt x="2588235" y="2471549"/>
                </a:cubicBezTo>
                <a:cubicBezTo>
                  <a:pt x="2588235" y="2514482"/>
                  <a:pt x="2553433" y="2549287"/>
                  <a:pt x="2510490" y="2549287"/>
                </a:cubicBezTo>
                <a:cubicBezTo>
                  <a:pt x="2467548" y="2549287"/>
                  <a:pt x="2432737" y="2514482"/>
                  <a:pt x="2432737" y="2471549"/>
                </a:cubicBezTo>
                <a:cubicBezTo>
                  <a:pt x="2432737" y="2428616"/>
                  <a:pt x="2467548" y="2393812"/>
                  <a:pt x="2510490" y="2393812"/>
                </a:cubicBezTo>
                <a:close/>
                <a:moveTo>
                  <a:pt x="2317537" y="2393812"/>
                </a:moveTo>
                <a:cubicBezTo>
                  <a:pt x="2360466" y="2393812"/>
                  <a:pt x="2395277" y="2428616"/>
                  <a:pt x="2395277" y="2471549"/>
                </a:cubicBezTo>
                <a:cubicBezTo>
                  <a:pt x="2395277" y="2514482"/>
                  <a:pt x="2360466" y="2549287"/>
                  <a:pt x="2317537" y="2549287"/>
                </a:cubicBezTo>
                <a:cubicBezTo>
                  <a:pt x="2274609" y="2549287"/>
                  <a:pt x="2239808" y="2514482"/>
                  <a:pt x="2239808" y="2471549"/>
                </a:cubicBezTo>
                <a:cubicBezTo>
                  <a:pt x="2239808" y="2428616"/>
                  <a:pt x="2274609" y="2393812"/>
                  <a:pt x="2317537" y="2393812"/>
                </a:cubicBezTo>
                <a:close/>
                <a:moveTo>
                  <a:pt x="2129335" y="2393812"/>
                </a:moveTo>
                <a:cubicBezTo>
                  <a:pt x="2172263" y="2393812"/>
                  <a:pt x="2207063" y="2428616"/>
                  <a:pt x="2207063" y="2471549"/>
                </a:cubicBezTo>
                <a:cubicBezTo>
                  <a:pt x="2207063" y="2514482"/>
                  <a:pt x="2172263" y="2549287"/>
                  <a:pt x="2129335" y="2549287"/>
                </a:cubicBezTo>
                <a:cubicBezTo>
                  <a:pt x="2086408" y="2549287"/>
                  <a:pt x="2051608" y="2514482"/>
                  <a:pt x="2051608" y="2471549"/>
                </a:cubicBezTo>
                <a:cubicBezTo>
                  <a:pt x="2051608" y="2428616"/>
                  <a:pt x="2086408" y="2393812"/>
                  <a:pt x="2129335" y="2393812"/>
                </a:cubicBezTo>
                <a:close/>
                <a:moveTo>
                  <a:pt x="1941137" y="2393812"/>
                </a:moveTo>
                <a:cubicBezTo>
                  <a:pt x="1984065" y="2393812"/>
                  <a:pt x="2018865" y="2428616"/>
                  <a:pt x="2018865" y="2471549"/>
                </a:cubicBezTo>
                <a:cubicBezTo>
                  <a:pt x="2018865" y="2514482"/>
                  <a:pt x="1984065" y="2549287"/>
                  <a:pt x="1941137" y="2549287"/>
                </a:cubicBezTo>
                <a:cubicBezTo>
                  <a:pt x="1898210" y="2549287"/>
                  <a:pt x="1863409" y="2514482"/>
                  <a:pt x="1863409" y="2471549"/>
                </a:cubicBezTo>
                <a:cubicBezTo>
                  <a:pt x="1863409" y="2428616"/>
                  <a:pt x="1898210" y="2393812"/>
                  <a:pt x="1941137" y="2393812"/>
                </a:cubicBezTo>
                <a:close/>
                <a:moveTo>
                  <a:pt x="1757643" y="2393812"/>
                </a:moveTo>
                <a:cubicBezTo>
                  <a:pt x="1800572" y="2393812"/>
                  <a:pt x="1835373" y="2428616"/>
                  <a:pt x="1835373" y="2471549"/>
                </a:cubicBezTo>
                <a:cubicBezTo>
                  <a:pt x="1835373" y="2514482"/>
                  <a:pt x="1800572" y="2549287"/>
                  <a:pt x="1757643" y="2549287"/>
                </a:cubicBezTo>
                <a:cubicBezTo>
                  <a:pt x="1714702" y="2549287"/>
                  <a:pt x="1679914" y="2514482"/>
                  <a:pt x="1679914" y="2471549"/>
                </a:cubicBezTo>
                <a:cubicBezTo>
                  <a:pt x="1679914" y="2428616"/>
                  <a:pt x="1714702" y="2393812"/>
                  <a:pt x="1757643" y="2393812"/>
                </a:cubicBezTo>
                <a:close/>
                <a:moveTo>
                  <a:pt x="1569401" y="2393812"/>
                </a:moveTo>
                <a:cubicBezTo>
                  <a:pt x="1612370" y="2393812"/>
                  <a:pt x="1647173" y="2428616"/>
                  <a:pt x="1647173" y="2471549"/>
                </a:cubicBezTo>
                <a:cubicBezTo>
                  <a:pt x="1647173" y="2514482"/>
                  <a:pt x="1612370" y="2549287"/>
                  <a:pt x="1569401" y="2549287"/>
                </a:cubicBezTo>
                <a:cubicBezTo>
                  <a:pt x="1526503" y="2549287"/>
                  <a:pt x="1491692" y="2514482"/>
                  <a:pt x="1491692" y="2471549"/>
                </a:cubicBezTo>
                <a:cubicBezTo>
                  <a:pt x="1491692" y="2428616"/>
                  <a:pt x="1526503" y="2393812"/>
                  <a:pt x="1569401" y="2393812"/>
                </a:cubicBezTo>
                <a:close/>
                <a:moveTo>
                  <a:pt x="1385887" y="2393812"/>
                </a:moveTo>
                <a:cubicBezTo>
                  <a:pt x="1428830" y="2393812"/>
                  <a:pt x="1463642" y="2428616"/>
                  <a:pt x="1463642" y="2471549"/>
                </a:cubicBezTo>
                <a:cubicBezTo>
                  <a:pt x="1463642" y="2514482"/>
                  <a:pt x="1428830" y="2549287"/>
                  <a:pt x="1385887" y="2549287"/>
                </a:cubicBezTo>
                <a:cubicBezTo>
                  <a:pt x="1342944" y="2549287"/>
                  <a:pt x="1308132" y="2514482"/>
                  <a:pt x="1308132" y="2471549"/>
                </a:cubicBezTo>
                <a:cubicBezTo>
                  <a:pt x="1308132" y="2428616"/>
                  <a:pt x="1342944" y="2393812"/>
                  <a:pt x="1385887" y="2393812"/>
                </a:cubicBezTo>
                <a:close/>
                <a:moveTo>
                  <a:pt x="1202350" y="2393812"/>
                </a:moveTo>
                <a:cubicBezTo>
                  <a:pt x="1245282" y="2393812"/>
                  <a:pt x="1280082" y="2428616"/>
                  <a:pt x="1280082" y="2471549"/>
                </a:cubicBezTo>
                <a:cubicBezTo>
                  <a:pt x="1280082" y="2514482"/>
                  <a:pt x="1245282" y="2549287"/>
                  <a:pt x="1202350" y="2549287"/>
                </a:cubicBezTo>
                <a:cubicBezTo>
                  <a:pt x="1159401" y="2549287"/>
                  <a:pt x="1124636" y="2514482"/>
                  <a:pt x="1124636" y="2471549"/>
                </a:cubicBezTo>
                <a:cubicBezTo>
                  <a:pt x="1124636" y="2428616"/>
                  <a:pt x="1159401" y="2393812"/>
                  <a:pt x="1202350" y="2393812"/>
                </a:cubicBezTo>
                <a:close/>
                <a:moveTo>
                  <a:pt x="1014115" y="2393812"/>
                </a:moveTo>
                <a:cubicBezTo>
                  <a:pt x="1057059" y="2393812"/>
                  <a:pt x="1091874" y="2428616"/>
                  <a:pt x="1091874" y="2471549"/>
                </a:cubicBezTo>
                <a:cubicBezTo>
                  <a:pt x="1091874" y="2514482"/>
                  <a:pt x="1057059" y="2549287"/>
                  <a:pt x="1014115" y="2549287"/>
                </a:cubicBezTo>
                <a:cubicBezTo>
                  <a:pt x="971213" y="2549287"/>
                  <a:pt x="936408" y="2514482"/>
                  <a:pt x="936408" y="2471549"/>
                </a:cubicBezTo>
                <a:cubicBezTo>
                  <a:pt x="936408" y="2428616"/>
                  <a:pt x="971213" y="2393812"/>
                  <a:pt x="1014115" y="2393812"/>
                </a:cubicBezTo>
                <a:close/>
                <a:moveTo>
                  <a:pt x="830610" y="2393812"/>
                </a:moveTo>
                <a:cubicBezTo>
                  <a:pt x="873534" y="2393812"/>
                  <a:pt x="908364" y="2428616"/>
                  <a:pt x="908364" y="2471549"/>
                </a:cubicBezTo>
                <a:cubicBezTo>
                  <a:pt x="908364" y="2514482"/>
                  <a:pt x="873534" y="2549287"/>
                  <a:pt x="830610" y="2549287"/>
                </a:cubicBezTo>
                <a:cubicBezTo>
                  <a:pt x="787669" y="2549287"/>
                  <a:pt x="752869" y="2514482"/>
                  <a:pt x="752869" y="2471549"/>
                </a:cubicBezTo>
                <a:cubicBezTo>
                  <a:pt x="752869" y="2428616"/>
                  <a:pt x="787669" y="2393812"/>
                  <a:pt x="830610" y="2393812"/>
                </a:cubicBezTo>
                <a:close/>
                <a:moveTo>
                  <a:pt x="642380" y="2393812"/>
                </a:moveTo>
                <a:cubicBezTo>
                  <a:pt x="685319" y="2393812"/>
                  <a:pt x="720120" y="2428616"/>
                  <a:pt x="720120" y="2471549"/>
                </a:cubicBezTo>
                <a:cubicBezTo>
                  <a:pt x="720120" y="2514482"/>
                  <a:pt x="685319" y="2549287"/>
                  <a:pt x="642380" y="2549287"/>
                </a:cubicBezTo>
                <a:cubicBezTo>
                  <a:pt x="599450" y="2549287"/>
                  <a:pt x="564646" y="2514482"/>
                  <a:pt x="564646" y="2471549"/>
                </a:cubicBezTo>
                <a:cubicBezTo>
                  <a:pt x="564646" y="2428616"/>
                  <a:pt x="599450" y="2393812"/>
                  <a:pt x="642380" y="2393812"/>
                </a:cubicBezTo>
                <a:close/>
                <a:moveTo>
                  <a:pt x="458865" y="2393812"/>
                </a:moveTo>
                <a:cubicBezTo>
                  <a:pt x="501797" y="2393812"/>
                  <a:pt x="536602" y="2428616"/>
                  <a:pt x="536602" y="2471549"/>
                </a:cubicBezTo>
                <a:cubicBezTo>
                  <a:pt x="536602" y="2514482"/>
                  <a:pt x="501797" y="2549287"/>
                  <a:pt x="458865" y="2549287"/>
                </a:cubicBezTo>
                <a:cubicBezTo>
                  <a:pt x="415933" y="2549287"/>
                  <a:pt x="381131" y="2514482"/>
                  <a:pt x="381131" y="2471549"/>
                </a:cubicBezTo>
                <a:cubicBezTo>
                  <a:pt x="381131" y="2428616"/>
                  <a:pt x="415933" y="2393812"/>
                  <a:pt x="458865" y="2393812"/>
                </a:cubicBezTo>
                <a:close/>
                <a:moveTo>
                  <a:pt x="10645056" y="2299063"/>
                </a:moveTo>
                <a:lnTo>
                  <a:pt x="10706096" y="2367361"/>
                </a:lnTo>
                <a:lnTo>
                  <a:pt x="10691261" y="2364368"/>
                </a:lnTo>
                <a:cubicBezTo>
                  <a:pt x="10672661" y="2356505"/>
                  <a:pt x="10657759" y="2341612"/>
                  <a:pt x="10649892" y="2323015"/>
                </a:cubicBezTo>
                <a:close/>
                <a:moveTo>
                  <a:pt x="1385897" y="2215028"/>
                </a:moveTo>
                <a:cubicBezTo>
                  <a:pt x="1428841" y="2215028"/>
                  <a:pt x="1463653" y="2249832"/>
                  <a:pt x="1463653" y="2292764"/>
                </a:cubicBezTo>
                <a:cubicBezTo>
                  <a:pt x="1463653" y="2335696"/>
                  <a:pt x="1428841" y="2370478"/>
                  <a:pt x="1385897" y="2370478"/>
                </a:cubicBezTo>
                <a:cubicBezTo>
                  <a:pt x="1342953" y="2370478"/>
                  <a:pt x="1308140" y="2335696"/>
                  <a:pt x="1308140" y="2292764"/>
                </a:cubicBezTo>
                <a:cubicBezTo>
                  <a:pt x="1308140" y="2249832"/>
                  <a:pt x="1342953" y="2215028"/>
                  <a:pt x="1385897" y="2215028"/>
                </a:cubicBezTo>
                <a:close/>
                <a:moveTo>
                  <a:pt x="1202355" y="2215028"/>
                </a:moveTo>
                <a:cubicBezTo>
                  <a:pt x="1245290" y="2215028"/>
                  <a:pt x="1280090" y="2249832"/>
                  <a:pt x="1280090" y="2292764"/>
                </a:cubicBezTo>
                <a:cubicBezTo>
                  <a:pt x="1280090" y="2335696"/>
                  <a:pt x="1245290" y="2370478"/>
                  <a:pt x="1202355" y="2370478"/>
                </a:cubicBezTo>
                <a:cubicBezTo>
                  <a:pt x="1159407" y="2370478"/>
                  <a:pt x="1124647" y="2335696"/>
                  <a:pt x="1124647" y="2292764"/>
                </a:cubicBezTo>
                <a:cubicBezTo>
                  <a:pt x="1124647" y="2249832"/>
                  <a:pt x="1159407" y="2215028"/>
                  <a:pt x="1202355" y="2215028"/>
                </a:cubicBezTo>
                <a:close/>
                <a:moveTo>
                  <a:pt x="1014115" y="2215028"/>
                </a:moveTo>
                <a:cubicBezTo>
                  <a:pt x="1057059" y="2215028"/>
                  <a:pt x="1091884" y="2249832"/>
                  <a:pt x="1091884" y="2292764"/>
                </a:cubicBezTo>
                <a:cubicBezTo>
                  <a:pt x="1091884" y="2335696"/>
                  <a:pt x="1057059" y="2370478"/>
                  <a:pt x="1014115" y="2370478"/>
                </a:cubicBezTo>
                <a:cubicBezTo>
                  <a:pt x="971225" y="2370478"/>
                  <a:pt x="936418" y="2335696"/>
                  <a:pt x="936418" y="2292764"/>
                </a:cubicBezTo>
                <a:cubicBezTo>
                  <a:pt x="936418" y="2249832"/>
                  <a:pt x="971225" y="2215028"/>
                  <a:pt x="1014115" y="2215028"/>
                </a:cubicBezTo>
                <a:close/>
                <a:moveTo>
                  <a:pt x="830617" y="2215028"/>
                </a:moveTo>
                <a:cubicBezTo>
                  <a:pt x="873540" y="2215028"/>
                  <a:pt x="908371" y="2249832"/>
                  <a:pt x="908371" y="2292764"/>
                </a:cubicBezTo>
                <a:cubicBezTo>
                  <a:pt x="908371" y="2335696"/>
                  <a:pt x="873540" y="2370478"/>
                  <a:pt x="830617" y="2370478"/>
                </a:cubicBezTo>
                <a:cubicBezTo>
                  <a:pt x="787681" y="2370478"/>
                  <a:pt x="752876" y="2335696"/>
                  <a:pt x="752876" y="2292764"/>
                </a:cubicBezTo>
                <a:cubicBezTo>
                  <a:pt x="752876" y="2249832"/>
                  <a:pt x="787681" y="2215028"/>
                  <a:pt x="830617" y="2215028"/>
                </a:cubicBezTo>
                <a:close/>
                <a:moveTo>
                  <a:pt x="642384" y="2215028"/>
                </a:moveTo>
                <a:cubicBezTo>
                  <a:pt x="685323" y="2215028"/>
                  <a:pt x="720128" y="2249832"/>
                  <a:pt x="720128" y="2292764"/>
                </a:cubicBezTo>
                <a:cubicBezTo>
                  <a:pt x="720128" y="2335696"/>
                  <a:pt x="685323" y="2370478"/>
                  <a:pt x="642384" y="2370478"/>
                </a:cubicBezTo>
                <a:cubicBezTo>
                  <a:pt x="599455" y="2370478"/>
                  <a:pt x="564651" y="2335696"/>
                  <a:pt x="564651" y="2292764"/>
                </a:cubicBezTo>
                <a:cubicBezTo>
                  <a:pt x="564651" y="2249832"/>
                  <a:pt x="599455" y="2215028"/>
                  <a:pt x="642384" y="2215028"/>
                </a:cubicBezTo>
                <a:close/>
                <a:moveTo>
                  <a:pt x="10538005" y="2215026"/>
                </a:moveTo>
                <a:cubicBezTo>
                  <a:pt x="10548738" y="2215026"/>
                  <a:pt x="10558963" y="2217201"/>
                  <a:pt x="10568264" y="2221134"/>
                </a:cubicBezTo>
                <a:lnTo>
                  <a:pt x="10574001" y="2225002"/>
                </a:lnTo>
                <a:lnTo>
                  <a:pt x="10605231" y="2255973"/>
                </a:lnTo>
                <a:lnTo>
                  <a:pt x="10609633" y="2262502"/>
                </a:lnTo>
                <a:cubicBezTo>
                  <a:pt x="10613567" y="2271802"/>
                  <a:pt x="10615742" y="2282027"/>
                  <a:pt x="10615742" y="2292760"/>
                </a:cubicBezTo>
                <a:cubicBezTo>
                  <a:pt x="10615742" y="2335693"/>
                  <a:pt x="10580938" y="2370473"/>
                  <a:pt x="10538005" y="2370473"/>
                </a:cubicBezTo>
                <a:cubicBezTo>
                  <a:pt x="10495073" y="2370473"/>
                  <a:pt x="10460268" y="2335693"/>
                  <a:pt x="10460268" y="2292760"/>
                </a:cubicBezTo>
                <a:cubicBezTo>
                  <a:pt x="10460268" y="2249827"/>
                  <a:pt x="10495073" y="2215026"/>
                  <a:pt x="10538005" y="2215026"/>
                </a:cubicBezTo>
                <a:close/>
                <a:moveTo>
                  <a:pt x="10349782" y="2215026"/>
                </a:moveTo>
                <a:cubicBezTo>
                  <a:pt x="10392715" y="2215026"/>
                  <a:pt x="10427519" y="2249827"/>
                  <a:pt x="10427519" y="2292760"/>
                </a:cubicBezTo>
                <a:cubicBezTo>
                  <a:pt x="10427519" y="2335693"/>
                  <a:pt x="10392715" y="2370473"/>
                  <a:pt x="10349782" y="2370473"/>
                </a:cubicBezTo>
                <a:cubicBezTo>
                  <a:pt x="10306849" y="2370473"/>
                  <a:pt x="10272045" y="2335693"/>
                  <a:pt x="10272045" y="2292760"/>
                </a:cubicBezTo>
                <a:cubicBezTo>
                  <a:pt x="10272045" y="2249827"/>
                  <a:pt x="10306849" y="2215026"/>
                  <a:pt x="10349782" y="2215026"/>
                </a:cubicBezTo>
                <a:close/>
                <a:moveTo>
                  <a:pt x="10166265" y="2215026"/>
                </a:moveTo>
                <a:cubicBezTo>
                  <a:pt x="10209198" y="2215026"/>
                  <a:pt x="10244002" y="2249827"/>
                  <a:pt x="10244002" y="2292760"/>
                </a:cubicBezTo>
                <a:cubicBezTo>
                  <a:pt x="10244002" y="2335693"/>
                  <a:pt x="10209198" y="2370473"/>
                  <a:pt x="10166265" y="2370473"/>
                </a:cubicBezTo>
                <a:cubicBezTo>
                  <a:pt x="10123332" y="2370473"/>
                  <a:pt x="10088528" y="2335693"/>
                  <a:pt x="10088528" y="2292760"/>
                </a:cubicBezTo>
                <a:cubicBezTo>
                  <a:pt x="10088528" y="2249827"/>
                  <a:pt x="10123332" y="2215026"/>
                  <a:pt x="10166265" y="2215026"/>
                </a:cubicBezTo>
                <a:close/>
                <a:moveTo>
                  <a:pt x="9978044" y="2215026"/>
                </a:moveTo>
                <a:cubicBezTo>
                  <a:pt x="10020977" y="2215026"/>
                  <a:pt x="10055781" y="2249827"/>
                  <a:pt x="10055781" y="2292760"/>
                </a:cubicBezTo>
                <a:cubicBezTo>
                  <a:pt x="10055781" y="2335693"/>
                  <a:pt x="10020977" y="2370473"/>
                  <a:pt x="9978044" y="2370473"/>
                </a:cubicBezTo>
                <a:cubicBezTo>
                  <a:pt x="9935111" y="2370473"/>
                  <a:pt x="9900307" y="2335693"/>
                  <a:pt x="9900307" y="2292760"/>
                </a:cubicBezTo>
                <a:cubicBezTo>
                  <a:pt x="9900307" y="2249827"/>
                  <a:pt x="9935111" y="2215026"/>
                  <a:pt x="9978044" y="2215026"/>
                </a:cubicBezTo>
                <a:close/>
                <a:moveTo>
                  <a:pt x="9789823" y="2215026"/>
                </a:moveTo>
                <a:cubicBezTo>
                  <a:pt x="9832756" y="2215026"/>
                  <a:pt x="9867560" y="2249827"/>
                  <a:pt x="9867560" y="2292760"/>
                </a:cubicBezTo>
                <a:cubicBezTo>
                  <a:pt x="9867560" y="2335693"/>
                  <a:pt x="9832756" y="2370473"/>
                  <a:pt x="9789823" y="2370473"/>
                </a:cubicBezTo>
                <a:cubicBezTo>
                  <a:pt x="9746890" y="2370473"/>
                  <a:pt x="9712086" y="2335693"/>
                  <a:pt x="9712086" y="2292760"/>
                </a:cubicBezTo>
                <a:cubicBezTo>
                  <a:pt x="9712086" y="2249827"/>
                  <a:pt x="9746890" y="2215026"/>
                  <a:pt x="9789823" y="2215026"/>
                </a:cubicBezTo>
                <a:close/>
                <a:moveTo>
                  <a:pt x="9606308" y="2215026"/>
                </a:moveTo>
                <a:cubicBezTo>
                  <a:pt x="9649241" y="2215026"/>
                  <a:pt x="9684045" y="2249827"/>
                  <a:pt x="9684045" y="2292760"/>
                </a:cubicBezTo>
                <a:cubicBezTo>
                  <a:pt x="9684045" y="2335693"/>
                  <a:pt x="9649241" y="2370473"/>
                  <a:pt x="9606308" y="2370473"/>
                </a:cubicBezTo>
                <a:cubicBezTo>
                  <a:pt x="9563375" y="2370473"/>
                  <a:pt x="9528571" y="2335693"/>
                  <a:pt x="9528571" y="2292760"/>
                </a:cubicBezTo>
                <a:cubicBezTo>
                  <a:pt x="9528571" y="2249827"/>
                  <a:pt x="9563375" y="2215026"/>
                  <a:pt x="9606308" y="2215026"/>
                </a:cubicBezTo>
                <a:close/>
                <a:moveTo>
                  <a:pt x="9413381" y="2215026"/>
                </a:moveTo>
                <a:cubicBezTo>
                  <a:pt x="9456314" y="2215026"/>
                  <a:pt x="9491118" y="2249827"/>
                  <a:pt x="9491118" y="2292760"/>
                </a:cubicBezTo>
                <a:cubicBezTo>
                  <a:pt x="9491118" y="2335693"/>
                  <a:pt x="9456314" y="2370473"/>
                  <a:pt x="9413381" y="2370473"/>
                </a:cubicBezTo>
                <a:cubicBezTo>
                  <a:pt x="9370448" y="2370473"/>
                  <a:pt x="9335644" y="2335693"/>
                  <a:pt x="9335644" y="2292760"/>
                </a:cubicBezTo>
                <a:cubicBezTo>
                  <a:pt x="9335644" y="2249827"/>
                  <a:pt x="9370448" y="2215026"/>
                  <a:pt x="9413381" y="2215026"/>
                </a:cubicBezTo>
                <a:close/>
                <a:moveTo>
                  <a:pt x="9234570" y="2215026"/>
                </a:moveTo>
                <a:cubicBezTo>
                  <a:pt x="9277503" y="2215026"/>
                  <a:pt x="9312307" y="2249827"/>
                  <a:pt x="9312307" y="2292760"/>
                </a:cubicBezTo>
                <a:cubicBezTo>
                  <a:pt x="9312307" y="2335693"/>
                  <a:pt x="9277503" y="2370473"/>
                  <a:pt x="9234570" y="2370473"/>
                </a:cubicBezTo>
                <a:cubicBezTo>
                  <a:pt x="9191637" y="2370473"/>
                  <a:pt x="9156833" y="2335693"/>
                  <a:pt x="9156833" y="2292760"/>
                </a:cubicBezTo>
                <a:cubicBezTo>
                  <a:pt x="9156833" y="2249827"/>
                  <a:pt x="9191637" y="2215026"/>
                  <a:pt x="9234570" y="2215026"/>
                </a:cubicBezTo>
                <a:close/>
                <a:moveTo>
                  <a:pt x="9036939" y="2215026"/>
                </a:moveTo>
                <a:cubicBezTo>
                  <a:pt x="9079871" y="2215026"/>
                  <a:pt x="9114675" y="2249827"/>
                  <a:pt x="9114675" y="2292760"/>
                </a:cubicBezTo>
                <a:cubicBezTo>
                  <a:pt x="9114675" y="2335693"/>
                  <a:pt x="9079871" y="2370473"/>
                  <a:pt x="9036939" y="2370473"/>
                </a:cubicBezTo>
                <a:cubicBezTo>
                  <a:pt x="8994006" y="2370473"/>
                  <a:pt x="8959202" y="2335693"/>
                  <a:pt x="8959202" y="2292760"/>
                </a:cubicBezTo>
                <a:cubicBezTo>
                  <a:pt x="8959202" y="2249827"/>
                  <a:pt x="8994006" y="2215026"/>
                  <a:pt x="9036939" y="2215026"/>
                </a:cubicBezTo>
                <a:close/>
                <a:moveTo>
                  <a:pt x="8853421" y="2215026"/>
                </a:moveTo>
                <a:cubicBezTo>
                  <a:pt x="8896354" y="2215026"/>
                  <a:pt x="8931158" y="2249827"/>
                  <a:pt x="8931158" y="2292760"/>
                </a:cubicBezTo>
                <a:cubicBezTo>
                  <a:pt x="8931158" y="2335693"/>
                  <a:pt x="8896354" y="2370473"/>
                  <a:pt x="8853421" y="2370473"/>
                </a:cubicBezTo>
                <a:cubicBezTo>
                  <a:pt x="8810489" y="2370473"/>
                  <a:pt x="8775685" y="2335693"/>
                  <a:pt x="8775685" y="2292760"/>
                </a:cubicBezTo>
                <a:cubicBezTo>
                  <a:pt x="8775685" y="2249827"/>
                  <a:pt x="8810489" y="2215026"/>
                  <a:pt x="8853421" y="2215026"/>
                </a:cubicBezTo>
                <a:close/>
                <a:moveTo>
                  <a:pt x="8669908" y="2215026"/>
                </a:moveTo>
                <a:cubicBezTo>
                  <a:pt x="8712841" y="2215026"/>
                  <a:pt x="8747645" y="2249827"/>
                  <a:pt x="8747645" y="2292760"/>
                </a:cubicBezTo>
                <a:cubicBezTo>
                  <a:pt x="8747645" y="2335693"/>
                  <a:pt x="8712841" y="2370473"/>
                  <a:pt x="8669908" y="2370473"/>
                </a:cubicBezTo>
                <a:cubicBezTo>
                  <a:pt x="8626975" y="2370473"/>
                  <a:pt x="8592171" y="2335693"/>
                  <a:pt x="8592171" y="2292760"/>
                </a:cubicBezTo>
                <a:cubicBezTo>
                  <a:pt x="8592171" y="2249827"/>
                  <a:pt x="8626975" y="2215026"/>
                  <a:pt x="8669908" y="2215026"/>
                </a:cubicBezTo>
                <a:close/>
                <a:moveTo>
                  <a:pt x="8481684" y="2215026"/>
                </a:moveTo>
                <a:cubicBezTo>
                  <a:pt x="8524617" y="2215026"/>
                  <a:pt x="8559421" y="2249827"/>
                  <a:pt x="8559421" y="2292760"/>
                </a:cubicBezTo>
                <a:cubicBezTo>
                  <a:pt x="8559421" y="2335693"/>
                  <a:pt x="8524617" y="2370473"/>
                  <a:pt x="8481684" y="2370473"/>
                </a:cubicBezTo>
                <a:cubicBezTo>
                  <a:pt x="8438752" y="2370473"/>
                  <a:pt x="8403948" y="2335693"/>
                  <a:pt x="8403948" y="2292760"/>
                </a:cubicBezTo>
                <a:cubicBezTo>
                  <a:pt x="8403948" y="2249827"/>
                  <a:pt x="8438752" y="2215026"/>
                  <a:pt x="8481684" y="2215026"/>
                </a:cubicBezTo>
                <a:close/>
                <a:moveTo>
                  <a:pt x="8298167" y="2215026"/>
                </a:moveTo>
                <a:cubicBezTo>
                  <a:pt x="8341100" y="2215026"/>
                  <a:pt x="8375904" y="2249827"/>
                  <a:pt x="8375904" y="2292760"/>
                </a:cubicBezTo>
                <a:cubicBezTo>
                  <a:pt x="8375904" y="2335693"/>
                  <a:pt x="8341100" y="2370473"/>
                  <a:pt x="8298167" y="2370473"/>
                </a:cubicBezTo>
                <a:cubicBezTo>
                  <a:pt x="8255235" y="2370473"/>
                  <a:pt x="8220430" y="2335693"/>
                  <a:pt x="8220430" y="2292760"/>
                </a:cubicBezTo>
                <a:cubicBezTo>
                  <a:pt x="8220430" y="2249827"/>
                  <a:pt x="8255235" y="2215026"/>
                  <a:pt x="8298167" y="2215026"/>
                </a:cubicBezTo>
                <a:close/>
                <a:moveTo>
                  <a:pt x="8109949" y="2215026"/>
                </a:moveTo>
                <a:cubicBezTo>
                  <a:pt x="8152882" y="2215026"/>
                  <a:pt x="8187686" y="2249827"/>
                  <a:pt x="8187686" y="2292760"/>
                </a:cubicBezTo>
                <a:cubicBezTo>
                  <a:pt x="8187686" y="2335693"/>
                  <a:pt x="8152882" y="2370473"/>
                  <a:pt x="8109949" y="2370473"/>
                </a:cubicBezTo>
                <a:cubicBezTo>
                  <a:pt x="8067016" y="2370473"/>
                  <a:pt x="8032212" y="2335693"/>
                  <a:pt x="8032212" y="2292760"/>
                </a:cubicBezTo>
                <a:cubicBezTo>
                  <a:pt x="8032212" y="2249827"/>
                  <a:pt x="8067016" y="2215026"/>
                  <a:pt x="8109949" y="2215026"/>
                </a:cubicBezTo>
                <a:close/>
                <a:moveTo>
                  <a:pt x="7926434" y="2215026"/>
                </a:moveTo>
                <a:cubicBezTo>
                  <a:pt x="7969367" y="2215026"/>
                  <a:pt x="8004171" y="2249827"/>
                  <a:pt x="8004171" y="2292760"/>
                </a:cubicBezTo>
                <a:cubicBezTo>
                  <a:pt x="8004171" y="2335693"/>
                  <a:pt x="7969367" y="2370473"/>
                  <a:pt x="7926434" y="2370473"/>
                </a:cubicBezTo>
                <a:cubicBezTo>
                  <a:pt x="7883501" y="2370473"/>
                  <a:pt x="7848697" y="2335693"/>
                  <a:pt x="7848697" y="2292760"/>
                </a:cubicBezTo>
                <a:cubicBezTo>
                  <a:pt x="7848697" y="2249827"/>
                  <a:pt x="7883501" y="2215026"/>
                  <a:pt x="7926434" y="2215026"/>
                </a:cubicBezTo>
                <a:close/>
                <a:moveTo>
                  <a:pt x="7738213" y="2215026"/>
                </a:moveTo>
                <a:cubicBezTo>
                  <a:pt x="7781146" y="2215026"/>
                  <a:pt x="7815950" y="2249827"/>
                  <a:pt x="7815950" y="2292760"/>
                </a:cubicBezTo>
                <a:cubicBezTo>
                  <a:pt x="7815950" y="2335693"/>
                  <a:pt x="7781146" y="2370473"/>
                  <a:pt x="7738213" y="2370473"/>
                </a:cubicBezTo>
                <a:cubicBezTo>
                  <a:pt x="7695280" y="2370473"/>
                  <a:pt x="7660476" y="2335693"/>
                  <a:pt x="7660476" y="2292760"/>
                </a:cubicBezTo>
                <a:cubicBezTo>
                  <a:pt x="7660476" y="2249827"/>
                  <a:pt x="7695280" y="2215026"/>
                  <a:pt x="7738213" y="2215026"/>
                </a:cubicBezTo>
                <a:close/>
                <a:moveTo>
                  <a:pt x="7554696" y="2215026"/>
                </a:moveTo>
                <a:cubicBezTo>
                  <a:pt x="7597629" y="2215026"/>
                  <a:pt x="7632433" y="2249827"/>
                  <a:pt x="7632433" y="2292760"/>
                </a:cubicBezTo>
                <a:cubicBezTo>
                  <a:pt x="7632433" y="2335693"/>
                  <a:pt x="7597629" y="2370473"/>
                  <a:pt x="7554696" y="2370473"/>
                </a:cubicBezTo>
                <a:cubicBezTo>
                  <a:pt x="7511763" y="2370473"/>
                  <a:pt x="7476959" y="2335693"/>
                  <a:pt x="7476959" y="2292760"/>
                </a:cubicBezTo>
                <a:cubicBezTo>
                  <a:pt x="7476959" y="2249827"/>
                  <a:pt x="7511763" y="2215026"/>
                  <a:pt x="7554696" y="2215026"/>
                </a:cubicBezTo>
                <a:close/>
                <a:moveTo>
                  <a:pt x="7366472" y="2215026"/>
                </a:moveTo>
                <a:cubicBezTo>
                  <a:pt x="7409405" y="2215026"/>
                  <a:pt x="7444209" y="2249827"/>
                  <a:pt x="7444209" y="2292760"/>
                </a:cubicBezTo>
                <a:cubicBezTo>
                  <a:pt x="7444209" y="2335693"/>
                  <a:pt x="7409405" y="2370473"/>
                  <a:pt x="7366472" y="2370473"/>
                </a:cubicBezTo>
                <a:cubicBezTo>
                  <a:pt x="7323540" y="2370473"/>
                  <a:pt x="7288736" y="2335693"/>
                  <a:pt x="7288736" y="2292760"/>
                </a:cubicBezTo>
                <a:cubicBezTo>
                  <a:pt x="7288736" y="2249827"/>
                  <a:pt x="7323540" y="2215026"/>
                  <a:pt x="7366472" y="2215026"/>
                </a:cubicBezTo>
                <a:close/>
                <a:moveTo>
                  <a:pt x="7178251" y="2215026"/>
                </a:moveTo>
                <a:cubicBezTo>
                  <a:pt x="7221184" y="2215026"/>
                  <a:pt x="7255988" y="2249827"/>
                  <a:pt x="7255988" y="2292760"/>
                </a:cubicBezTo>
                <a:cubicBezTo>
                  <a:pt x="7255988" y="2335693"/>
                  <a:pt x="7221184" y="2370473"/>
                  <a:pt x="7178251" y="2370473"/>
                </a:cubicBezTo>
                <a:cubicBezTo>
                  <a:pt x="7135319" y="2370473"/>
                  <a:pt x="7100514" y="2335693"/>
                  <a:pt x="7100514" y="2292760"/>
                </a:cubicBezTo>
                <a:cubicBezTo>
                  <a:pt x="7100514" y="2249827"/>
                  <a:pt x="7135319" y="2215026"/>
                  <a:pt x="7178251" y="2215026"/>
                </a:cubicBezTo>
                <a:close/>
                <a:moveTo>
                  <a:pt x="6985327" y="2215026"/>
                </a:moveTo>
                <a:cubicBezTo>
                  <a:pt x="7028260" y="2215026"/>
                  <a:pt x="7063064" y="2249827"/>
                  <a:pt x="7063064" y="2292760"/>
                </a:cubicBezTo>
                <a:cubicBezTo>
                  <a:pt x="7063064" y="2335693"/>
                  <a:pt x="7028260" y="2370473"/>
                  <a:pt x="6985327" y="2370473"/>
                </a:cubicBezTo>
                <a:cubicBezTo>
                  <a:pt x="6942394" y="2370473"/>
                  <a:pt x="6907590" y="2335693"/>
                  <a:pt x="6907590" y="2292760"/>
                </a:cubicBezTo>
                <a:cubicBezTo>
                  <a:pt x="6907590" y="2249827"/>
                  <a:pt x="6942394" y="2215026"/>
                  <a:pt x="6985327" y="2215026"/>
                </a:cubicBezTo>
                <a:close/>
                <a:moveTo>
                  <a:pt x="6801810" y="2215026"/>
                </a:moveTo>
                <a:cubicBezTo>
                  <a:pt x="6844742" y="2215026"/>
                  <a:pt x="6879546" y="2249827"/>
                  <a:pt x="6879546" y="2292760"/>
                </a:cubicBezTo>
                <a:cubicBezTo>
                  <a:pt x="6879546" y="2335693"/>
                  <a:pt x="6844742" y="2370473"/>
                  <a:pt x="6801810" y="2370473"/>
                </a:cubicBezTo>
                <a:cubicBezTo>
                  <a:pt x="6758877" y="2370473"/>
                  <a:pt x="6724073" y="2335693"/>
                  <a:pt x="6724073" y="2292760"/>
                </a:cubicBezTo>
                <a:cubicBezTo>
                  <a:pt x="6724073" y="2249827"/>
                  <a:pt x="6758877" y="2215026"/>
                  <a:pt x="6801810" y="2215026"/>
                </a:cubicBezTo>
                <a:close/>
                <a:moveTo>
                  <a:pt x="6613588" y="2215026"/>
                </a:moveTo>
                <a:cubicBezTo>
                  <a:pt x="6656521" y="2215026"/>
                  <a:pt x="6691325" y="2249827"/>
                  <a:pt x="6691325" y="2292760"/>
                </a:cubicBezTo>
                <a:cubicBezTo>
                  <a:pt x="6691325" y="2335693"/>
                  <a:pt x="6656521" y="2370473"/>
                  <a:pt x="6613588" y="2370473"/>
                </a:cubicBezTo>
                <a:cubicBezTo>
                  <a:pt x="6570656" y="2370473"/>
                  <a:pt x="6535852" y="2335693"/>
                  <a:pt x="6535852" y="2292760"/>
                </a:cubicBezTo>
                <a:cubicBezTo>
                  <a:pt x="6535852" y="2249827"/>
                  <a:pt x="6570656" y="2215026"/>
                  <a:pt x="6613588" y="2215026"/>
                </a:cubicBezTo>
                <a:close/>
                <a:moveTo>
                  <a:pt x="6241850" y="2215026"/>
                </a:moveTo>
                <a:cubicBezTo>
                  <a:pt x="6284783" y="2215026"/>
                  <a:pt x="6319587" y="2249827"/>
                  <a:pt x="6319587" y="2292760"/>
                </a:cubicBezTo>
                <a:cubicBezTo>
                  <a:pt x="6319587" y="2335693"/>
                  <a:pt x="6284783" y="2370473"/>
                  <a:pt x="6241850" y="2370473"/>
                </a:cubicBezTo>
                <a:cubicBezTo>
                  <a:pt x="6198917" y="2370473"/>
                  <a:pt x="6164113" y="2335693"/>
                  <a:pt x="6164113" y="2292760"/>
                </a:cubicBezTo>
                <a:cubicBezTo>
                  <a:pt x="6164113" y="2249827"/>
                  <a:pt x="6198917" y="2215026"/>
                  <a:pt x="6241850" y="2215026"/>
                </a:cubicBezTo>
                <a:close/>
                <a:moveTo>
                  <a:pt x="6053630" y="2215026"/>
                </a:moveTo>
                <a:cubicBezTo>
                  <a:pt x="6096563" y="2215026"/>
                  <a:pt x="6131367" y="2249827"/>
                  <a:pt x="6131367" y="2292760"/>
                </a:cubicBezTo>
                <a:cubicBezTo>
                  <a:pt x="6131367" y="2335693"/>
                  <a:pt x="6096563" y="2370473"/>
                  <a:pt x="6053630" y="2370473"/>
                </a:cubicBezTo>
                <a:cubicBezTo>
                  <a:pt x="6010698" y="2370473"/>
                  <a:pt x="5975894" y="2335693"/>
                  <a:pt x="5975894" y="2292760"/>
                </a:cubicBezTo>
                <a:cubicBezTo>
                  <a:pt x="5975894" y="2249827"/>
                  <a:pt x="6010698" y="2215026"/>
                  <a:pt x="6053630" y="2215026"/>
                </a:cubicBezTo>
                <a:close/>
                <a:moveTo>
                  <a:pt x="5870113" y="2215026"/>
                </a:moveTo>
                <a:cubicBezTo>
                  <a:pt x="5913046" y="2215026"/>
                  <a:pt x="5947850" y="2249827"/>
                  <a:pt x="5947850" y="2292760"/>
                </a:cubicBezTo>
                <a:cubicBezTo>
                  <a:pt x="5947850" y="2335693"/>
                  <a:pt x="5913046" y="2370473"/>
                  <a:pt x="5870113" y="2370473"/>
                </a:cubicBezTo>
                <a:cubicBezTo>
                  <a:pt x="5827181" y="2370473"/>
                  <a:pt x="5792376" y="2335693"/>
                  <a:pt x="5792376" y="2292760"/>
                </a:cubicBezTo>
                <a:cubicBezTo>
                  <a:pt x="5792376" y="2249827"/>
                  <a:pt x="5827181" y="2215026"/>
                  <a:pt x="5870113" y="2215026"/>
                </a:cubicBezTo>
                <a:close/>
                <a:moveTo>
                  <a:pt x="5681931" y="2215026"/>
                </a:moveTo>
                <a:cubicBezTo>
                  <a:pt x="5724825" y="2215026"/>
                  <a:pt x="5759629" y="2249827"/>
                  <a:pt x="5759629" y="2292760"/>
                </a:cubicBezTo>
                <a:cubicBezTo>
                  <a:pt x="5759629" y="2335693"/>
                  <a:pt x="5724825" y="2370473"/>
                  <a:pt x="5681931" y="2370473"/>
                </a:cubicBezTo>
                <a:cubicBezTo>
                  <a:pt x="5638987" y="2370473"/>
                  <a:pt x="5604176" y="2335693"/>
                  <a:pt x="5604176" y="2292760"/>
                </a:cubicBezTo>
                <a:cubicBezTo>
                  <a:pt x="5604176" y="2249827"/>
                  <a:pt x="5638987" y="2215026"/>
                  <a:pt x="5681931" y="2215026"/>
                </a:cubicBezTo>
                <a:close/>
                <a:moveTo>
                  <a:pt x="5498381" y="2215026"/>
                </a:moveTo>
                <a:cubicBezTo>
                  <a:pt x="5541314" y="2215026"/>
                  <a:pt x="5576126" y="2249827"/>
                  <a:pt x="5576126" y="2292760"/>
                </a:cubicBezTo>
                <a:cubicBezTo>
                  <a:pt x="5576126" y="2335693"/>
                  <a:pt x="5541314" y="2370473"/>
                  <a:pt x="5498381" y="2370473"/>
                </a:cubicBezTo>
                <a:cubicBezTo>
                  <a:pt x="5455451" y="2370473"/>
                  <a:pt x="5420642" y="2335693"/>
                  <a:pt x="5420642" y="2292760"/>
                </a:cubicBezTo>
                <a:cubicBezTo>
                  <a:pt x="5420642" y="2249827"/>
                  <a:pt x="5455451" y="2215026"/>
                  <a:pt x="5498381" y="2215026"/>
                </a:cubicBezTo>
                <a:close/>
                <a:moveTo>
                  <a:pt x="5310166" y="2215026"/>
                </a:moveTo>
                <a:cubicBezTo>
                  <a:pt x="5353095" y="2215026"/>
                  <a:pt x="5387897" y="2249827"/>
                  <a:pt x="5387897" y="2292760"/>
                </a:cubicBezTo>
                <a:cubicBezTo>
                  <a:pt x="5387897" y="2335693"/>
                  <a:pt x="5353095" y="2370473"/>
                  <a:pt x="5310166" y="2370473"/>
                </a:cubicBezTo>
                <a:cubicBezTo>
                  <a:pt x="5267231" y="2370473"/>
                  <a:pt x="5232439" y="2335693"/>
                  <a:pt x="5232439" y="2292760"/>
                </a:cubicBezTo>
                <a:cubicBezTo>
                  <a:pt x="5232439" y="2249827"/>
                  <a:pt x="5267231" y="2215026"/>
                  <a:pt x="5310166" y="2215026"/>
                </a:cubicBezTo>
                <a:close/>
                <a:moveTo>
                  <a:pt x="5126655" y="2215026"/>
                </a:moveTo>
                <a:cubicBezTo>
                  <a:pt x="5169590" y="2215026"/>
                  <a:pt x="5204392" y="2249827"/>
                  <a:pt x="5204392" y="2292760"/>
                </a:cubicBezTo>
                <a:cubicBezTo>
                  <a:pt x="5204392" y="2335693"/>
                  <a:pt x="5169590" y="2370473"/>
                  <a:pt x="5126655" y="2370473"/>
                </a:cubicBezTo>
                <a:cubicBezTo>
                  <a:pt x="5083740" y="2370473"/>
                  <a:pt x="5048928" y="2335693"/>
                  <a:pt x="5048928" y="2292760"/>
                </a:cubicBezTo>
                <a:cubicBezTo>
                  <a:pt x="5048928" y="2249827"/>
                  <a:pt x="5083740" y="2215026"/>
                  <a:pt x="5126655" y="2215026"/>
                </a:cubicBezTo>
                <a:close/>
                <a:moveTo>
                  <a:pt x="3061043" y="2215026"/>
                </a:moveTo>
                <a:cubicBezTo>
                  <a:pt x="3103975" y="2215026"/>
                  <a:pt x="3138780" y="2249827"/>
                  <a:pt x="3138780" y="2292760"/>
                </a:cubicBezTo>
                <a:cubicBezTo>
                  <a:pt x="3138780" y="2335693"/>
                  <a:pt x="3103975" y="2370473"/>
                  <a:pt x="3061043" y="2370473"/>
                </a:cubicBezTo>
                <a:cubicBezTo>
                  <a:pt x="3018099" y="2370473"/>
                  <a:pt x="2983293" y="2335693"/>
                  <a:pt x="2983293" y="2292760"/>
                </a:cubicBezTo>
                <a:cubicBezTo>
                  <a:pt x="2983293" y="2249827"/>
                  <a:pt x="3018099" y="2215026"/>
                  <a:pt x="3061043" y="2215026"/>
                </a:cubicBezTo>
                <a:close/>
                <a:moveTo>
                  <a:pt x="2882225" y="2215026"/>
                </a:moveTo>
                <a:cubicBezTo>
                  <a:pt x="2925159" y="2215026"/>
                  <a:pt x="2959965" y="2249827"/>
                  <a:pt x="2959965" y="2292760"/>
                </a:cubicBezTo>
                <a:cubicBezTo>
                  <a:pt x="2959965" y="2335693"/>
                  <a:pt x="2925159" y="2370473"/>
                  <a:pt x="2882225" y="2370473"/>
                </a:cubicBezTo>
                <a:cubicBezTo>
                  <a:pt x="2839298" y="2370473"/>
                  <a:pt x="2804499" y="2335693"/>
                  <a:pt x="2804499" y="2292760"/>
                </a:cubicBezTo>
                <a:cubicBezTo>
                  <a:pt x="2804499" y="2249827"/>
                  <a:pt x="2839298" y="2215026"/>
                  <a:pt x="2882225" y="2215026"/>
                </a:cubicBezTo>
                <a:close/>
                <a:moveTo>
                  <a:pt x="2689321" y="2215026"/>
                </a:moveTo>
                <a:cubicBezTo>
                  <a:pt x="2732245" y="2215026"/>
                  <a:pt x="2767032" y="2249827"/>
                  <a:pt x="2767032" y="2292760"/>
                </a:cubicBezTo>
                <a:cubicBezTo>
                  <a:pt x="2767032" y="2335693"/>
                  <a:pt x="2732245" y="2370473"/>
                  <a:pt x="2689321" y="2370473"/>
                </a:cubicBezTo>
                <a:cubicBezTo>
                  <a:pt x="2646382" y="2370473"/>
                  <a:pt x="2611585" y="2335693"/>
                  <a:pt x="2611585" y="2292760"/>
                </a:cubicBezTo>
                <a:cubicBezTo>
                  <a:pt x="2611585" y="2249827"/>
                  <a:pt x="2646382" y="2215026"/>
                  <a:pt x="2689321" y="2215026"/>
                </a:cubicBezTo>
                <a:close/>
                <a:moveTo>
                  <a:pt x="2510500" y="2215026"/>
                </a:moveTo>
                <a:cubicBezTo>
                  <a:pt x="2553443" y="2215026"/>
                  <a:pt x="2588245" y="2249827"/>
                  <a:pt x="2588245" y="2292760"/>
                </a:cubicBezTo>
                <a:cubicBezTo>
                  <a:pt x="2588245" y="2335693"/>
                  <a:pt x="2553443" y="2370473"/>
                  <a:pt x="2510500" y="2370473"/>
                </a:cubicBezTo>
                <a:cubicBezTo>
                  <a:pt x="2467558" y="2370473"/>
                  <a:pt x="2432745" y="2335693"/>
                  <a:pt x="2432745" y="2292760"/>
                </a:cubicBezTo>
                <a:cubicBezTo>
                  <a:pt x="2432745" y="2249827"/>
                  <a:pt x="2467558" y="2215026"/>
                  <a:pt x="2510500" y="2215026"/>
                </a:cubicBezTo>
                <a:close/>
                <a:moveTo>
                  <a:pt x="2317543" y="2215026"/>
                </a:moveTo>
                <a:cubicBezTo>
                  <a:pt x="2360472" y="2215026"/>
                  <a:pt x="2395284" y="2249827"/>
                  <a:pt x="2395284" y="2292760"/>
                </a:cubicBezTo>
                <a:cubicBezTo>
                  <a:pt x="2395284" y="2335693"/>
                  <a:pt x="2360472" y="2370473"/>
                  <a:pt x="2317543" y="2370473"/>
                </a:cubicBezTo>
                <a:cubicBezTo>
                  <a:pt x="2274617" y="2370473"/>
                  <a:pt x="2239817" y="2335693"/>
                  <a:pt x="2239817" y="2292760"/>
                </a:cubicBezTo>
                <a:cubicBezTo>
                  <a:pt x="2239817" y="2249827"/>
                  <a:pt x="2274617" y="2215026"/>
                  <a:pt x="2317543" y="2215026"/>
                </a:cubicBezTo>
                <a:close/>
                <a:moveTo>
                  <a:pt x="2129344" y="2215026"/>
                </a:moveTo>
                <a:cubicBezTo>
                  <a:pt x="2172273" y="2215026"/>
                  <a:pt x="2207072" y="2249827"/>
                  <a:pt x="2207072" y="2292760"/>
                </a:cubicBezTo>
                <a:cubicBezTo>
                  <a:pt x="2207072" y="2335693"/>
                  <a:pt x="2172273" y="2370473"/>
                  <a:pt x="2129344" y="2370473"/>
                </a:cubicBezTo>
                <a:cubicBezTo>
                  <a:pt x="2086418" y="2370473"/>
                  <a:pt x="2051618" y="2335693"/>
                  <a:pt x="2051618" y="2292760"/>
                </a:cubicBezTo>
                <a:cubicBezTo>
                  <a:pt x="2051618" y="2249827"/>
                  <a:pt x="2086418" y="2215026"/>
                  <a:pt x="2129344" y="2215026"/>
                </a:cubicBezTo>
                <a:close/>
                <a:moveTo>
                  <a:pt x="1941149" y="2215026"/>
                </a:moveTo>
                <a:cubicBezTo>
                  <a:pt x="1984076" y="2215026"/>
                  <a:pt x="2018875" y="2249827"/>
                  <a:pt x="2018875" y="2292760"/>
                </a:cubicBezTo>
                <a:cubicBezTo>
                  <a:pt x="2018875" y="2335693"/>
                  <a:pt x="1984076" y="2370473"/>
                  <a:pt x="1941149" y="2370473"/>
                </a:cubicBezTo>
                <a:cubicBezTo>
                  <a:pt x="1898221" y="2370473"/>
                  <a:pt x="1863421" y="2335693"/>
                  <a:pt x="1863421" y="2292760"/>
                </a:cubicBezTo>
                <a:cubicBezTo>
                  <a:pt x="1863421" y="2249827"/>
                  <a:pt x="1898221" y="2215026"/>
                  <a:pt x="1941149" y="2215026"/>
                </a:cubicBezTo>
                <a:close/>
                <a:moveTo>
                  <a:pt x="1757654" y="2215026"/>
                </a:moveTo>
                <a:cubicBezTo>
                  <a:pt x="1800584" y="2215026"/>
                  <a:pt x="1835384" y="2249827"/>
                  <a:pt x="1835384" y="2292760"/>
                </a:cubicBezTo>
                <a:cubicBezTo>
                  <a:pt x="1835384" y="2335693"/>
                  <a:pt x="1800584" y="2370473"/>
                  <a:pt x="1757654" y="2370473"/>
                </a:cubicBezTo>
                <a:cubicBezTo>
                  <a:pt x="1714713" y="2370473"/>
                  <a:pt x="1679928" y="2335693"/>
                  <a:pt x="1679928" y="2292760"/>
                </a:cubicBezTo>
                <a:cubicBezTo>
                  <a:pt x="1679928" y="2249827"/>
                  <a:pt x="1714713" y="2215026"/>
                  <a:pt x="1757654" y="2215026"/>
                </a:cubicBezTo>
                <a:close/>
                <a:moveTo>
                  <a:pt x="1569426" y="2215026"/>
                </a:moveTo>
                <a:cubicBezTo>
                  <a:pt x="1612383" y="2215026"/>
                  <a:pt x="1647186" y="2249827"/>
                  <a:pt x="1647186" y="2292760"/>
                </a:cubicBezTo>
                <a:cubicBezTo>
                  <a:pt x="1647186" y="2335693"/>
                  <a:pt x="1612383" y="2370473"/>
                  <a:pt x="1569426" y="2370473"/>
                </a:cubicBezTo>
                <a:cubicBezTo>
                  <a:pt x="1526515" y="2370473"/>
                  <a:pt x="1491704" y="2335693"/>
                  <a:pt x="1491704" y="2292760"/>
                </a:cubicBezTo>
                <a:cubicBezTo>
                  <a:pt x="1491704" y="2249827"/>
                  <a:pt x="1526515" y="2215026"/>
                  <a:pt x="1569426" y="2215026"/>
                </a:cubicBezTo>
                <a:close/>
                <a:moveTo>
                  <a:pt x="458872" y="2215026"/>
                </a:moveTo>
                <a:cubicBezTo>
                  <a:pt x="501804" y="2215026"/>
                  <a:pt x="536609" y="2249830"/>
                  <a:pt x="536609" y="2292761"/>
                </a:cubicBezTo>
                <a:cubicBezTo>
                  <a:pt x="536609" y="2335695"/>
                  <a:pt x="501804" y="2370474"/>
                  <a:pt x="458872" y="2370474"/>
                </a:cubicBezTo>
                <a:cubicBezTo>
                  <a:pt x="415939" y="2370474"/>
                  <a:pt x="381138" y="2335695"/>
                  <a:pt x="381138" y="2292761"/>
                </a:cubicBezTo>
                <a:cubicBezTo>
                  <a:pt x="381138" y="2249830"/>
                  <a:pt x="415939" y="2215026"/>
                  <a:pt x="458872" y="2215026"/>
                </a:cubicBezTo>
                <a:close/>
                <a:moveTo>
                  <a:pt x="10462142" y="2114072"/>
                </a:moveTo>
                <a:lnTo>
                  <a:pt x="10547886" y="2199104"/>
                </a:lnTo>
                <a:lnTo>
                  <a:pt x="10538003" y="2201099"/>
                </a:lnTo>
                <a:cubicBezTo>
                  <a:pt x="10495070" y="2201099"/>
                  <a:pt x="10460266" y="2166295"/>
                  <a:pt x="10460266" y="2123364"/>
                </a:cubicBezTo>
                <a:close/>
                <a:moveTo>
                  <a:pt x="10349781" y="2045628"/>
                </a:moveTo>
                <a:cubicBezTo>
                  <a:pt x="10392714" y="2045628"/>
                  <a:pt x="10427518" y="2080429"/>
                  <a:pt x="10427518" y="2123364"/>
                </a:cubicBezTo>
                <a:cubicBezTo>
                  <a:pt x="10427518" y="2166295"/>
                  <a:pt x="10392714" y="2201099"/>
                  <a:pt x="10349781" y="2201099"/>
                </a:cubicBezTo>
                <a:cubicBezTo>
                  <a:pt x="10306848" y="2201099"/>
                  <a:pt x="10272044" y="2166295"/>
                  <a:pt x="10272044" y="2123364"/>
                </a:cubicBezTo>
                <a:cubicBezTo>
                  <a:pt x="10272044" y="2080429"/>
                  <a:pt x="10306848" y="2045628"/>
                  <a:pt x="10349781" y="2045628"/>
                </a:cubicBezTo>
                <a:close/>
                <a:moveTo>
                  <a:pt x="10166265" y="2045628"/>
                </a:moveTo>
                <a:cubicBezTo>
                  <a:pt x="10209198" y="2045628"/>
                  <a:pt x="10244002" y="2080429"/>
                  <a:pt x="10244002" y="2123364"/>
                </a:cubicBezTo>
                <a:cubicBezTo>
                  <a:pt x="10244002" y="2166295"/>
                  <a:pt x="10209198" y="2201099"/>
                  <a:pt x="10166265" y="2201099"/>
                </a:cubicBezTo>
                <a:cubicBezTo>
                  <a:pt x="10123332" y="2201099"/>
                  <a:pt x="10088528" y="2166295"/>
                  <a:pt x="10088528" y="2123364"/>
                </a:cubicBezTo>
                <a:cubicBezTo>
                  <a:pt x="10088528" y="2080429"/>
                  <a:pt x="10123332" y="2045628"/>
                  <a:pt x="10166265" y="2045628"/>
                </a:cubicBezTo>
                <a:close/>
                <a:moveTo>
                  <a:pt x="9978044" y="2045628"/>
                </a:moveTo>
                <a:cubicBezTo>
                  <a:pt x="10020977" y="2045628"/>
                  <a:pt x="10055781" y="2080429"/>
                  <a:pt x="10055781" y="2123364"/>
                </a:cubicBezTo>
                <a:cubicBezTo>
                  <a:pt x="10055781" y="2166295"/>
                  <a:pt x="10020977" y="2201099"/>
                  <a:pt x="9978044" y="2201099"/>
                </a:cubicBezTo>
                <a:cubicBezTo>
                  <a:pt x="9935111" y="2201099"/>
                  <a:pt x="9900307" y="2166295"/>
                  <a:pt x="9900307" y="2123364"/>
                </a:cubicBezTo>
                <a:cubicBezTo>
                  <a:pt x="9900307" y="2080429"/>
                  <a:pt x="9935111" y="2045628"/>
                  <a:pt x="9978044" y="2045628"/>
                </a:cubicBezTo>
                <a:close/>
                <a:moveTo>
                  <a:pt x="9789823" y="2045628"/>
                </a:moveTo>
                <a:cubicBezTo>
                  <a:pt x="9832756" y="2045628"/>
                  <a:pt x="9867560" y="2080429"/>
                  <a:pt x="9867560" y="2123364"/>
                </a:cubicBezTo>
                <a:cubicBezTo>
                  <a:pt x="9867560" y="2166295"/>
                  <a:pt x="9832756" y="2201099"/>
                  <a:pt x="9789823" y="2201099"/>
                </a:cubicBezTo>
                <a:cubicBezTo>
                  <a:pt x="9746890" y="2201099"/>
                  <a:pt x="9712086" y="2166295"/>
                  <a:pt x="9712086" y="2123364"/>
                </a:cubicBezTo>
                <a:cubicBezTo>
                  <a:pt x="9712086" y="2080429"/>
                  <a:pt x="9746890" y="2045628"/>
                  <a:pt x="9789823" y="2045628"/>
                </a:cubicBezTo>
                <a:close/>
                <a:moveTo>
                  <a:pt x="9606306" y="2045628"/>
                </a:moveTo>
                <a:cubicBezTo>
                  <a:pt x="9649238" y="2045628"/>
                  <a:pt x="9684043" y="2080429"/>
                  <a:pt x="9684043" y="2123364"/>
                </a:cubicBezTo>
                <a:cubicBezTo>
                  <a:pt x="9684043" y="2166295"/>
                  <a:pt x="9649238" y="2201099"/>
                  <a:pt x="9606306" y="2201099"/>
                </a:cubicBezTo>
                <a:cubicBezTo>
                  <a:pt x="9563373" y="2201099"/>
                  <a:pt x="9528569" y="2166295"/>
                  <a:pt x="9528569" y="2123364"/>
                </a:cubicBezTo>
                <a:cubicBezTo>
                  <a:pt x="9528569" y="2080429"/>
                  <a:pt x="9563373" y="2045628"/>
                  <a:pt x="9606306" y="2045628"/>
                </a:cubicBezTo>
                <a:close/>
                <a:moveTo>
                  <a:pt x="9413378" y="2045628"/>
                </a:moveTo>
                <a:cubicBezTo>
                  <a:pt x="9456311" y="2045628"/>
                  <a:pt x="9491115" y="2080429"/>
                  <a:pt x="9491115" y="2123364"/>
                </a:cubicBezTo>
                <a:cubicBezTo>
                  <a:pt x="9491115" y="2166295"/>
                  <a:pt x="9456311" y="2201099"/>
                  <a:pt x="9413378" y="2201099"/>
                </a:cubicBezTo>
                <a:cubicBezTo>
                  <a:pt x="9370445" y="2201099"/>
                  <a:pt x="9335641" y="2166295"/>
                  <a:pt x="9335641" y="2123364"/>
                </a:cubicBezTo>
                <a:cubicBezTo>
                  <a:pt x="9335641" y="2080429"/>
                  <a:pt x="9370445" y="2045628"/>
                  <a:pt x="9413378" y="2045628"/>
                </a:cubicBezTo>
                <a:close/>
                <a:moveTo>
                  <a:pt x="9234570" y="2045628"/>
                </a:moveTo>
                <a:cubicBezTo>
                  <a:pt x="9277503" y="2045628"/>
                  <a:pt x="9312307" y="2080429"/>
                  <a:pt x="9312307" y="2123364"/>
                </a:cubicBezTo>
                <a:cubicBezTo>
                  <a:pt x="9312307" y="2166295"/>
                  <a:pt x="9277503" y="2201099"/>
                  <a:pt x="9234570" y="2201099"/>
                </a:cubicBezTo>
                <a:cubicBezTo>
                  <a:pt x="9191637" y="2201099"/>
                  <a:pt x="9156833" y="2166295"/>
                  <a:pt x="9156833" y="2123364"/>
                </a:cubicBezTo>
                <a:cubicBezTo>
                  <a:pt x="9156833" y="2080429"/>
                  <a:pt x="9191637" y="2045628"/>
                  <a:pt x="9234570" y="2045628"/>
                </a:cubicBezTo>
                <a:close/>
                <a:moveTo>
                  <a:pt x="9036936" y="2045628"/>
                </a:moveTo>
                <a:cubicBezTo>
                  <a:pt x="9079869" y="2045628"/>
                  <a:pt x="9114673" y="2080429"/>
                  <a:pt x="9114673" y="2123364"/>
                </a:cubicBezTo>
                <a:cubicBezTo>
                  <a:pt x="9114673" y="2166295"/>
                  <a:pt x="9079869" y="2201099"/>
                  <a:pt x="9036936" y="2201099"/>
                </a:cubicBezTo>
                <a:cubicBezTo>
                  <a:pt x="8994003" y="2201099"/>
                  <a:pt x="8959199" y="2166295"/>
                  <a:pt x="8959199" y="2123364"/>
                </a:cubicBezTo>
                <a:cubicBezTo>
                  <a:pt x="8959199" y="2080429"/>
                  <a:pt x="8994003" y="2045628"/>
                  <a:pt x="9036936" y="2045628"/>
                </a:cubicBezTo>
                <a:close/>
                <a:moveTo>
                  <a:pt x="8853421" y="2045628"/>
                </a:moveTo>
                <a:cubicBezTo>
                  <a:pt x="8896354" y="2045628"/>
                  <a:pt x="8931158" y="2080429"/>
                  <a:pt x="8931158" y="2123364"/>
                </a:cubicBezTo>
                <a:cubicBezTo>
                  <a:pt x="8931158" y="2166295"/>
                  <a:pt x="8896354" y="2201099"/>
                  <a:pt x="8853421" y="2201099"/>
                </a:cubicBezTo>
                <a:cubicBezTo>
                  <a:pt x="8810489" y="2201099"/>
                  <a:pt x="8775685" y="2166295"/>
                  <a:pt x="8775685" y="2123364"/>
                </a:cubicBezTo>
                <a:cubicBezTo>
                  <a:pt x="8775685" y="2080429"/>
                  <a:pt x="8810489" y="2045628"/>
                  <a:pt x="8853421" y="2045628"/>
                </a:cubicBezTo>
                <a:close/>
                <a:moveTo>
                  <a:pt x="8669907" y="2045628"/>
                </a:moveTo>
                <a:cubicBezTo>
                  <a:pt x="8712840" y="2045628"/>
                  <a:pt x="8747644" y="2080429"/>
                  <a:pt x="8747644" y="2123364"/>
                </a:cubicBezTo>
                <a:cubicBezTo>
                  <a:pt x="8747644" y="2166295"/>
                  <a:pt x="8712840" y="2201099"/>
                  <a:pt x="8669907" y="2201099"/>
                </a:cubicBezTo>
                <a:cubicBezTo>
                  <a:pt x="8626974" y="2201099"/>
                  <a:pt x="8592170" y="2166295"/>
                  <a:pt x="8592170" y="2123364"/>
                </a:cubicBezTo>
                <a:cubicBezTo>
                  <a:pt x="8592170" y="2080429"/>
                  <a:pt x="8626974" y="2045628"/>
                  <a:pt x="8669907" y="2045628"/>
                </a:cubicBezTo>
                <a:close/>
                <a:moveTo>
                  <a:pt x="8481683" y="2045628"/>
                </a:moveTo>
                <a:cubicBezTo>
                  <a:pt x="8524616" y="2045628"/>
                  <a:pt x="8559420" y="2080429"/>
                  <a:pt x="8559420" y="2123364"/>
                </a:cubicBezTo>
                <a:cubicBezTo>
                  <a:pt x="8559420" y="2166295"/>
                  <a:pt x="8524616" y="2201099"/>
                  <a:pt x="8481683" y="2201099"/>
                </a:cubicBezTo>
                <a:cubicBezTo>
                  <a:pt x="8438750" y="2201099"/>
                  <a:pt x="8403946" y="2166295"/>
                  <a:pt x="8403946" y="2123364"/>
                </a:cubicBezTo>
                <a:cubicBezTo>
                  <a:pt x="8403946" y="2080429"/>
                  <a:pt x="8438750" y="2045628"/>
                  <a:pt x="8481683" y="2045628"/>
                </a:cubicBezTo>
                <a:close/>
                <a:moveTo>
                  <a:pt x="8298167" y="2045628"/>
                </a:moveTo>
                <a:cubicBezTo>
                  <a:pt x="8341100" y="2045628"/>
                  <a:pt x="8375904" y="2080429"/>
                  <a:pt x="8375904" y="2123364"/>
                </a:cubicBezTo>
                <a:cubicBezTo>
                  <a:pt x="8375904" y="2166295"/>
                  <a:pt x="8341100" y="2201099"/>
                  <a:pt x="8298167" y="2201099"/>
                </a:cubicBezTo>
                <a:cubicBezTo>
                  <a:pt x="8255235" y="2201099"/>
                  <a:pt x="8220430" y="2166295"/>
                  <a:pt x="8220430" y="2123364"/>
                </a:cubicBezTo>
                <a:cubicBezTo>
                  <a:pt x="8220430" y="2080429"/>
                  <a:pt x="8255235" y="2045628"/>
                  <a:pt x="8298167" y="2045628"/>
                </a:cubicBezTo>
                <a:close/>
                <a:moveTo>
                  <a:pt x="8109949" y="2045628"/>
                </a:moveTo>
                <a:cubicBezTo>
                  <a:pt x="8152882" y="2045628"/>
                  <a:pt x="8187686" y="2080429"/>
                  <a:pt x="8187686" y="2123364"/>
                </a:cubicBezTo>
                <a:cubicBezTo>
                  <a:pt x="8187686" y="2166295"/>
                  <a:pt x="8152882" y="2201099"/>
                  <a:pt x="8109949" y="2201099"/>
                </a:cubicBezTo>
                <a:cubicBezTo>
                  <a:pt x="8067016" y="2201099"/>
                  <a:pt x="8032212" y="2166295"/>
                  <a:pt x="8032212" y="2123364"/>
                </a:cubicBezTo>
                <a:cubicBezTo>
                  <a:pt x="8032212" y="2080429"/>
                  <a:pt x="8067016" y="2045628"/>
                  <a:pt x="8109949" y="2045628"/>
                </a:cubicBezTo>
                <a:close/>
                <a:moveTo>
                  <a:pt x="7926432" y="2045628"/>
                </a:moveTo>
                <a:cubicBezTo>
                  <a:pt x="7969364" y="2045628"/>
                  <a:pt x="8004169" y="2080429"/>
                  <a:pt x="8004169" y="2123364"/>
                </a:cubicBezTo>
                <a:cubicBezTo>
                  <a:pt x="8004169" y="2166295"/>
                  <a:pt x="7969364" y="2201099"/>
                  <a:pt x="7926432" y="2201099"/>
                </a:cubicBezTo>
                <a:cubicBezTo>
                  <a:pt x="7883499" y="2201099"/>
                  <a:pt x="7848695" y="2166295"/>
                  <a:pt x="7848695" y="2123364"/>
                </a:cubicBezTo>
                <a:cubicBezTo>
                  <a:pt x="7848695" y="2080429"/>
                  <a:pt x="7883499" y="2045628"/>
                  <a:pt x="7926432" y="2045628"/>
                </a:cubicBezTo>
                <a:close/>
                <a:moveTo>
                  <a:pt x="7738211" y="2045628"/>
                </a:moveTo>
                <a:cubicBezTo>
                  <a:pt x="7781143" y="2045628"/>
                  <a:pt x="7815947" y="2080429"/>
                  <a:pt x="7815947" y="2123364"/>
                </a:cubicBezTo>
                <a:cubicBezTo>
                  <a:pt x="7815947" y="2166295"/>
                  <a:pt x="7781143" y="2201099"/>
                  <a:pt x="7738211" y="2201099"/>
                </a:cubicBezTo>
                <a:cubicBezTo>
                  <a:pt x="7695278" y="2201099"/>
                  <a:pt x="7660474" y="2166295"/>
                  <a:pt x="7660474" y="2123364"/>
                </a:cubicBezTo>
                <a:cubicBezTo>
                  <a:pt x="7660474" y="2080429"/>
                  <a:pt x="7695278" y="2045628"/>
                  <a:pt x="7738211" y="2045628"/>
                </a:cubicBezTo>
                <a:close/>
                <a:moveTo>
                  <a:pt x="7554693" y="2045628"/>
                </a:moveTo>
                <a:cubicBezTo>
                  <a:pt x="7597626" y="2045628"/>
                  <a:pt x="7632430" y="2080429"/>
                  <a:pt x="7632430" y="2123364"/>
                </a:cubicBezTo>
                <a:cubicBezTo>
                  <a:pt x="7632430" y="2166295"/>
                  <a:pt x="7597626" y="2201099"/>
                  <a:pt x="7554693" y="2201099"/>
                </a:cubicBezTo>
                <a:cubicBezTo>
                  <a:pt x="7511761" y="2201099"/>
                  <a:pt x="7476957" y="2166295"/>
                  <a:pt x="7476957" y="2123364"/>
                </a:cubicBezTo>
                <a:cubicBezTo>
                  <a:pt x="7476957" y="2080429"/>
                  <a:pt x="7511761" y="2045628"/>
                  <a:pt x="7554693" y="2045628"/>
                </a:cubicBezTo>
                <a:close/>
                <a:moveTo>
                  <a:pt x="7366472" y="2045628"/>
                </a:moveTo>
                <a:cubicBezTo>
                  <a:pt x="7409405" y="2045628"/>
                  <a:pt x="7444209" y="2080429"/>
                  <a:pt x="7444209" y="2123364"/>
                </a:cubicBezTo>
                <a:cubicBezTo>
                  <a:pt x="7444209" y="2166295"/>
                  <a:pt x="7409405" y="2201099"/>
                  <a:pt x="7366472" y="2201099"/>
                </a:cubicBezTo>
                <a:cubicBezTo>
                  <a:pt x="7323540" y="2201099"/>
                  <a:pt x="7288736" y="2166295"/>
                  <a:pt x="7288736" y="2123364"/>
                </a:cubicBezTo>
                <a:cubicBezTo>
                  <a:pt x="7288736" y="2080429"/>
                  <a:pt x="7323540" y="2045628"/>
                  <a:pt x="7366472" y="2045628"/>
                </a:cubicBezTo>
                <a:close/>
                <a:moveTo>
                  <a:pt x="7178251" y="2045628"/>
                </a:moveTo>
                <a:cubicBezTo>
                  <a:pt x="7221184" y="2045628"/>
                  <a:pt x="7255988" y="2080429"/>
                  <a:pt x="7255988" y="2123364"/>
                </a:cubicBezTo>
                <a:cubicBezTo>
                  <a:pt x="7255988" y="2166295"/>
                  <a:pt x="7221184" y="2201099"/>
                  <a:pt x="7178251" y="2201099"/>
                </a:cubicBezTo>
                <a:cubicBezTo>
                  <a:pt x="7135319" y="2201099"/>
                  <a:pt x="7100514" y="2166295"/>
                  <a:pt x="7100514" y="2123364"/>
                </a:cubicBezTo>
                <a:cubicBezTo>
                  <a:pt x="7100514" y="2080429"/>
                  <a:pt x="7135319" y="2045628"/>
                  <a:pt x="7178251" y="2045628"/>
                </a:cubicBezTo>
                <a:close/>
                <a:moveTo>
                  <a:pt x="6985327" y="2045628"/>
                </a:moveTo>
                <a:cubicBezTo>
                  <a:pt x="7028260" y="2045628"/>
                  <a:pt x="7063064" y="2080429"/>
                  <a:pt x="7063064" y="2123364"/>
                </a:cubicBezTo>
                <a:cubicBezTo>
                  <a:pt x="7063064" y="2166295"/>
                  <a:pt x="7028260" y="2201099"/>
                  <a:pt x="6985327" y="2201099"/>
                </a:cubicBezTo>
                <a:cubicBezTo>
                  <a:pt x="6942394" y="2201099"/>
                  <a:pt x="6907590" y="2166295"/>
                  <a:pt x="6907590" y="2123364"/>
                </a:cubicBezTo>
                <a:cubicBezTo>
                  <a:pt x="6907590" y="2080429"/>
                  <a:pt x="6942394" y="2045628"/>
                  <a:pt x="6985327" y="2045628"/>
                </a:cubicBezTo>
                <a:close/>
                <a:moveTo>
                  <a:pt x="6801807" y="2045628"/>
                </a:moveTo>
                <a:cubicBezTo>
                  <a:pt x="6844740" y="2045628"/>
                  <a:pt x="6879544" y="2080429"/>
                  <a:pt x="6879544" y="2123364"/>
                </a:cubicBezTo>
                <a:cubicBezTo>
                  <a:pt x="6879544" y="2166295"/>
                  <a:pt x="6844740" y="2201099"/>
                  <a:pt x="6801807" y="2201099"/>
                </a:cubicBezTo>
                <a:cubicBezTo>
                  <a:pt x="6758874" y="2201099"/>
                  <a:pt x="6724070" y="2166295"/>
                  <a:pt x="6724070" y="2123364"/>
                </a:cubicBezTo>
                <a:cubicBezTo>
                  <a:pt x="6724070" y="2080429"/>
                  <a:pt x="6758874" y="2045628"/>
                  <a:pt x="6801807" y="2045628"/>
                </a:cubicBezTo>
                <a:close/>
                <a:moveTo>
                  <a:pt x="6613586" y="2045628"/>
                </a:moveTo>
                <a:cubicBezTo>
                  <a:pt x="6656519" y="2045628"/>
                  <a:pt x="6691323" y="2080429"/>
                  <a:pt x="6691323" y="2123364"/>
                </a:cubicBezTo>
                <a:cubicBezTo>
                  <a:pt x="6691323" y="2166295"/>
                  <a:pt x="6656519" y="2201099"/>
                  <a:pt x="6613586" y="2201099"/>
                </a:cubicBezTo>
                <a:cubicBezTo>
                  <a:pt x="6570653" y="2201099"/>
                  <a:pt x="6535849" y="2166295"/>
                  <a:pt x="6535849" y="2123364"/>
                </a:cubicBezTo>
                <a:cubicBezTo>
                  <a:pt x="6535849" y="2080429"/>
                  <a:pt x="6570653" y="2045628"/>
                  <a:pt x="6613586" y="2045628"/>
                </a:cubicBezTo>
                <a:close/>
                <a:moveTo>
                  <a:pt x="6425365" y="2045628"/>
                </a:moveTo>
                <a:cubicBezTo>
                  <a:pt x="6468298" y="2045628"/>
                  <a:pt x="6503102" y="2080429"/>
                  <a:pt x="6503102" y="2123364"/>
                </a:cubicBezTo>
                <a:cubicBezTo>
                  <a:pt x="6503102" y="2166295"/>
                  <a:pt x="6468298" y="2201099"/>
                  <a:pt x="6425365" y="2201099"/>
                </a:cubicBezTo>
                <a:cubicBezTo>
                  <a:pt x="6382432" y="2201099"/>
                  <a:pt x="6347628" y="2166295"/>
                  <a:pt x="6347628" y="2123364"/>
                </a:cubicBezTo>
                <a:cubicBezTo>
                  <a:pt x="6347628" y="2080429"/>
                  <a:pt x="6382432" y="2045628"/>
                  <a:pt x="6425365" y="2045628"/>
                </a:cubicBezTo>
                <a:close/>
                <a:moveTo>
                  <a:pt x="6241850" y="2045628"/>
                </a:moveTo>
                <a:cubicBezTo>
                  <a:pt x="6284783" y="2045628"/>
                  <a:pt x="6319587" y="2080429"/>
                  <a:pt x="6319587" y="2123364"/>
                </a:cubicBezTo>
                <a:cubicBezTo>
                  <a:pt x="6319587" y="2166295"/>
                  <a:pt x="6284783" y="2201099"/>
                  <a:pt x="6241850" y="2201099"/>
                </a:cubicBezTo>
                <a:cubicBezTo>
                  <a:pt x="6198917" y="2201099"/>
                  <a:pt x="6164113" y="2166295"/>
                  <a:pt x="6164113" y="2123364"/>
                </a:cubicBezTo>
                <a:cubicBezTo>
                  <a:pt x="6164113" y="2080429"/>
                  <a:pt x="6198917" y="2045628"/>
                  <a:pt x="6241850" y="2045628"/>
                </a:cubicBezTo>
                <a:close/>
                <a:moveTo>
                  <a:pt x="6053630" y="2045628"/>
                </a:moveTo>
                <a:cubicBezTo>
                  <a:pt x="6096563" y="2045628"/>
                  <a:pt x="6131367" y="2080429"/>
                  <a:pt x="6131367" y="2123364"/>
                </a:cubicBezTo>
                <a:cubicBezTo>
                  <a:pt x="6131367" y="2166295"/>
                  <a:pt x="6096563" y="2201099"/>
                  <a:pt x="6053630" y="2201099"/>
                </a:cubicBezTo>
                <a:cubicBezTo>
                  <a:pt x="6010698" y="2201099"/>
                  <a:pt x="5975894" y="2166295"/>
                  <a:pt x="5975894" y="2123364"/>
                </a:cubicBezTo>
                <a:cubicBezTo>
                  <a:pt x="5975894" y="2080429"/>
                  <a:pt x="6010698" y="2045628"/>
                  <a:pt x="6053630" y="2045628"/>
                </a:cubicBezTo>
                <a:close/>
                <a:moveTo>
                  <a:pt x="5870112" y="2045628"/>
                </a:moveTo>
                <a:cubicBezTo>
                  <a:pt x="5913045" y="2045628"/>
                  <a:pt x="5947849" y="2080429"/>
                  <a:pt x="5947849" y="2123364"/>
                </a:cubicBezTo>
                <a:cubicBezTo>
                  <a:pt x="5947849" y="2166295"/>
                  <a:pt x="5913045" y="2201099"/>
                  <a:pt x="5870112" y="2201099"/>
                </a:cubicBezTo>
                <a:cubicBezTo>
                  <a:pt x="5827179" y="2201099"/>
                  <a:pt x="5792375" y="2166295"/>
                  <a:pt x="5792375" y="2123364"/>
                </a:cubicBezTo>
                <a:cubicBezTo>
                  <a:pt x="5792375" y="2080429"/>
                  <a:pt x="5827179" y="2045628"/>
                  <a:pt x="5870112" y="2045628"/>
                </a:cubicBezTo>
                <a:close/>
                <a:moveTo>
                  <a:pt x="5681933" y="2045628"/>
                </a:moveTo>
                <a:cubicBezTo>
                  <a:pt x="5724824" y="2045628"/>
                  <a:pt x="5759628" y="2080429"/>
                  <a:pt x="5759628" y="2123364"/>
                </a:cubicBezTo>
                <a:cubicBezTo>
                  <a:pt x="5759628" y="2166295"/>
                  <a:pt x="5724824" y="2201099"/>
                  <a:pt x="5681933" y="2201099"/>
                </a:cubicBezTo>
                <a:cubicBezTo>
                  <a:pt x="5638990" y="2201099"/>
                  <a:pt x="5604176" y="2166295"/>
                  <a:pt x="5604176" y="2123364"/>
                </a:cubicBezTo>
                <a:cubicBezTo>
                  <a:pt x="5604176" y="2080429"/>
                  <a:pt x="5638990" y="2045628"/>
                  <a:pt x="5681933" y="2045628"/>
                </a:cubicBezTo>
                <a:close/>
                <a:moveTo>
                  <a:pt x="5498378" y="2045628"/>
                </a:moveTo>
                <a:cubicBezTo>
                  <a:pt x="5541312" y="2045628"/>
                  <a:pt x="5576126" y="2080429"/>
                  <a:pt x="5576126" y="2123364"/>
                </a:cubicBezTo>
                <a:cubicBezTo>
                  <a:pt x="5576126" y="2166295"/>
                  <a:pt x="5541312" y="2201099"/>
                  <a:pt x="5498378" y="2201099"/>
                </a:cubicBezTo>
                <a:cubicBezTo>
                  <a:pt x="5455449" y="2201099"/>
                  <a:pt x="5420640" y="2166295"/>
                  <a:pt x="5420640" y="2123364"/>
                </a:cubicBezTo>
                <a:cubicBezTo>
                  <a:pt x="5420640" y="2080429"/>
                  <a:pt x="5455449" y="2045628"/>
                  <a:pt x="5498378" y="2045628"/>
                </a:cubicBezTo>
                <a:close/>
                <a:moveTo>
                  <a:pt x="5310166" y="2045628"/>
                </a:moveTo>
                <a:cubicBezTo>
                  <a:pt x="5353095" y="2045628"/>
                  <a:pt x="5387898" y="2080429"/>
                  <a:pt x="5387898" y="2123364"/>
                </a:cubicBezTo>
                <a:cubicBezTo>
                  <a:pt x="5387898" y="2166295"/>
                  <a:pt x="5353095" y="2201099"/>
                  <a:pt x="5310166" y="2201099"/>
                </a:cubicBezTo>
                <a:cubicBezTo>
                  <a:pt x="5267235" y="2201099"/>
                  <a:pt x="5232440" y="2166295"/>
                  <a:pt x="5232440" y="2123364"/>
                </a:cubicBezTo>
                <a:cubicBezTo>
                  <a:pt x="5232440" y="2080429"/>
                  <a:pt x="5267235" y="2045628"/>
                  <a:pt x="5310166" y="2045628"/>
                </a:cubicBezTo>
                <a:close/>
                <a:moveTo>
                  <a:pt x="5126655" y="2045628"/>
                </a:moveTo>
                <a:cubicBezTo>
                  <a:pt x="5169590" y="2045628"/>
                  <a:pt x="5204392" y="2080429"/>
                  <a:pt x="5204392" y="2123364"/>
                </a:cubicBezTo>
                <a:cubicBezTo>
                  <a:pt x="5204392" y="2166295"/>
                  <a:pt x="5169590" y="2201099"/>
                  <a:pt x="5126655" y="2201099"/>
                </a:cubicBezTo>
                <a:cubicBezTo>
                  <a:pt x="5083740" y="2201099"/>
                  <a:pt x="5048928" y="2166295"/>
                  <a:pt x="5048928" y="2123364"/>
                </a:cubicBezTo>
                <a:cubicBezTo>
                  <a:pt x="5048928" y="2080429"/>
                  <a:pt x="5083740" y="2045628"/>
                  <a:pt x="5126655" y="2045628"/>
                </a:cubicBezTo>
                <a:close/>
                <a:moveTo>
                  <a:pt x="4938442" y="2045628"/>
                </a:moveTo>
                <a:cubicBezTo>
                  <a:pt x="4981380" y="2045628"/>
                  <a:pt x="5016173" y="2080429"/>
                  <a:pt x="5016173" y="2123364"/>
                </a:cubicBezTo>
                <a:cubicBezTo>
                  <a:pt x="5016173" y="2166295"/>
                  <a:pt x="4981380" y="2201099"/>
                  <a:pt x="4938442" y="2201099"/>
                </a:cubicBezTo>
                <a:cubicBezTo>
                  <a:pt x="4895516" y="2201099"/>
                  <a:pt x="4860706" y="2166295"/>
                  <a:pt x="4860706" y="2123364"/>
                </a:cubicBezTo>
                <a:cubicBezTo>
                  <a:pt x="4860706" y="2080429"/>
                  <a:pt x="4895516" y="2045628"/>
                  <a:pt x="4938442" y="2045628"/>
                </a:cubicBezTo>
                <a:close/>
                <a:moveTo>
                  <a:pt x="3061054" y="2045628"/>
                </a:moveTo>
                <a:cubicBezTo>
                  <a:pt x="3103979" y="2045628"/>
                  <a:pt x="3138789" y="2080429"/>
                  <a:pt x="3138789" y="2123364"/>
                </a:cubicBezTo>
                <a:cubicBezTo>
                  <a:pt x="3138789" y="2166295"/>
                  <a:pt x="3103979" y="2201099"/>
                  <a:pt x="3061054" y="2201099"/>
                </a:cubicBezTo>
                <a:cubicBezTo>
                  <a:pt x="3018110" y="2201099"/>
                  <a:pt x="2983301" y="2166295"/>
                  <a:pt x="2983301" y="2123364"/>
                </a:cubicBezTo>
                <a:cubicBezTo>
                  <a:pt x="2983301" y="2080429"/>
                  <a:pt x="3018110" y="2045628"/>
                  <a:pt x="3061054" y="2045628"/>
                </a:cubicBezTo>
                <a:close/>
                <a:moveTo>
                  <a:pt x="2882231" y="2045628"/>
                </a:moveTo>
                <a:cubicBezTo>
                  <a:pt x="2925163" y="2045628"/>
                  <a:pt x="2959973" y="2080429"/>
                  <a:pt x="2959973" y="2123364"/>
                </a:cubicBezTo>
                <a:cubicBezTo>
                  <a:pt x="2959973" y="2166295"/>
                  <a:pt x="2925163" y="2201099"/>
                  <a:pt x="2882231" y="2201099"/>
                </a:cubicBezTo>
                <a:cubicBezTo>
                  <a:pt x="2839307" y="2201099"/>
                  <a:pt x="2804507" y="2166295"/>
                  <a:pt x="2804507" y="2123364"/>
                </a:cubicBezTo>
                <a:cubicBezTo>
                  <a:pt x="2804507" y="2080429"/>
                  <a:pt x="2839307" y="2045628"/>
                  <a:pt x="2882231" y="2045628"/>
                </a:cubicBezTo>
                <a:close/>
                <a:moveTo>
                  <a:pt x="2689331" y="2045628"/>
                </a:moveTo>
                <a:cubicBezTo>
                  <a:pt x="2732262" y="2045628"/>
                  <a:pt x="2767041" y="2080429"/>
                  <a:pt x="2767041" y="2123364"/>
                </a:cubicBezTo>
                <a:cubicBezTo>
                  <a:pt x="2767041" y="2166295"/>
                  <a:pt x="2732262" y="2201099"/>
                  <a:pt x="2689331" y="2201099"/>
                </a:cubicBezTo>
                <a:cubicBezTo>
                  <a:pt x="2646391" y="2201099"/>
                  <a:pt x="2611599" y="2166295"/>
                  <a:pt x="2611599" y="2123364"/>
                </a:cubicBezTo>
                <a:cubicBezTo>
                  <a:pt x="2611599" y="2080429"/>
                  <a:pt x="2646391" y="2045628"/>
                  <a:pt x="2689331" y="2045628"/>
                </a:cubicBezTo>
                <a:close/>
                <a:moveTo>
                  <a:pt x="2510511" y="2045628"/>
                </a:moveTo>
                <a:cubicBezTo>
                  <a:pt x="2553455" y="2045628"/>
                  <a:pt x="2588257" y="2080429"/>
                  <a:pt x="2588257" y="2123364"/>
                </a:cubicBezTo>
                <a:cubicBezTo>
                  <a:pt x="2588257" y="2166295"/>
                  <a:pt x="2553455" y="2201099"/>
                  <a:pt x="2510511" y="2201099"/>
                </a:cubicBezTo>
                <a:cubicBezTo>
                  <a:pt x="2467567" y="2201099"/>
                  <a:pt x="2432754" y="2166295"/>
                  <a:pt x="2432754" y="2123364"/>
                </a:cubicBezTo>
                <a:cubicBezTo>
                  <a:pt x="2432754" y="2080429"/>
                  <a:pt x="2467567" y="2045628"/>
                  <a:pt x="2510511" y="2045628"/>
                </a:cubicBezTo>
                <a:close/>
                <a:moveTo>
                  <a:pt x="2317549" y="2045628"/>
                </a:moveTo>
                <a:cubicBezTo>
                  <a:pt x="2360478" y="2045628"/>
                  <a:pt x="2395290" y="2080429"/>
                  <a:pt x="2395290" y="2123364"/>
                </a:cubicBezTo>
                <a:cubicBezTo>
                  <a:pt x="2395290" y="2166295"/>
                  <a:pt x="2360478" y="2201099"/>
                  <a:pt x="2317549" y="2201099"/>
                </a:cubicBezTo>
                <a:cubicBezTo>
                  <a:pt x="2274622" y="2201099"/>
                  <a:pt x="2239824" y="2166295"/>
                  <a:pt x="2239824" y="2123364"/>
                </a:cubicBezTo>
                <a:cubicBezTo>
                  <a:pt x="2239824" y="2080429"/>
                  <a:pt x="2274622" y="2045628"/>
                  <a:pt x="2317549" y="2045628"/>
                </a:cubicBezTo>
                <a:close/>
                <a:moveTo>
                  <a:pt x="2129353" y="2045628"/>
                </a:moveTo>
                <a:cubicBezTo>
                  <a:pt x="2172280" y="2045628"/>
                  <a:pt x="2207079" y="2080429"/>
                  <a:pt x="2207079" y="2123364"/>
                </a:cubicBezTo>
                <a:cubicBezTo>
                  <a:pt x="2207079" y="2166295"/>
                  <a:pt x="2172280" y="2201099"/>
                  <a:pt x="2129353" y="2201099"/>
                </a:cubicBezTo>
                <a:cubicBezTo>
                  <a:pt x="2086426" y="2201099"/>
                  <a:pt x="2051627" y="2166295"/>
                  <a:pt x="2051627" y="2123364"/>
                </a:cubicBezTo>
                <a:cubicBezTo>
                  <a:pt x="2051627" y="2080429"/>
                  <a:pt x="2086426" y="2045628"/>
                  <a:pt x="2129353" y="2045628"/>
                </a:cubicBezTo>
                <a:close/>
                <a:moveTo>
                  <a:pt x="1941158" y="2045628"/>
                </a:moveTo>
                <a:cubicBezTo>
                  <a:pt x="1984085" y="2045628"/>
                  <a:pt x="2018884" y="2080429"/>
                  <a:pt x="2018884" y="2123364"/>
                </a:cubicBezTo>
                <a:cubicBezTo>
                  <a:pt x="2018884" y="2166295"/>
                  <a:pt x="1984085" y="2201099"/>
                  <a:pt x="1941158" y="2201099"/>
                </a:cubicBezTo>
                <a:cubicBezTo>
                  <a:pt x="1898231" y="2201099"/>
                  <a:pt x="1863432" y="2166295"/>
                  <a:pt x="1863432" y="2123364"/>
                </a:cubicBezTo>
                <a:cubicBezTo>
                  <a:pt x="1863432" y="2080429"/>
                  <a:pt x="1898231" y="2045628"/>
                  <a:pt x="1941158" y="2045628"/>
                </a:cubicBezTo>
                <a:close/>
                <a:moveTo>
                  <a:pt x="1757668" y="2045628"/>
                </a:moveTo>
                <a:cubicBezTo>
                  <a:pt x="1800594" y="2045628"/>
                  <a:pt x="1835395" y="2080429"/>
                  <a:pt x="1835395" y="2123364"/>
                </a:cubicBezTo>
                <a:cubicBezTo>
                  <a:pt x="1835395" y="2166295"/>
                  <a:pt x="1800594" y="2201099"/>
                  <a:pt x="1757668" y="2201099"/>
                </a:cubicBezTo>
                <a:cubicBezTo>
                  <a:pt x="1714724" y="2201099"/>
                  <a:pt x="1679938" y="2166295"/>
                  <a:pt x="1679938" y="2123364"/>
                </a:cubicBezTo>
                <a:cubicBezTo>
                  <a:pt x="1679938" y="2080429"/>
                  <a:pt x="1714724" y="2045628"/>
                  <a:pt x="1757668" y="2045628"/>
                </a:cubicBezTo>
                <a:close/>
                <a:moveTo>
                  <a:pt x="1569426" y="2045628"/>
                </a:moveTo>
                <a:cubicBezTo>
                  <a:pt x="1612396" y="2045628"/>
                  <a:pt x="1647197" y="2080429"/>
                  <a:pt x="1647197" y="2123364"/>
                </a:cubicBezTo>
                <a:cubicBezTo>
                  <a:pt x="1647197" y="2166295"/>
                  <a:pt x="1612396" y="2201099"/>
                  <a:pt x="1569426" y="2201099"/>
                </a:cubicBezTo>
                <a:cubicBezTo>
                  <a:pt x="1526528" y="2201099"/>
                  <a:pt x="1491717" y="2166295"/>
                  <a:pt x="1491717" y="2123364"/>
                </a:cubicBezTo>
                <a:cubicBezTo>
                  <a:pt x="1491717" y="2080429"/>
                  <a:pt x="1526528" y="2045628"/>
                  <a:pt x="1569426" y="2045628"/>
                </a:cubicBezTo>
                <a:close/>
                <a:moveTo>
                  <a:pt x="1385908" y="2045628"/>
                </a:moveTo>
                <a:cubicBezTo>
                  <a:pt x="1428853" y="2045628"/>
                  <a:pt x="1463665" y="2080429"/>
                  <a:pt x="1463665" y="2123364"/>
                </a:cubicBezTo>
                <a:cubicBezTo>
                  <a:pt x="1463665" y="2166295"/>
                  <a:pt x="1428853" y="2201099"/>
                  <a:pt x="1385908" y="2201099"/>
                </a:cubicBezTo>
                <a:cubicBezTo>
                  <a:pt x="1342963" y="2201099"/>
                  <a:pt x="1308151" y="2166295"/>
                  <a:pt x="1308151" y="2123364"/>
                </a:cubicBezTo>
                <a:cubicBezTo>
                  <a:pt x="1308151" y="2080429"/>
                  <a:pt x="1342963" y="2045628"/>
                  <a:pt x="1385908" y="2045628"/>
                </a:cubicBezTo>
                <a:close/>
                <a:moveTo>
                  <a:pt x="1202367" y="2045628"/>
                </a:moveTo>
                <a:cubicBezTo>
                  <a:pt x="1245297" y="2045628"/>
                  <a:pt x="1280100" y="2080429"/>
                  <a:pt x="1280100" y="2123364"/>
                </a:cubicBezTo>
                <a:cubicBezTo>
                  <a:pt x="1280100" y="2166295"/>
                  <a:pt x="1245297" y="2201099"/>
                  <a:pt x="1202367" y="2201099"/>
                </a:cubicBezTo>
                <a:cubicBezTo>
                  <a:pt x="1159417" y="2201099"/>
                  <a:pt x="1124653" y="2166295"/>
                  <a:pt x="1124653" y="2123364"/>
                </a:cubicBezTo>
                <a:cubicBezTo>
                  <a:pt x="1124653" y="2080429"/>
                  <a:pt x="1159417" y="2045628"/>
                  <a:pt x="1202367" y="2045628"/>
                </a:cubicBezTo>
                <a:close/>
                <a:moveTo>
                  <a:pt x="1014132" y="2045628"/>
                </a:moveTo>
                <a:cubicBezTo>
                  <a:pt x="1057059" y="2045628"/>
                  <a:pt x="1091893" y="2080429"/>
                  <a:pt x="1091893" y="2123364"/>
                </a:cubicBezTo>
                <a:cubicBezTo>
                  <a:pt x="1091893" y="2166295"/>
                  <a:pt x="1057059" y="2201099"/>
                  <a:pt x="1014132" y="2201099"/>
                </a:cubicBezTo>
                <a:cubicBezTo>
                  <a:pt x="971236" y="2201099"/>
                  <a:pt x="936429" y="2166295"/>
                  <a:pt x="936429" y="2123364"/>
                </a:cubicBezTo>
                <a:cubicBezTo>
                  <a:pt x="936429" y="2080429"/>
                  <a:pt x="971236" y="2045628"/>
                  <a:pt x="1014132" y="2045628"/>
                </a:cubicBezTo>
                <a:close/>
                <a:moveTo>
                  <a:pt x="830626" y="2045628"/>
                </a:moveTo>
                <a:cubicBezTo>
                  <a:pt x="873548" y="2045628"/>
                  <a:pt x="908383" y="2080429"/>
                  <a:pt x="908383" y="2123364"/>
                </a:cubicBezTo>
                <a:cubicBezTo>
                  <a:pt x="908383" y="2166295"/>
                  <a:pt x="873548" y="2201099"/>
                  <a:pt x="830626" y="2201099"/>
                </a:cubicBezTo>
                <a:cubicBezTo>
                  <a:pt x="787687" y="2201099"/>
                  <a:pt x="752883" y="2166295"/>
                  <a:pt x="752883" y="2123364"/>
                </a:cubicBezTo>
                <a:cubicBezTo>
                  <a:pt x="752883" y="2080429"/>
                  <a:pt x="787687" y="2045628"/>
                  <a:pt x="830626" y="2045628"/>
                </a:cubicBezTo>
                <a:close/>
                <a:moveTo>
                  <a:pt x="642394" y="2045628"/>
                </a:moveTo>
                <a:cubicBezTo>
                  <a:pt x="685333" y="2045628"/>
                  <a:pt x="720135" y="2080429"/>
                  <a:pt x="720135" y="2123364"/>
                </a:cubicBezTo>
                <a:cubicBezTo>
                  <a:pt x="720135" y="2166295"/>
                  <a:pt x="685333" y="2201099"/>
                  <a:pt x="642394" y="2201099"/>
                </a:cubicBezTo>
                <a:cubicBezTo>
                  <a:pt x="599465" y="2201099"/>
                  <a:pt x="564661" y="2166295"/>
                  <a:pt x="564661" y="2123364"/>
                </a:cubicBezTo>
                <a:cubicBezTo>
                  <a:pt x="564661" y="2080429"/>
                  <a:pt x="599465" y="2045628"/>
                  <a:pt x="642394" y="2045628"/>
                </a:cubicBezTo>
                <a:close/>
                <a:moveTo>
                  <a:pt x="458881" y="2045628"/>
                </a:moveTo>
                <a:cubicBezTo>
                  <a:pt x="501813" y="2045628"/>
                  <a:pt x="536619" y="2080429"/>
                  <a:pt x="536619" y="2123364"/>
                </a:cubicBezTo>
                <a:cubicBezTo>
                  <a:pt x="536619" y="2166295"/>
                  <a:pt x="501813" y="2201099"/>
                  <a:pt x="458881" y="2201099"/>
                </a:cubicBezTo>
                <a:cubicBezTo>
                  <a:pt x="415949" y="2201099"/>
                  <a:pt x="381147" y="2166295"/>
                  <a:pt x="381147" y="2123364"/>
                </a:cubicBezTo>
                <a:cubicBezTo>
                  <a:pt x="381147" y="2080429"/>
                  <a:pt x="415949" y="2045628"/>
                  <a:pt x="458881" y="2045628"/>
                </a:cubicBezTo>
                <a:close/>
                <a:moveTo>
                  <a:pt x="270660" y="2045628"/>
                </a:moveTo>
                <a:cubicBezTo>
                  <a:pt x="313592" y="2045628"/>
                  <a:pt x="348397" y="2080429"/>
                  <a:pt x="348397" y="2123364"/>
                </a:cubicBezTo>
                <a:cubicBezTo>
                  <a:pt x="348397" y="2166295"/>
                  <a:pt x="313592" y="2201099"/>
                  <a:pt x="270660" y="2201099"/>
                </a:cubicBezTo>
                <a:cubicBezTo>
                  <a:pt x="227727" y="2201099"/>
                  <a:pt x="192923" y="2166295"/>
                  <a:pt x="192923" y="2123364"/>
                </a:cubicBezTo>
                <a:cubicBezTo>
                  <a:pt x="192923" y="2080429"/>
                  <a:pt x="227727" y="2045628"/>
                  <a:pt x="270660" y="2045628"/>
                </a:cubicBezTo>
                <a:close/>
                <a:moveTo>
                  <a:pt x="77736" y="2045628"/>
                </a:moveTo>
                <a:cubicBezTo>
                  <a:pt x="120669" y="2045628"/>
                  <a:pt x="155473" y="2080429"/>
                  <a:pt x="155473" y="2123364"/>
                </a:cubicBezTo>
                <a:cubicBezTo>
                  <a:pt x="155473" y="2166295"/>
                  <a:pt x="120669" y="2201099"/>
                  <a:pt x="77736" y="2201099"/>
                </a:cubicBezTo>
                <a:cubicBezTo>
                  <a:pt x="34804" y="2201099"/>
                  <a:pt x="0" y="2166295"/>
                  <a:pt x="0" y="2123364"/>
                </a:cubicBezTo>
                <a:cubicBezTo>
                  <a:pt x="0" y="2080429"/>
                  <a:pt x="34804" y="2045628"/>
                  <a:pt x="77736" y="2045628"/>
                </a:cubicBezTo>
                <a:close/>
                <a:moveTo>
                  <a:pt x="10275128" y="1933986"/>
                </a:moveTo>
                <a:lnTo>
                  <a:pt x="10323317" y="1976399"/>
                </a:lnTo>
                <a:lnTo>
                  <a:pt x="10370187" y="2022880"/>
                </a:lnTo>
                <a:lnTo>
                  <a:pt x="10349781" y="2026999"/>
                </a:lnTo>
                <a:cubicBezTo>
                  <a:pt x="10306848" y="2026999"/>
                  <a:pt x="10272044" y="1992195"/>
                  <a:pt x="10272044" y="1949263"/>
                </a:cubicBezTo>
                <a:close/>
                <a:moveTo>
                  <a:pt x="96225" y="1875259"/>
                </a:moveTo>
                <a:lnTo>
                  <a:pt x="108003" y="1877637"/>
                </a:lnTo>
                <a:cubicBezTo>
                  <a:pt x="135903" y="1889437"/>
                  <a:pt x="155480" y="1917063"/>
                  <a:pt x="155480" y="1949264"/>
                </a:cubicBezTo>
                <a:cubicBezTo>
                  <a:pt x="155480" y="1992197"/>
                  <a:pt x="120677" y="2026999"/>
                  <a:pt x="77744" y="2026999"/>
                </a:cubicBezTo>
                <a:cubicBezTo>
                  <a:pt x="45545" y="2026999"/>
                  <a:pt x="17918" y="2007423"/>
                  <a:pt x="6117" y="1979522"/>
                </a:cubicBezTo>
                <a:lnTo>
                  <a:pt x="1839" y="1958332"/>
                </a:lnTo>
                <a:close/>
                <a:moveTo>
                  <a:pt x="9413378" y="1871528"/>
                </a:moveTo>
                <a:cubicBezTo>
                  <a:pt x="9456311" y="1871528"/>
                  <a:pt x="9491115" y="1906330"/>
                  <a:pt x="9491115" y="1949264"/>
                </a:cubicBezTo>
                <a:cubicBezTo>
                  <a:pt x="9491115" y="1992197"/>
                  <a:pt x="9456311" y="2026999"/>
                  <a:pt x="9413378" y="2026999"/>
                </a:cubicBezTo>
                <a:cubicBezTo>
                  <a:pt x="9370445" y="2026999"/>
                  <a:pt x="9335641" y="1992197"/>
                  <a:pt x="9335641" y="1949264"/>
                </a:cubicBezTo>
                <a:cubicBezTo>
                  <a:pt x="9335641" y="1906330"/>
                  <a:pt x="9370445" y="1871528"/>
                  <a:pt x="9413378" y="1871528"/>
                </a:cubicBezTo>
                <a:close/>
                <a:moveTo>
                  <a:pt x="9234570" y="1871528"/>
                </a:moveTo>
                <a:cubicBezTo>
                  <a:pt x="9277503" y="1871528"/>
                  <a:pt x="9312307" y="1906330"/>
                  <a:pt x="9312307" y="1949264"/>
                </a:cubicBezTo>
                <a:cubicBezTo>
                  <a:pt x="9312307" y="1992197"/>
                  <a:pt x="9277503" y="2026999"/>
                  <a:pt x="9234570" y="2026999"/>
                </a:cubicBezTo>
                <a:cubicBezTo>
                  <a:pt x="9191637" y="2026999"/>
                  <a:pt x="9156833" y="1992197"/>
                  <a:pt x="9156833" y="1949264"/>
                </a:cubicBezTo>
                <a:cubicBezTo>
                  <a:pt x="9156833" y="1906330"/>
                  <a:pt x="9191637" y="1871528"/>
                  <a:pt x="9234570" y="1871528"/>
                </a:cubicBezTo>
                <a:close/>
                <a:moveTo>
                  <a:pt x="9036936" y="1871528"/>
                </a:moveTo>
                <a:cubicBezTo>
                  <a:pt x="9079869" y="1871528"/>
                  <a:pt x="9114673" y="1906330"/>
                  <a:pt x="9114673" y="1949264"/>
                </a:cubicBezTo>
                <a:cubicBezTo>
                  <a:pt x="9114673" y="1992197"/>
                  <a:pt x="9079869" y="2026999"/>
                  <a:pt x="9036936" y="2026999"/>
                </a:cubicBezTo>
                <a:cubicBezTo>
                  <a:pt x="8994003" y="2026999"/>
                  <a:pt x="8959199" y="1992197"/>
                  <a:pt x="8959199" y="1949264"/>
                </a:cubicBezTo>
                <a:cubicBezTo>
                  <a:pt x="8959199" y="1906330"/>
                  <a:pt x="8994003" y="1871528"/>
                  <a:pt x="9036936" y="1871528"/>
                </a:cubicBezTo>
                <a:close/>
                <a:moveTo>
                  <a:pt x="8853421" y="1871528"/>
                </a:moveTo>
                <a:cubicBezTo>
                  <a:pt x="8896354" y="1871528"/>
                  <a:pt x="8931158" y="1906330"/>
                  <a:pt x="8931158" y="1949264"/>
                </a:cubicBezTo>
                <a:cubicBezTo>
                  <a:pt x="8931158" y="1992197"/>
                  <a:pt x="8896354" y="2026999"/>
                  <a:pt x="8853421" y="2026999"/>
                </a:cubicBezTo>
                <a:cubicBezTo>
                  <a:pt x="8810489" y="2026999"/>
                  <a:pt x="8775685" y="1992197"/>
                  <a:pt x="8775685" y="1949264"/>
                </a:cubicBezTo>
                <a:cubicBezTo>
                  <a:pt x="8775685" y="1906330"/>
                  <a:pt x="8810489" y="1871528"/>
                  <a:pt x="8853421" y="1871528"/>
                </a:cubicBezTo>
                <a:close/>
                <a:moveTo>
                  <a:pt x="8669907" y="1871528"/>
                </a:moveTo>
                <a:cubicBezTo>
                  <a:pt x="8712840" y="1871528"/>
                  <a:pt x="8747644" y="1906330"/>
                  <a:pt x="8747644" y="1949264"/>
                </a:cubicBezTo>
                <a:cubicBezTo>
                  <a:pt x="8747644" y="1992197"/>
                  <a:pt x="8712840" y="2026999"/>
                  <a:pt x="8669907" y="2026999"/>
                </a:cubicBezTo>
                <a:cubicBezTo>
                  <a:pt x="8626974" y="2026999"/>
                  <a:pt x="8592170" y="1992197"/>
                  <a:pt x="8592170" y="1949264"/>
                </a:cubicBezTo>
                <a:cubicBezTo>
                  <a:pt x="8592170" y="1906330"/>
                  <a:pt x="8626974" y="1871528"/>
                  <a:pt x="8669907" y="1871528"/>
                </a:cubicBezTo>
                <a:close/>
                <a:moveTo>
                  <a:pt x="8481683" y="1871528"/>
                </a:moveTo>
                <a:cubicBezTo>
                  <a:pt x="8524616" y="1871528"/>
                  <a:pt x="8559420" y="1906330"/>
                  <a:pt x="8559420" y="1949264"/>
                </a:cubicBezTo>
                <a:cubicBezTo>
                  <a:pt x="8559420" y="1992197"/>
                  <a:pt x="8524616" y="2026999"/>
                  <a:pt x="8481683" y="2026999"/>
                </a:cubicBezTo>
                <a:cubicBezTo>
                  <a:pt x="8438750" y="2026999"/>
                  <a:pt x="8403946" y="1992197"/>
                  <a:pt x="8403946" y="1949264"/>
                </a:cubicBezTo>
                <a:cubicBezTo>
                  <a:pt x="8403946" y="1906330"/>
                  <a:pt x="8438750" y="1871528"/>
                  <a:pt x="8481683" y="1871528"/>
                </a:cubicBezTo>
                <a:close/>
                <a:moveTo>
                  <a:pt x="8298167" y="1871528"/>
                </a:moveTo>
                <a:cubicBezTo>
                  <a:pt x="8341100" y="1871528"/>
                  <a:pt x="8375904" y="1906330"/>
                  <a:pt x="8375904" y="1949264"/>
                </a:cubicBezTo>
                <a:cubicBezTo>
                  <a:pt x="8375904" y="1992197"/>
                  <a:pt x="8341100" y="2026999"/>
                  <a:pt x="8298167" y="2026999"/>
                </a:cubicBezTo>
                <a:cubicBezTo>
                  <a:pt x="8255235" y="2026999"/>
                  <a:pt x="8220430" y="1992197"/>
                  <a:pt x="8220430" y="1949264"/>
                </a:cubicBezTo>
                <a:cubicBezTo>
                  <a:pt x="8220430" y="1906330"/>
                  <a:pt x="8255235" y="1871528"/>
                  <a:pt x="8298167" y="1871528"/>
                </a:cubicBezTo>
                <a:close/>
                <a:moveTo>
                  <a:pt x="8109949" y="1871528"/>
                </a:moveTo>
                <a:cubicBezTo>
                  <a:pt x="8152882" y="1871528"/>
                  <a:pt x="8187686" y="1906330"/>
                  <a:pt x="8187686" y="1949264"/>
                </a:cubicBezTo>
                <a:cubicBezTo>
                  <a:pt x="8187686" y="1992197"/>
                  <a:pt x="8152882" y="2026999"/>
                  <a:pt x="8109949" y="2026999"/>
                </a:cubicBezTo>
                <a:cubicBezTo>
                  <a:pt x="8067016" y="2026999"/>
                  <a:pt x="8032212" y="1992197"/>
                  <a:pt x="8032212" y="1949264"/>
                </a:cubicBezTo>
                <a:cubicBezTo>
                  <a:pt x="8032212" y="1906330"/>
                  <a:pt x="8067016" y="1871528"/>
                  <a:pt x="8109949" y="1871528"/>
                </a:cubicBezTo>
                <a:close/>
                <a:moveTo>
                  <a:pt x="7926432" y="1871528"/>
                </a:moveTo>
                <a:cubicBezTo>
                  <a:pt x="7969364" y="1871528"/>
                  <a:pt x="8004169" y="1906330"/>
                  <a:pt x="8004169" y="1949264"/>
                </a:cubicBezTo>
                <a:cubicBezTo>
                  <a:pt x="8004169" y="1992197"/>
                  <a:pt x="7969364" y="2026999"/>
                  <a:pt x="7926432" y="2026999"/>
                </a:cubicBezTo>
                <a:cubicBezTo>
                  <a:pt x="7883499" y="2026999"/>
                  <a:pt x="7848695" y="1992197"/>
                  <a:pt x="7848695" y="1949264"/>
                </a:cubicBezTo>
                <a:cubicBezTo>
                  <a:pt x="7848695" y="1906330"/>
                  <a:pt x="7883499" y="1871528"/>
                  <a:pt x="7926432" y="1871528"/>
                </a:cubicBezTo>
                <a:close/>
                <a:moveTo>
                  <a:pt x="7738211" y="1871528"/>
                </a:moveTo>
                <a:cubicBezTo>
                  <a:pt x="7781143" y="1871528"/>
                  <a:pt x="7815947" y="1906330"/>
                  <a:pt x="7815947" y="1949264"/>
                </a:cubicBezTo>
                <a:cubicBezTo>
                  <a:pt x="7815947" y="1992197"/>
                  <a:pt x="7781143" y="2026999"/>
                  <a:pt x="7738211" y="2026999"/>
                </a:cubicBezTo>
                <a:cubicBezTo>
                  <a:pt x="7695278" y="2026999"/>
                  <a:pt x="7660474" y="1992197"/>
                  <a:pt x="7660474" y="1949264"/>
                </a:cubicBezTo>
                <a:cubicBezTo>
                  <a:pt x="7660474" y="1906330"/>
                  <a:pt x="7695278" y="1871528"/>
                  <a:pt x="7738211" y="1871528"/>
                </a:cubicBezTo>
                <a:close/>
                <a:moveTo>
                  <a:pt x="7554693" y="1871528"/>
                </a:moveTo>
                <a:cubicBezTo>
                  <a:pt x="7597626" y="1871528"/>
                  <a:pt x="7632430" y="1906330"/>
                  <a:pt x="7632430" y="1949264"/>
                </a:cubicBezTo>
                <a:cubicBezTo>
                  <a:pt x="7632430" y="1992197"/>
                  <a:pt x="7597626" y="2026999"/>
                  <a:pt x="7554693" y="2026999"/>
                </a:cubicBezTo>
                <a:cubicBezTo>
                  <a:pt x="7511761" y="2026999"/>
                  <a:pt x="7476957" y="1992197"/>
                  <a:pt x="7476957" y="1949264"/>
                </a:cubicBezTo>
                <a:cubicBezTo>
                  <a:pt x="7476957" y="1906330"/>
                  <a:pt x="7511761" y="1871528"/>
                  <a:pt x="7554693" y="1871528"/>
                </a:cubicBezTo>
                <a:close/>
                <a:moveTo>
                  <a:pt x="7366472" y="1871528"/>
                </a:moveTo>
                <a:cubicBezTo>
                  <a:pt x="7409405" y="1871528"/>
                  <a:pt x="7444209" y="1906330"/>
                  <a:pt x="7444209" y="1949264"/>
                </a:cubicBezTo>
                <a:cubicBezTo>
                  <a:pt x="7444209" y="1992197"/>
                  <a:pt x="7409405" y="2026999"/>
                  <a:pt x="7366472" y="2026999"/>
                </a:cubicBezTo>
                <a:cubicBezTo>
                  <a:pt x="7323540" y="2026999"/>
                  <a:pt x="7288736" y="1992197"/>
                  <a:pt x="7288736" y="1949264"/>
                </a:cubicBezTo>
                <a:cubicBezTo>
                  <a:pt x="7288736" y="1906330"/>
                  <a:pt x="7323540" y="1871528"/>
                  <a:pt x="7366472" y="1871528"/>
                </a:cubicBezTo>
                <a:close/>
                <a:moveTo>
                  <a:pt x="7178251" y="1871528"/>
                </a:moveTo>
                <a:cubicBezTo>
                  <a:pt x="7221184" y="1871528"/>
                  <a:pt x="7255988" y="1906330"/>
                  <a:pt x="7255988" y="1949264"/>
                </a:cubicBezTo>
                <a:cubicBezTo>
                  <a:pt x="7255988" y="1992197"/>
                  <a:pt x="7221184" y="2026999"/>
                  <a:pt x="7178251" y="2026999"/>
                </a:cubicBezTo>
                <a:cubicBezTo>
                  <a:pt x="7135319" y="2026999"/>
                  <a:pt x="7100514" y="1992197"/>
                  <a:pt x="7100514" y="1949264"/>
                </a:cubicBezTo>
                <a:cubicBezTo>
                  <a:pt x="7100514" y="1906330"/>
                  <a:pt x="7135319" y="1871528"/>
                  <a:pt x="7178251" y="1871528"/>
                </a:cubicBezTo>
                <a:close/>
                <a:moveTo>
                  <a:pt x="6985327" y="1871528"/>
                </a:moveTo>
                <a:cubicBezTo>
                  <a:pt x="7028260" y="1871528"/>
                  <a:pt x="7063064" y="1906330"/>
                  <a:pt x="7063064" y="1949264"/>
                </a:cubicBezTo>
                <a:cubicBezTo>
                  <a:pt x="7063064" y="1992197"/>
                  <a:pt x="7028260" y="2026999"/>
                  <a:pt x="6985327" y="2026999"/>
                </a:cubicBezTo>
                <a:cubicBezTo>
                  <a:pt x="6942394" y="2026999"/>
                  <a:pt x="6907590" y="1992197"/>
                  <a:pt x="6907590" y="1949264"/>
                </a:cubicBezTo>
                <a:cubicBezTo>
                  <a:pt x="6907590" y="1906330"/>
                  <a:pt x="6942394" y="1871528"/>
                  <a:pt x="6985327" y="1871528"/>
                </a:cubicBezTo>
                <a:close/>
                <a:moveTo>
                  <a:pt x="6801807" y="1871528"/>
                </a:moveTo>
                <a:cubicBezTo>
                  <a:pt x="6844740" y="1871528"/>
                  <a:pt x="6879544" y="1906330"/>
                  <a:pt x="6879544" y="1949264"/>
                </a:cubicBezTo>
                <a:cubicBezTo>
                  <a:pt x="6879544" y="1992197"/>
                  <a:pt x="6844740" y="2026999"/>
                  <a:pt x="6801807" y="2026999"/>
                </a:cubicBezTo>
                <a:cubicBezTo>
                  <a:pt x="6758874" y="2026999"/>
                  <a:pt x="6724070" y="1992197"/>
                  <a:pt x="6724070" y="1949264"/>
                </a:cubicBezTo>
                <a:cubicBezTo>
                  <a:pt x="6724070" y="1906330"/>
                  <a:pt x="6758874" y="1871528"/>
                  <a:pt x="6801807" y="1871528"/>
                </a:cubicBezTo>
                <a:close/>
                <a:moveTo>
                  <a:pt x="6613586" y="1871528"/>
                </a:moveTo>
                <a:cubicBezTo>
                  <a:pt x="6656519" y="1871528"/>
                  <a:pt x="6691323" y="1906330"/>
                  <a:pt x="6691323" y="1949264"/>
                </a:cubicBezTo>
                <a:cubicBezTo>
                  <a:pt x="6691323" y="1992197"/>
                  <a:pt x="6656519" y="2026999"/>
                  <a:pt x="6613586" y="2026999"/>
                </a:cubicBezTo>
                <a:cubicBezTo>
                  <a:pt x="6570653" y="2026999"/>
                  <a:pt x="6535849" y="1992197"/>
                  <a:pt x="6535849" y="1949264"/>
                </a:cubicBezTo>
                <a:cubicBezTo>
                  <a:pt x="6535849" y="1906330"/>
                  <a:pt x="6570653" y="1871528"/>
                  <a:pt x="6613586" y="1871528"/>
                </a:cubicBezTo>
                <a:close/>
                <a:moveTo>
                  <a:pt x="6425365" y="1871528"/>
                </a:moveTo>
                <a:cubicBezTo>
                  <a:pt x="6468298" y="1871528"/>
                  <a:pt x="6503102" y="1906330"/>
                  <a:pt x="6503102" y="1949264"/>
                </a:cubicBezTo>
                <a:cubicBezTo>
                  <a:pt x="6503102" y="1992197"/>
                  <a:pt x="6468298" y="2026999"/>
                  <a:pt x="6425365" y="2026999"/>
                </a:cubicBezTo>
                <a:cubicBezTo>
                  <a:pt x="6382432" y="2026999"/>
                  <a:pt x="6347628" y="1992197"/>
                  <a:pt x="6347628" y="1949264"/>
                </a:cubicBezTo>
                <a:cubicBezTo>
                  <a:pt x="6347628" y="1906330"/>
                  <a:pt x="6382432" y="1871528"/>
                  <a:pt x="6425365" y="1871528"/>
                </a:cubicBezTo>
                <a:close/>
                <a:moveTo>
                  <a:pt x="6241850" y="1871528"/>
                </a:moveTo>
                <a:cubicBezTo>
                  <a:pt x="6284783" y="1871528"/>
                  <a:pt x="6319587" y="1906330"/>
                  <a:pt x="6319587" y="1949264"/>
                </a:cubicBezTo>
                <a:cubicBezTo>
                  <a:pt x="6319587" y="1992197"/>
                  <a:pt x="6284783" y="2026999"/>
                  <a:pt x="6241850" y="2026999"/>
                </a:cubicBezTo>
                <a:cubicBezTo>
                  <a:pt x="6198917" y="2026999"/>
                  <a:pt x="6164113" y="1992197"/>
                  <a:pt x="6164113" y="1949264"/>
                </a:cubicBezTo>
                <a:cubicBezTo>
                  <a:pt x="6164113" y="1906330"/>
                  <a:pt x="6198917" y="1871528"/>
                  <a:pt x="6241850" y="1871528"/>
                </a:cubicBezTo>
                <a:close/>
                <a:moveTo>
                  <a:pt x="5681936" y="1871528"/>
                </a:moveTo>
                <a:cubicBezTo>
                  <a:pt x="5724824" y="1871528"/>
                  <a:pt x="5759628" y="1906330"/>
                  <a:pt x="5759628" y="1949264"/>
                </a:cubicBezTo>
                <a:cubicBezTo>
                  <a:pt x="5759628" y="1992197"/>
                  <a:pt x="5724824" y="2026999"/>
                  <a:pt x="5681936" y="2026999"/>
                </a:cubicBezTo>
                <a:cubicBezTo>
                  <a:pt x="5638990" y="2026999"/>
                  <a:pt x="5604176" y="1992197"/>
                  <a:pt x="5604176" y="1949264"/>
                </a:cubicBezTo>
                <a:cubicBezTo>
                  <a:pt x="5604176" y="1906330"/>
                  <a:pt x="5638990" y="1871528"/>
                  <a:pt x="5681936" y="1871528"/>
                </a:cubicBezTo>
                <a:close/>
                <a:moveTo>
                  <a:pt x="5126655" y="1871528"/>
                </a:moveTo>
                <a:cubicBezTo>
                  <a:pt x="5169590" y="1871528"/>
                  <a:pt x="5204395" y="1906330"/>
                  <a:pt x="5204395" y="1949264"/>
                </a:cubicBezTo>
                <a:cubicBezTo>
                  <a:pt x="5204395" y="1992197"/>
                  <a:pt x="5169590" y="2026999"/>
                  <a:pt x="5126655" y="2026999"/>
                </a:cubicBezTo>
                <a:cubicBezTo>
                  <a:pt x="5083744" y="2026999"/>
                  <a:pt x="5048931" y="1992197"/>
                  <a:pt x="5048931" y="1949264"/>
                </a:cubicBezTo>
                <a:cubicBezTo>
                  <a:pt x="5048931" y="1906330"/>
                  <a:pt x="5083744" y="1871528"/>
                  <a:pt x="5126655" y="1871528"/>
                </a:cubicBezTo>
                <a:close/>
                <a:moveTo>
                  <a:pt x="2882240" y="1871528"/>
                </a:moveTo>
                <a:cubicBezTo>
                  <a:pt x="2925171" y="1871528"/>
                  <a:pt x="2959981" y="1906330"/>
                  <a:pt x="2959981" y="1949264"/>
                </a:cubicBezTo>
                <a:cubicBezTo>
                  <a:pt x="2959981" y="1992197"/>
                  <a:pt x="2925171" y="2026999"/>
                  <a:pt x="2882240" y="2026999"/>
                </a:cubicBezTo>
                <a:cubicBezTo>
                  <a:pt x="2839316" y="2026999"/>
                  <a:pt x="2804517" y="1992197"/>
                  <a:pt x="2804517" y="1949264"/>
                </a:cubicBezTo>
                <a:cubicBezTo>
                  <a:pt x="2804517" y="1906330"/>
                  <a:pt x="2839316" y="1871528"/>
                  <a:pt x="2882240" y="1871528"/>
                </a:cubicBezTo>
                <a:close/>
                <a:moveTo>
                  <a:pt x="2689340" y="1871528"/>
                </a:moveTo>
                <a:cubicBezTo>
                  <a:pt x="2732269" y="1871528"/>
                  <a:pt x="2767048" y="1906330"/>
                  <a:pt x="2767048" y="1949264"/>
                </a:cubicBezTo>
                <a:cubicBezTo>
                  <a:pt x="2767048" y="1992197"/>
                  <a:pt x="2732269" y="2026999"/>
                  <a:pt x="2689340" y="2026999"/>
                </a:cubicBezTo>
                <a:cubicBezTo>
                  <a:pt x="2646398" y="2026999"/>
                  <a:pt x="2611606" y="1992197"/>
                  <a:pt x="2611606" y="1949264"/>
                </a:cubicBezTo>
                <a:cubicBezTo>
                  <a:pt x="2611606" y="1906330"/>
                  <a:pt x="2646398" y="1871528"/>
                  <a:pt x="2689340" y="1871528"/>
                </a:cubicBezTo>
                <a:close/>
                <a:moveTo>
                  <a:pt x="2510519" y="1871528"/>
                </a:moveTo>
                <a:cubicBezTo>
                  <a:pt x="2553465" y="1871528"/>
                  <a:pt x="2588265" y="1906330"/>
                  <a:pt x="2588265" y="1949264"/>
                </a:cubicBezTo>
                <a:cubicBezTo>
                  <a:pt x="2588265" y="1992197"/>
                  <a:pt x="2553465" y="2026999"/>
                  <a:pt x="2510519" y="2026999"/>
                </a:cubicBezTo>
                <a:cubicBezTo>
                  <a:pt x="2467576" y="2026999"/>
                  <a:pt x="2432762" y="1992197"/>
                  <a:pt x="2432762" y="1949264"/>
                </a:cubicBezTo>
                <a:cubicBezTo>
                  <a:pt x="2432762" y="1906330"/>
                  <a:pt x="2467576" y="1871528"/>
                  <a:pt x="2510519" y="1871528"/>
                </a:cubicBezTo>
                <a:close/>
                <a:moveTo>
                  <a:pt x="2317556" y="1871528"/>
                </a:moveTo>
                <a:cubicBezTo>
                  <a:pt x="2360484" y="1871528"/>
                  <a:pt x="2395296" y="1906330"/>
                  <a:pt x="2395296" y="1949264"/>
                </a:cubicBezTo>
                <a:cubicBezTo>
                  <a:pt x="2395296" y="1992197"/>
                  <a:pt x="2360484" y="2026999"/>
                  <a:pt x="2317556" y="2026999"/>
                </a:cubicBezTo>
                <a:cubicBezTo>
                  <a:pt x="2274629" y="2026999"/>
                  <a:pt x="2239831" y="1992197"/>
                  <a:pt x="2239831" y="1949264"/>
                </a:cubicBezTo>
                <a:cubicBezTo>
                  <a:pt x="2239831" y="1906330"/>
                  <a:pt x="2274629" y="1871528"/>
                  <a:pt x="2317556" y="1871528"/>
                </a:cubicBezTo>
                <a:close/>
                <a:moveTo>
                  <a:pt x="1757677" y="1871528"/>
                </a:moveTo>
                <a:cubicBezTo>
                  <a:pt x="1800603" y="1871528"/>
                  <a:pt x="1835405" y="1906330"/>
                  <a:pt x="1835405" y="1949264"/>
                </a:cubicBezTo>
                <a:cubicBezTo>
                  <a:pt x="1835405" y="1992197"/>
                  <a:pt x="1800603" y="2026999"/>
                  <a:pt x="1757677" y="2026999"/>
                </a:cubicBezTo>
                <a:cubicBezTo>
                  <a:pt x="1714731" y="2026999"/>
                  <a:pt x="1679951" y="1992197"/>
                  <a:pt x="1679951" y="1949264"/>
                </a:cubicBezTo>
                <a:cubicBezTo>
                  <a:pt x="1679951" y="1906330"/>
                  <a:pt x="1714731" y="1871528"/>
                  <a:pt x="1757677" y="1871528"/>
                </a:cubicBezTo>
                <a:close/>
                <a:moveTo>
                  <a:pt x="1569451" y="1871528"/>
                </a:moveTo>
                <a:cubicBezTo>
                  <a:pt x="1612408" y="1871528"/>
                  <a:pt x="1647209" y="1906330"/>
                  <a:pt x="1647209" y="1949264"/>
                </a:cubicBezTo>
                <a:cubicBezTo>
                  <a:pt x="1647209" y="1992197"/>
                  <a:pt x="1612408" y="2026999"/>
                  <a:pt x="1569451" y="2026999"/>
                </a:cubicBezTo>
                <a:cubicBezTo>
                  <a:pt x="1526540" y="2026999"/>
                  <a:pt x="1491728" y="1992197"/>
                  <a:pt x="1491728" y="1949264"/>
                </a:cubicBezTo>
                <a:cubicBezTo>
                  <a:pt x="1491728" y="1906330"/>
                  <a:pt x="1526540" y="1871528"/>
                  <a:pt x="1569451" y="1871528"/>
                </a:cubicBezTo>
                <a:close/>
                <a:moveTo>
                  <a:pt x="1385919" y="1871528"/>
                </a:moveTo>
                <a:cubicBezTo>
                  <a:pt x="1428864" y="1871528"/>
                  <a:pt x="1463677" y="1906330"/>
                  <a:pt x="1463677" y="1949264"/>
                </a:cubicBezTo>
                <a:cubicBezTo>
                  <a:pt x="1463677" y="1992197"/>
                  <a:pt x="1428864" y="2026999"/>
                  <a:pt x="1385919" y="2026999"/>
                </a:cubicBezTo>
                <a:cubicBezTo>
                  <a:pt x="1342974" y="2026999"/>
                  <a:pt x="1308159" y="1992197"/>
                  <a:pt x="1308159" y="1949264"/>
                </a:cubicBezTo>
                <a:cubicBezTo>
                  <a:pt x="1308159" y="1906330"/>
                  <a:pt x="1342974" y="1871528"/>
                  <a:pt x="1385919" y="1871528"/>
                </a:cubicBezTo>
                <a:close/>
                <a:moveTo>
                  <a:pt x="1202376" y="1871528"/>
                </a:moveTo>
                <a:cubicBezTo>
                  <a:pt x="1245308" y="1871528"/>
                  <a:pt x="1280108" y="1906330"/>
                  <a:pt x="1280108" y="1949264"/>
                </a:cubicBezTo>
                <a:cubicBezTo>
                  <a:pt x="1280108" y="1992197"/>
                  <a:pt x="1245308" y="2026999"/>
                  <a:pt x="1202376" y="2026999"/>
                </a:cubicBezTo>
                <a:cubicBezTo>
                  <a:pt x="1159422" y="2026999"/>
                  <a:pt x="1124662" y="1992197"/>
                  <a:pt x="1124662" y="1949264"/>
                </a:cubicBezTo>
                <a:cubicBezTo>
                  <a:pt x="1124662" y="1906330"/>
                  <a:pt x="1159422" y="1871528"/>
                  <a:pt x="1202376" y="1871528"/>
                </a:cubicBezTo>
                <a:close/>
                <a:moveTo>
                  <a:pt x="1014132" y="1871528"/>
                </a:moveTo>
                <a:cubicBezTo>
                  <a:pt x="1057083" y="1871528"/>
                  <a:pt x="1091902" y="1906330"/>
                  <a:pt x="1091902" y="1949264"/>
                </a:cubicBezTo>
                <a:cubicBezTo>
                  <a:pt x="1091902" y="1992197"/>
                  <a:pt x="1057083" y="2026999"/>
                  <a:pt x="1014132" y="2026999"/>
                </a:cubicBezTo>
                <a:cubicBezTo>
                  <a:pt x="971246" y="2026999"/>
                  <a:pt x="936439" y="1992197"/>
                  <a:pt x="936439" y="1949264"/>
                </a:cubicBezTo>
                <a:cubicBezTo>
                  <a:pt x="936439" y="1906330"/>
                  <a:pt x="971246" y="1871528"/>
                  <a:pt x="1014132" y="1871528"/>
                </a:cubicBezTo>
                <a:close/>
                <a:moveTo>
                  <a:pt x="830636" y="1871528"/>
                </a:moveTo>
                <a:cubicBezTo>
                  <a:pt x="873555" y="1871528"/>
                  <a:pt x="908393" y="1906330"/>
                  <a:pt x="908393" y="1949264"/>
                </a:cubicBezTo>
                <a:cubicBezTo>
                  <a:pt x="908393" y="1992197"/>
                  <a:pt x="873555" y="2026999"/>
                  <a:pt x="830636" y="2026999"/>
                </a:cubicBezTo>
                <a:cubicBezTo>
                  <a:pt x="787695" y="2026999"/>
                  <a:pt x="752892" y="1992197"/>
                  <a:pt x="752892" y="1949264"/>
                </a:cubicBezTo>
                <a:cubicBezTo>
                  <a:pt x="752892" y="1906330"/>
                  <a:pt x="787695" y="1871528"/>
                  <a:pt x="830636" y="1871528"/>
                </a:cubicBezTo>
                <a:close/>
                <a:moveTo>
                  <a:pt x="642401" y="1871528"/>
                </a:moveTo>
                <a:cubicBezTo>
                  <a:pt x="685341" y="1871528"/>
                  <a:pt x="720144" y="1906330"/>
                  <a:pt x="720144" y="1949264"/>
                </a:cubicBezTo>
                <a:cubicBezTo>
                  <a:pt x="720144" y="1992197"/>
                  <a:pt x="685341" y="2026999"/>
                  <a:pt x="642401" y="2026999"/>
                </a:cubicBezTo>
                <a:cubicBezTo>
                  <a:pt x="599472" y="2026999"/>
                  <a:pt x="564669" y="1992197"/>
                  <a:pt x="564669" y="1949264"/>
                </a:cubicBezTo>
                <a:cubicBezTo>
                  <a:pt x="564669" y="1906330"/>
                  <a:pt x="599472" y="1871528"/>
                  <a:pt x="642401" y="1871528"/>
                </a:cubicBezTo>
                <a:close/>
                <a:moveTo>
                  <a:pt x="458889" y="1871528"/>
                </a:moveTo>
                <a:cubicBezTo>
                  <a:pt x="501821" y="1871528"/>
                  <a:pt x="536625" y="1906330"/>
                  <a:pt x="536625" y="1949264"/>
                </a:cubicBezTo>
                <a:cubicBezTo>
                  <a:pt x="536625" y="1992197"/>
                  <a:pt x="501821" y="2026999"/>
                  <a:pt x="458889" y="2026999"/>
                </a:cubicBezTo>
                <a:cubicBezTo>
                  <a:pt x="415956" y="2026999"/>
                  <a:pt x="381155" y="1992197"/>
                  <a:pt x="381155" y="1949264"/>
                </a:cubicBezTo>
                <a:cubicBezTo>
                  <a:pt x="381155" y="1906330"/>
                  <a:pt x="415956" y="1871528"/>
                  <a:pt x="458889" y="1871528"/>
                </a:cubicBezTo>
                <a:close/>
                <a:moveTo>
                  <a:pt x="270668" y="1871528"/>
                </a:moveTo>
                <a:cubicBezTo>
                  <a:pt x="313600" y="1871528"/>
                  <a:pt x="348404" y="1906330"/>
                  <a:pt x="348404" y="1949264"/>
                </a:cubicBezTo>
                <a:cubicBezTo>
                  <a:pt x="348404" y="1992197"/>
                  <a:pt x="313600" y="2026999"/>
                  <a:pt x="270668" y="2026999"/>
                </a:cubicBezTo>
                <a:cubicBezTo>
                  <a:pt x="227735" y="2026999"/>
                  <a:pt x="192931" y="1992197"/>
                  <a:pt x="192931" y="1949264"/>
                </a:cubicBezTo>
                <a:cubicBezTo>
                  <a:pt x="192931" y="1906330"/>
                  <a:pt x="227735" y="1871528"/>
                  <a:pt x="270668" y="1871528"/>
                </a:cubicBezTo>
                <a:close/>
                <a:moveTo>
                  <a:pt x="10166265" y="1871526"/>
                </a:moveTo>
                <a:cubicBezTo>
                  <a:pt x="10209198" y="1871526"/>
                  <a:pt x="10244002" y="1906330"/>
                  <a:pt x="10244002" y="1949263"/>
                </a:cubicBezTo>
                <a:cubicBezTo>
                  <a:pt x="10244002" y="1992195"/>
                  <a:pt x="10209198" y="2026999"/>
                  <a:pt x="10166265" y="2026999"/>
                </a:cubicBezTo>
                <a:cubicBezTo>
                  <a:pt x="10123332" y="2026999"/>
                  <a:pt x="10088528" y="1992195"/>
                  <a:pt x="10088528" y="1949263"/>
                </a:cubicBezTo>
                <a:cubicBezTo>
                  <a:pt x="10088528" y="1906330"/>
                  <a:pt x="10123332" y="1871526"/>
                  <a:pt x="10166265" y="1871526"/>
                </a:cubicBezTo>
                <a:close/>
                <a:moveTo>
                  <a:pt x="9978044" y="1871526"/>
                </a:moveTo>
                <a:cubicBezTo>
                  <a:pt x="10020977" y="1871526"/>
                  <a:pt x="10055781" y="1906330"/>
                  <a:pt x="10055781" y="1949263"/>
                </a:cubicBezTo>
                <a:cubicBezTo>
                  <a:pt x="10055781" y="1992195"/>
                  <a:pt x="10020977" y="2026999"/>
                  <a:pt x="9978044" y="2026999"/>
                </a:cubicBezTo>
                <a:cubicBezTo>
                  <a:pt x="9935111" y="2026999"/>
                  <a:pt x="9900307" y="1992195"/>
                  <a:pt x="9900307" y="1949263"/>
                </a:cubicBezTo>
                <a:cubicBezTo>
                  <a:pt x="9900307" y="1906330"/>
                  <a:pt x="9935111" y="1871526"/>
                  <a:pt x="9978044" y="1871526"/>
                </a:cubicBezTo>
                <a:close/>
                <a:moveTo>
                  <a:pt x="9789823" y="1871526"/>
                </a:moveTo>
                <a:cubicBezTo>
                  <a:pt x="9832756" y="1871526"/>
                  <a:pt x="9867560" y="1906330"/>
                  <a:pt x="9867560" y="1949263"/>
                </a:cubicBezTo>
                <a:cubicBezTo>
                  <a:pt x="9867560" y="1992195"/>
                  <a:pt x="9832756" y="2026999"/>
                  <a:pt x="9789823" y="2026999"/>
                </a:cubicBezTo>
                <a:cubicBezTo>
                  <a:pt x="9746890" y="2026999"/>
                  <a:pt x="9712086" y="1992195"/>
                  <a:pt x="9712086" y="1949263"/>
                </a:cubicBezTo>
                <a:cubicBezTo>
                  <a:pt x="9712086" y="1906330"/>
                  <a:pt x="9746890" y="1871526"/>
                  <a:pt x="9789823" y="1871526"/>
                </a:cubicBezTo>
                <a:close/>
                <a:moveTo>
                  <a:pt x="9606306" y="1871526"/>
                </a:moveTo>
                <a:cubicBezTo>
                  <a:pt x="9649238" y="1871526"/>
                  <a:pt x="9684043" y="1906330"/>
                  <a:pt x="9684043" y="1949263"/>
                </a:cubicBezTo>
                <a:cubicBezTo>
                  <a:pt x="9684043" y="1992195"/>
                  <a:pt x="9649238" y="2026999"/>
                  <a:pt x="9606306" y="2026999"/>
                </a:cubicBezTo>
                <a:cubicBezTo>
                  <a:pt x="9563373" y="2026999"/>
                  <a:pt x="9528569" y="1992195"/>
                  <a:pt x="9528569" y="1949263"/>
                </a:cubicBezTo>
                <a:cubicBezTo>
                  <a:pt x="9528569" y="1906330"/>
                  <a:pt x="9563373" y="1871526"/>
                  <a:pt x="9606306" y="1871526"/>
                </a:cubicBezTo>
                <a:close/>
                <a:moveTo>
                  <a:pt x="10091069" y="1771989"/>
                </a:moveTo>
                <a:lnTo>
                  <a:pt x="10188573" y="1857806"/>
                </a:lnTo>
                <a:lnTo>
                  <a:pt x="10166265" y="1862309"/>
                </a:lnTo>
                <a:cubicBezTo>
                  <a:pt x="10123332" y="1862309"/>
                  <a:pt x="10088528" y="1827505"/>
                  <a:pt x="10088528" y="1784572"/>
                </a:cubicBezTo>
                <a:close/>
                <a:moveTo>
                  <a:pt x="284431" y="1709613"/>
                </a:moveTo>
                <a:lnTo>
                  <a:pt x="300934" y="1712944"/>
                </a:lnTo>
                <a:cubicBezTo>
                  <a:pt x="328835" y="1724745"/>
                  <a:pt x="348412" y="1752373"/>
                  <a:pt x="348412" y="1784572"/>
                </a:cubicBezTo>
                <a:cubicBezTo>
                  <a:pt x="348412" y="1827503"/>
                  <a:pt x="313608" y="1862307"/>
                  <a:pt x="270675" y="1862307"/>
                </a:cubicBezTo>
                <a:cubicBezTo>
                  <a:pt x="238477" y="1862307"/>
                  <a:pt x="210850" y="1842730"/>
                  <a:pt x="199049" y="1814830"/>
                </a:cubicBezTo>
                <a:lnTo>
                  <a:pt x="193894" y="1789298"/>
                </a:lnTo>
                <a:close/>
                <a:moveTo>
                  <a:pt x="9978044" y="1706838"/>
                </a:moveTo>
                <a:cubicBezTo>
                  <a:pt x="10020977" y="1706838"/>
                  <a:pt x="10055781" y="1741642"/>
                  <a:pt x="10055781" y="1784572"/>
                </a:cubicBezTo>
                <a:cubicBezTo>
                  <a:pt x="10055781" y="1827505"/>
                  <a:pt x="10020977" y="1862309"/>
                  <a:pt x="9978044" y="1862309"/>
                </a:cubicBezTo>
                <a:cubicBezTo>
                  <a:pt x="9935111" y="1862309"/>
                  <a:pt x="9900307" y="1827505"/>
                  <a:pt x="9900307" y="1784572"/>
                </a:cubicBezTo>
                <a:cubicBezTo>
                  <a:pt x="9900307" y="1741642"/>
                  <a:pt x="9935111" y="1706838"/>
                  <a:pt x="9978044" y="1706838"/>
                </a:cubicBezTo>
                <a:close/>
                <a:moveTo>
                  <a:pt x="9789823" y="1706838"/>
                </a:moveTo>
                <a:cubicBezTo>
                  <a:pt x="9832756" y="1706838"/>
                  <a:pt x="9867560" y="1741642"/>
                  <a:pt x="9867560" y="1784572"/>
                </a:cubicBezTo>
                <a:cubicBezTo>
                  <a:pt x="9867560" y="1827505"/>
                  <a:pt x="9832756" y="1862309"/>
                  <a:pt x="9789823" y="1862309"/>
                </a:cubicBezTo>
                <a:cubicBezTo>
                  <a:pt x="9746890" y="1862309"/>
                  <a:pt x="9712086" y="1827505"/>
                  <a:pt x="9712086" y="1784572"/>
                </a:cubicBezTo>
                <a:cubicBezTo>
                  <a:pt x="9712086" y="1741642"/>
                  <a:pt x="9746890" y="1706838"/>
                  <a:pt x="9789823" y="1706838"/>
                </a:cubicBezTo>
                <a:close/>
                <a:moveTo>
                  <a:pt x="9606306" y="1706838"/>
                </a:moveTo>
                <a:cubicBezTo>
                  <a:pt x="9649238" y="1706838"/>
                  <a:pt x="9684043" y="1741642"/>
                  <a:pt x="9684043" y="1784572"/>
                </a:cubicBezTo>
                <a:cubicBezTo>
                  <a:pt x="9684043" y="1827505"/>
                  <a:pt x="9649238" y="1862309"/>
                  <a:pt x="9606306" y="1862309"/>
                </a:cubicBezTo>
                <a:cubicBezTo>
                  <a:pt x="9563373" y="1862309"/>
                  <a:pt x="9528569" y="1827505"/>
                  <a:pt x="9528569" y="1784572"/>
                </a:cubicBezTo>
                <a:cubicBezTo>
                  <a:pt x="9528569" y="1741642"/>
                  <a:pt x="9563373" y="1706838"/>
                  <a:pt x="9606306" y="1706838"/>
                </a:cubicBezTo>
                <a:close/>
                <a:moveTo>
                  <a:pt x="9413378" y="1706838"/>
                </a:moveTo>
                <a:cubicBezTo>
                  <a:pt x="9456311" y="1706838"/>
                  <a:pt x="9491115" y="1741642"/>
                  <a:pt x="9491115" y="1784572"/>
                </a:cubicBezTo>
                <a:cubicBezTo>
                  <a:pt x="9491115" y="1827505"/>
                  <a:pt x="9456311" y="1862309"/>
                  <a:pt x="9413378" y="1862309"/>
                </a:cubicBezTo>
                <a:cubicBezTo>
                  <a:pt x="9370445" y="1862309"/>
                  <a:pt x="9335641" y="1827505"/>
                  <a:pt x="9335641" y="1784572"/>
                </a:cubicBezTo>
                <a:cubicBezTo>
                  <a:pt x="9335641" y="1741642"/>
                  <a:pt x="9370445" y="1706838"/>
                  <a:pt x="9413378" y="1706838"/>
                </a:cubicBezTo>
                <a:close/>
                <a:moveTo>
                  <a:pt x="9234570" y="1706838"/>
                </a:moveTo>
                <a:cubicBezTo>
                  <a:pt x="9277503" y="1706838"/>
                  <a:pt x="9312307" y="1741642"/>
                  <a:pt x="9312307" y="1784572"/>
                </a:cubicBezTo>
                <a:cubicBezTo>
                  <a:pt x="9312307" y="1827505"/>
                  <a:pt x="9277503" y="1862309"/>
                  <a:pt x="9234570" y="1862309"/>
                </a:cubicBezTo>
                <a:cubicBezTo>
                  <a:pt x="9191637" y="1862309"/>
                  <a:pt x="9156833" y="1827505"/>
                  <a:pt x="9156833" y="1784572"/>
                </a:cubicBezTo>
                <a:cubicBezTo>
                  <a:pt x="9156833" y="1741642"/>
                  <a:pt x="9191637" y="1706838"/>
                  <a:pt x="9234570" y="1706838"/>
                </a:cubicBezTo>
                <a:close/>
                <a:moveTo>
                  <a:pt x="9036936" y="1706838"/>
                </a:moveTo>
                <a:cubicBezTo>
                  <a:pt x="9079869" y="1706838"/>
                  <a:pt x="9114673" y="1741642"/>
                  <a:pt x="9114673" y="1784572"/>
                </a:cubicBezTo>
                <a:cubicBezTo>
                  <a:pt x="9114673" y="1827505"/>
                  <a:pt x="9079869" y="1862309"/>
                  <a:pt x="9036936" y="1862309"/>
                </a:cubicBezTo>
                <a:cubicBezTo>
                  <a:pt x="8994003" y="1862309"/>
                  <a:pt x="8959199" y="1827505"/>
                  <a:pt x="8959199" y="1784572"/>
                </a:cubicBezTo>
                <a:cubicBezTo>
                  <a:pt x="8959199" y="1741642"/>
                  <a:pt x="8994003" y="1706838"/>
                  <a:pt x="9036936" y="1706838"/>
                </a:cubicBezTo>
                <a:close/>
                <a:moveTo>
                  <a:pt x="8853421" y="1706838"/>
                </a:moveTo>
                <a:cubicBezTo>
                  <a:pt x="8896354" y="1706838"/>
                  <a:pt x="8931158" y="1741642"/>
                  <a:pt x="8931158" y="1784572"/>
                </a:cubicBezTo>
                <a:cubicBezTo>
                  <a:pt x="8931158" y="1827505"/>
                  <a:pt x="8896354" y="1862309"/>
                  <a:pt x="8853421" y="1862309"/>
                </a:cubicBezTo>
                <a:cubicBezTo>
                  <a:pt x="8810489" y="1862309"/>
                  <a:pt x="8775685" y="1827505"/>
                  <a:pt x="8775685" y="1784572"/>
                </a:cubicBezTo>
                <a:cubicBezTo>
                  <a:pt x="8775685" y="1741642"/>
                  <a:pt x="8810489" y="1706838"/>
                  <a:pt x="8853421" y="1706838"/>
                </a:cubicBezTo>
                <a:close/>
                <a:moveTo>
                  <a:pt x="8669907" y="1706838"/>
                </a:moveTo>
                <a:cubicBezTo>
                  <a:pt x="8712840" y="1706838"/>
                  <a:pt x="8747644" y="1741642"/>
                  <a:pt x="8747644" y="1784572"/>
                </a:cubicBezTo>
                <a:cubicBezTo>
                  <a:pt x="8747644" y="1827505"/>
                  <a:pt x="8712840" y="1862309"/>
                  <a:pt x="8669907" y="1862309"/>
                </a:cubicBezTo>
                <a:cubicBezTo>
                  <a:pt x="8626974" y="1862309"/>
                  <a:pt x="8592170" y="1827505"/>
                  <a:pt x="8592170" y="1784572"/>
                </a:cubicBezTo>
                <a:cubicBezTo>
                  <a:pt x="8592170" y="1741642"/>
                  <a:pt x="8626974" y="1706838"/>
                  <a:pt x="8669907" y="1706838"/>
                </a:cubicBezTo>
                <a:close/>
                <a:moveTo>
                  <a:pt x="8481683" y="1706838"/>
                </a:moveTo>
                <a:cubicBezTo>
                  <a:pt x="8524616" y="1706838"/>
                  <a:pt x="8559420" y="1741642"/>
                  <a:pt x="8559420" y="1784572"/>
                </a:cubicBezTo>
                <a:cubicBezTo>
                  <a:pt x="8559420" y="1827505"/>
                  <a:pt x="8524616" y="1862309"/>
                  <a:pt x="8481683" y="1862309"/>
                </a:cubicBezTo>
                <a:cubicBezTo>
                  <a:pt x="8438750" y="1862309"/>
                  <a:pt x="8403946" y="1827505"/>
                  <a:pt x="8403946" y="1784572"/>
                </a:cubicBezTo>
                <a:cubicBezTo>
                  <a:pt x="8403946" y="1741642"/>
                  <a:pt x="8438750" y="1706838"/>
                  <a:pt x="8481683" y="1706838"/>
                </a:cubicBezTo>
                <a:close/>
                <a:moveTo>
                  <a:pt x="8298167" y="1706838"/>
                </a:moveTo>
                <a:cubicBezTo>
                  <a:pt x="8341100" y="1706838"/>
                  <a:pt x="8375904" y="1741642"/>
                  <a:pt x="8375904" y="1784572"/>
                </a:cubicBezTo>
                <a:cubicBezTo>
                  <a:pt x="8375904" y="1827505"/>
                  <a:pt x="8341100" y="1862309"/>
                  <a:pt x="8298167" y="1862309"/>
                </a:cubicBezTo>
                <a:cubicBezTo>
                  <a:pt x="8255235" y="1862309"/>
                  <a:pt x="8220430" y="1827505"/>
                  <a:pt x="8220430" y="1784572"/>
                </a:cubicBezTo>
                <a:cubicBezTo>
                  <a:pt x="8220430" y="1741642"/>
                  <a:pt x="8255235" y="1706838"/>
                  <a:pt x="8298167" y="1706838"/>
                </a:cubicBezTo>
                <a:close/>
                <a:moveTo>
                  <a:pt x="8109949" y="1706838"/>
                </a:moveTo>
                <a:cubicBezTo>
                  <a:pt x="8152882" y="1706838"/>
                  <a:pt x="8187686" y="1741642"/>
                  <a:pt x="8187686" y="1784572"/>
                </a:cubicBezTo>
                <a:cubicBezTo>
                  <a:pt x="8187686" y="1827505"/>
                  <a:pt x="8152882" y="1862309"/>
                  <a:pt x="8109949" y="1862309"/>
                </a:cubicBezTo>
                <a:cubicBezTo>
                  <a:pt x="8067016" y="1862309"/>
                  <a:pt x="8032212" y="1827505"/>
                  <a:pt x="8032212" y="1784572"/>
                </a:cubicBezTo>
                <a:cubicBezTo>
                  <a:pt x="8032212" y="1741642"/>
                  <a:pt x="8067016" y="1706838"/>
                  <a:pt x="8109949" y="1706838"/>
                </a:cubicBezTo>
                <a:close/>
                <a:moveTo>
                  <a:pt x="7926432" y="1706838"/>
                </a:moveTo>
                <a:cubicBezTo>
                  <a:pt x="7969364" y="1706838"/>
                  <a:pt x="8004169" y="1741642"/>
                  <a:pt x="8004169" y="1784572"/>
                </a:cubicBezTo>
                <a:cubicBezTo>
                  <a:pt x="8004169" y="1827505"/>
                  <a:pt x="7969364" y="1862309"/>
                  <a:pt x="7926432" y="1862309"/>
                </a:cubicBezTo>
                <a:cubicBezTo>
                  <a:pt x="7883499" y="1862309"/>
                  <a:pt x="7848695" y="1827505"/>
                  <a:pt x="7848695" y="1784572"/>
                </a:cubicBezTo>
                <a:cubicBezTo>
                  <a:pt x="7848695" y="1741642"/>
                  <a:pt x="7883499" y="1706838"/>
                  <a:pt x="7926432" y="1706838"/>
                </a:cubicBezTo>
                <a:close/>
                <a:moveTo>
                  <a:pt x="7738211" y="1706838"/>
                </a:moveTo>
                <a:cubicBezTo>
                  <a:pt x="7781143" y="1706838"/>
                  <a:pt x="7815947" y="1741642"/>
                  <a:pt x="7815947" y="1784572"/>
                </a:cubicBezTo>
                <a:cubicBezTo>
                  <a:pt x="7815947" y="1827505"/>
                  <a:pt x="7781143" y="1862309"/>
                  <a:pt x="7738211" y="1862309"/>
                </a:cubicBezTo>
                <a:cubicBezTo>
                  <a:pt x="7695278" y="1862309"/>
                  <a:pt x="7660474" y="1827505"/>
                  <a:pt x="7660474" y="1784572"/>
                </a:cubicBezTo>
                <a:cubicBezTo>
                  <a:pt x="7660474" y="1741642"/>
                  <a:pt x="7695278" y="1706838"/>
                  <a:pt x="7738211" y="1706838"/>
                </a:cubicBezTo>
                <a:close/>
                <a:moveTo>
                  <a:pt x="7554693" y="1706838"/>
                </a:moveTo>
                <a:cubicBezTo>
                  <a:pt x="7597626" y="1706838"/>
                  <a:pt x="7632430" y="1741642"/>
                  <a:pt x="7632430" y="1784572"/>
                </a:cubicBezTo>
                <a:cubicBezTo>
                  <a:pt x="7632430" y="1827505"/>
                  <a:pt x="7597626" y="1862309"/>
                  <a:pt x="7554693" y="1862309"/>
                </a:cubicBezTo>
                <a:cubicBezTo>
                  <a:pt x="7511761" y="1862309"/>
                  <a:pt x="7476957" y="1827505"/>
                  <a:pt x="7476957" y="1784572"/>
                </a:cubicBezTo>
                <a:cubicBezTo>
                  <a:pt x="7476957" y="1741642"/>
                  <a:pt x="7511761" y="1706838"/>
                  <a:pt x="7554693" y="1706838"/>
                </a:cubicBezTo>
                <a:close/>
                <a:moveTo>
                  <a:pt x="7366472" y="1706838"/>
                </a:moveTo>
                <a:cubicBezTo>
                  <a:pt x="7409405" y="1706838"/>
                  <a:pt x="7444209" y="1741642"/>
                  <a:pt x="7444209" y="1784572"/>
                </a:cubicBezTo>
                <a:cubicBezTo>
                  <a:pt x="7444209" y="1827505"/>
                  <a:pt x="7409405" y="1862309"/>
                  <a:pt x="7366472" y="1862309"/>
                </a:cubicBezTo>
                <a:cubicBezTo>
                  <a:pt x="7323540" y="1862309"/>
                  <a:pt x="7288736" y="1827505"/>
                  <a:pt x="7288736" y="1784572"/>
                </a:cubicBezTo>
                <a:cubicBezTo>
                  <a:pt x="7288736" y="1741642"/>
                  <a:pt x="7323540" y="1706838"/>
                  <a:pt x="7366472" y="1706838"/>
                </a:cubicBezTo>
                <a:close/>
                <a:moveTo>
                  <a:pt x="7178251" y="1706838"/>
                </a:moveTo>
                <a:cubicBezTo>
                  <a:pt x="7221184" y="1706838"/>
                  <a:pt x="7255988" y="1741642"/>
                  <a:pt x="7255988" y="1784572"/>
                </a:cubicBezTo>
                <a:cubicBezTo>
                  <a:pt x="7255988" y="1827505"/>
                  <a:pt x="7221184" y="1862309"/>
                  <a:pt x="7178251" y="1862309"/>
                </a:cubicBezTo>
                <a:cubicBezTo>
                  <a:pt x="7135319" y="1862309"/>
                  <a:pt x="7100514" y="1827505"/>
                  <a:pt x="7100514" y="1784572"/>
                </a:cubicBezTo>
                <a:cubicBezTo>
                  <a:pt x="7100514" y="1741642"/>
                  <a:pt x="7135319" y="1706838"/>
                  <a:pt x="7178251" y="1706838"/>
                </a:cubicBezTo>
                <a:close/>
                <a:moveTo>
                  <a:pt x="6985327" y="1706838"/>
                </a:moveTo>
                <a:cubicBezTo>
                  <a:pt x="7028260" y="1706838"/>
                  <a:pt x="7063064" y="1741642"/>
                  <a:pt x="7063064" y="1784572"/>
                </a:cubicBezTo>
                <a:cubicBezTo>
                  <a:pt x="7063064" y="1827505"/>
                  <a:pt x="7028260" y="1862309"/>
                  <a:pt x="6985327" y="1862309"/>
                </a:cubicBezTo>
                <a:cubicBezTo>
                  <a:pt x="6942394" y="1862309"/>
                  <a:pt x="6907590" y="1827505"/>
                  <a:pt x="6907590" y="1784572"/>
                </a:cubicBezTo>
                <a:cubicBezTo>
                  <a:pt x="6907590" y="1741642"/>
                  <a:pt x="6942394" y="1706838"/>
                  <a:pt x="6985327" y="1706838"/>
                </a:cubicBezTo>
                <a:close/>
                <a:moveTo>
                  <a:pt x="6801807" y="1706838"/>
                </a:moveTo>
                <a:cubicBezTo>
                  <a:pt x="6844740" y="1706838"/>
                  <a:pt x="6879544" y="1741642"/>
                  <a:pt x="6879544" y="1784572"/>
                </a:cubicBezTo>
                <a:cubicBezTo>
                  <a:pt x="6879544" y="1827505"/>
                  <a:pt x="6844740" y="1862309"/>
                  <a:pt x="6801807" y="1862309"/>
                </a:cubicBezTo>
                <a:cubicBezTo>
                  <a:pt x="6758874" y="1862309"/>
                  <a:pt x="6724070" y="1827505"/>
                  <a:pt x="6724070" y="1784572"/>
                </a:cubicBezTo>
                <a:cubicBezTo>
                  <a:pt x="6724070" y="1741642"/>
                  <a:pt x="6758874" y="1706838"/>
                  <a:pt x="6801807" y="1706838"/>
                </a:cubicBezTo>
                <a:close/>
                <a:moveTo>
                  <a:pt x="6613586" y="1706838"/>
                </a:moveTo>
                <a:cubicBezTo>
                  <a:pt x="6656519" y="1706838"/>
                  <a:pt x="6691323" y="1741642"/>
                  <a:pt x="6691323" y="1784572"/>
                </a:cubicBezTo>
                <a:cubicBezTo>
                  <a:pt x="6691323" y="1827505"/>
                  <a:pt x="6656519" y="1862309"/>
                  <a:pt x="6613586" y="1862309"/>
                </a:cubicBezTo>
                <a:cubicBezTo>
                  <a:pt x="6570653" y="1862309"/>
                  <a:pt x="6535849" y="1827505"/>
                  <a:pt x="6535849" y="1784572"/>
                </a:cubicBezTo>
                <a:cubicBezTo>
                  <a:pt x="6535849" y="1741642"/>
                  <a:pt x="6570653" y="1706838"/>
                  <a:pt x="6613586" y="1706838"/>
                </a:cubicBezTo>
                <a:close/>
                <a:moveTo>
                  <a:pt x="6425365" y="1706838"/>
                </a:moveTo>
                <a:cubicBezTo>
                  <a:pt x="6468298" y="1706838"/>
                  <a:pt x="6503102" y="1741642"/>
                  <a:pt x="6503102" y="1784572"/>
                </a:cubicBezTo>
                <a:cubicBezTo>
                  <a:pt x="6503102" y="1827505"/>
                  <a:pt x="6468298" y="1862309"/>
                  <a:pt x="6425365" y="1862309"/>
                </a:cubicBezTo>
                <a:cubicBezTo>
                  <a:pt x="6382432" y="1862309"/>
                  <a:pt x="6347628" y="1827505"/>
                  <a:pt x="6347628" y="1784572"/>
                </a:cubicBezTo>
                <a:cubicBezTo>
                  <a:pt x="6347628" y="1741642"/>
                  <a:pt x="6382432" y="1706838"/>
                  <a:pt x="6425365" y="1706838"/>
                </a:cubicBezTo>
                <a:close/>
                <a:moveTo>
                  <a:pt x="6241850" y="1706838"/>
                </a:moveTo>
                <a:cubicBezTo>
                  <a:pt x="6284783" y="1706838"/>
                  <a:pt x="6319587" y="1741642"/>
                  <a:pt x="6319587" y="1784572"/>
                </a:cubicBezTo>
                <a:cubicBezTo>
                  <a:pt x="6319587" y="1827505"/>
                  <a:pt x="6284783" y="1862309"/>
                  <a:pt x="6241850" y="1862309"/>
                </a:cubicBezTo>
                <a:cubicBezTo>
                  <a:pt x="6198917" y="1862309"/>
                  <a:pt x="6164113" y="1827505"/>
                  <a:pt x="6164113" y="1784572"/>
                </a:cubicBezTo>
                <a:cubicBezTo>
                  <a:pt x="6164113" y="1741642"/>
                  <a:pt x="6198917" y="1706838"/>
                  <a:pt x="6241850" y="1706838"/>
                </a:cubicBezTo>
                <a:close/>
                <a:moveTo>
                  <a:pt x="5870112" y="1706838"/>
                </a:moveTo>
                <a:cubicBezTo>
                  <a:pt x="5913045" y="1706838"/>
                  <a:pt x="5947849" y="1741642"/>
                  <a:pt x="5947849" y="1784572"/>
                </a:cubicBezTo>
                <a:cubicBezTo>
                  <a:pt x="5947849" y="1827505"/>
                  <a:pt x="5913045" y="1862309"/>
                  <a:pt x="5870112" y="1862309"/>
                </a:cubicBezTo>
                <a:cubicBezTo>
                  <a:pt x="5827179" y="1862309"/>
                  <a:pt x="5792375" y="1827505"/>
                  <a:pt x="5792375" y="1784572"/>
                </a:cubicBezTo>
                <a:cubicBezTo>
                  <a:pt x="5792375" y="1741642"/>
                  <a:pt x="5827179" y="1706838"/>
                  <a:pt x="5870112" y="1706838"/>
                </a:cubicBezTo>
                <a:close/>
                <a:moveTo>
                  <a:pt x="5681940" y="1706838"/>
                </a:moveTo>
                <a:cubicBezTo>
                  <a:pt x="5724824" y="1706838"/>
                  <a:pt x="5759628" y="1741642"/>
                  <a:pt x="5759628" y="1784572"/>
                </a:cubicBezTo>
                <a:cubicBezTo>
                  <a:pt x="5759628" y="1827505"/>
                  <a:pt x="5724824" y="1862309"/>
                  <a:pt x="5681940" y="1862309"/>
                </a:cubicBezTo>
                <a:cubicBezTo>
                  <a:pt x="5638992" y="1862309"/>
                  <a:pt x="5604179" y="1827505"/>
                  <a:pt x="5604179" y="1784572"/>
                </a:cubicBezTo>
                <a:cubicBezTo>
                  <a:pt x="5604179" y="1741642"/>
                  <a:pt x="5638992" y="1706838"/>
                  <a:pt x="5681940" y="1706838"/>
                </a:cubicBezTo>
                <a:close/>
                <a:moveTo>
                  <a:pt x="5498378" y="1706838"/>
                </a:moveTo>
                <a:cubicBezTo>
                  <a:pt x="5541312" y="1706838"/>
                  <a:pt x="5576128" y="1741642"/>
                  <a:pt x="5576128" y="1784572"/>
                </a:cubicBezTo>
                <a:cubicBezTo>
                  <a:pt x="5576128" y="1827505"/>
                  <a:pt x="5541312" y="1862309"/>
                  <a:pt x="5498378" y="1862309"/>
                </a:cubicBezTo>
                <a:cubicBezTo>
                  <a:pt x="5455449" y="1862309"/>
                  <a:pt x="5420642" y="1827505"/>
                  <a:pt x="5420642" y="1784572"/>
                </a:cubicBezTo>
                <a:cubicBezTo>
                  <a:pt x="5420642" y="1741642"/>
                  <a:pt x="5455449" y="1706838"/>
                  <a:pt x="5498378" y="1706838"/>
                </a:cubicBezTo>
                <a:close/>
                <a:moveTo>
                  <a:pt x="5126655" y="1706835"/>
                </a:moveTo>
                <a:cubicBezTo>
                  <a:pt x="5169590" y="1706835"/>
                  <a:pt x="5204396" y="1741639"/>
                  <a:pt x="5204396" y="1784572"/>
                </a:cubicBezTo>
                <a:cubicBezTo>
                  <a:pt x="5204396" y="1827503"/>
                  <a:pt x="5169590" y="1862307"/>
                  <a:pt x="5126655" y="1862307"/>
                </a:cubicBezTo>
                <a:cubicBezTo>
                  <a:pt x="5083744" y="1862307"/>
                  <a:pt x="5048937" y="1827503"/>
                  <a:pt x="5048937" y="1784572"/>
                </a:cubicBezTo>
                <a:cubicBezTo>
                  <a:pt x="5048937" y="1741639"/>
                  <a:pt x="5083744" y="1706835"/>
                  <a:pt x="5126655" y="1706835"/>
                </a:cubicBezTo>
                <a:close/>
                <a:moveTo>
                  <a:pt x="2689349" y="1706835"/>
                </a:moveTo>
                <a:cubicBezTo>
                  <a:pt x="2732279" y="1706835"/>
                  <a:pt x="2767057" y="1741639"/>
                  <a:pt x="2767057" y="1784572"/>
                </a:cubicBezTo>
                <a:cubicBezTo>
                  <a:pt x="2767057" y="1827503"/>
                  <a:pt x="2732279" y="1862307"/>
                  <a:pt x="2689349" y="1862307"/>
                </a:cubicBezTo>
                <a:cubicBezTo>
                  <a:pt x="2646405" y="1862307"/>
                  <a:pt x="2611614" y="1827503"/>
                  <a:pt x="2611614" y="1784572"/>
                </a:cubicBezTo>
                <a:cubicBezTo>
                  <a:pt x="2611614" y="1741639"/>
                  <a:pt x="2646405" y="1706835"/>
                  <a:pt x="2689349" y="1706835"/>
                </a:cubicBezTo>
                <a:close/>
                <a:moveTo>
                  <a:pt x="2510528" y="1706835"/>
                </a:moveTo>
                <a:cubicBezTo>
                  <a:pt x="2553474" y="1706835"/>
                  <a:pt x="2588274" y="1741639"/>
                  <a:pt x="2588274" y="1784572"/>
                </a:cubicBezTo>
                <a:cubicBezTo>
                  <a:pt x="2588274" y="1827503"/>
                  <a:pt x="2553474" y="1862307"/>
                  <a:pt x="2510528" y="1862307"/>
                </a:cubicBezTo>
                <a:cubicBezTo>
                  <a:pt x="2467583" y="1862307"/>
                  <a:pt x="2432768" y="1827503"/>
                  <a:pt x="2432768" y="1784572"/>
                </a:cubicBezTo>
                <a:cubicBezTo>
                  <a:pt x="2432768" y="1741639"/>
                  <a:pt x="2467583" y="1706835"/>
                  <a:pt x="2510528" y="1706835"/>
                </a:cubicBezTo>
                <a:close/>
                <a:moveTo>
                  <a:pt x="2317563" y="1706835"/>
                </a:moveTo>
                <a:cubicBezTo>
                  <a:pt x="2360489" y="1706835"/>
                  <a:pt x="2395304" y="1741639"/>
                  <a:pt x="2395304" y="1784572"/>
                </a:cubicBezTo>
                <a:cubicBezTo>
                  <a:pt x="2395304" y="1827503"/>
                  <a:pt x="2360489" y="1862307"/>
                  <a:pt x="2317563" y="1862307"/>
                </a:cubicBezTo>
                <a:cubicBezTo>
                  <a:pt x="2274636" y="1862307"/>
                  <a:pt x="2239838" y="1827503"/>
                  <a:pt x="2239838" y="1784572"/>
                </a:cubicBezTo>
                <a:cubicBezTo>
                  <a:pt x="2239838" y="1741639"/>
                  <a:pt x="2274636" y="1706835"/>
                  <a:pt x="2317563" y="1706835"/>
                </a:cubicBezTo>
                <a:close/>
                <a:moveTo>
                  <a:pt x="1569451" y="1706835"/>
                </a:moveTo>
                <a:cubicBezTo>
                  <a:pt x="1612419" y="1706835"/>
                  <a:pt x="1647217" y="1741639"/>
                  <a:pt x="1647217" y="1784572"/>
                </a:cubicBezTo>
                <a:cubicBezTo>
                  <a:pt x="1647217" y="1827503"/>
                  <a:pt x="1612419" y="1862307"/>
                  <a:pt x="1569451" y="1862307"/>
                </a:cubicBezTo>
                <a:cubicBezTo>
                  <a:pt x="1526552" y="1862307"/>
                  <a:pt x="1491739" y="1827503"/>
                  <a:pt x="1491739" y="1784572"/>
                </a:cubicBezTo>
                <a:cubicBezTo>
                  <a:pt x="1491739" y="1741639"/>
                  <a:pt x="1526552" y="1706835"/>
                  <a:pt x="1569451" y="1706835"/>
                </a:cubicBezTo>
                <a:close/>
                <a:moveTo>
                  <a:pt x="1385926" y="1706835"/>
                </a:moveTo>
                <a:cubicBezTo>
                  <a:pt x="1428872" y="1706835"/>
                  <a:pt x="1463687" y="1741639"/>
                  <a:pt x="1463687" y="1784572"/>
                </a:cubicBezTo>
                <a:cubicBezTo>
                  <a:pt x="1463687" y="1827503"/>
                  <a:pt x="1428872" y="1862307"/>
                  <a:pt x="1385926" y="1862307"/>
                </a:cubicBezTo>
                <a:cubicBezTo>
                  <a:pt x="1342981" y="1862307"/>
                  <a:pt x="1308166" y="1827503"/>
                  <a:pt x="1308166" y="1784572"/>
                </a:cubicBezTo>
                <a:cubicBezTo>
                  <a:pt x="1308166" y="1741639"/>
                  <a:pt x="1342981" y="1706835"/>
                  <a:pt x="1385926" y="1706835"/>
                </a:cubicBezTo>
                <a:close/>
                <a:moveTo>
                  <a:pt x="1202386" y="1706835"/>
                </a:moveTo>
                <a:cubicBezTo>
                  <a:pt x="1245316" y="1706835"/>
                  <a:pt x="1280117" y="1741639"/>
                  <a:pt x="1280117" y="1784572"/>
                </a:cubicBezTo>
                <a:cubicBezTo>
                  <a:pt x="1280117" y="1827503"/>
                  <a:pt x="1245316" y="1862307"/>
                  <a:pt x="1202386" y="1862307"/>
                </a:cubicBezTo>
                <a:cubicBezTo>
                  <a:pt x="1159430" y="1862307"/>
                  <a:pt x="1124679" y="1827503"/>
                  <a:pt x="1124679" y="1784572"/>
                </a:cubicBezTo>
                <a:cubicBezTo>
                  <a:pt x="1124679" y="1741639"/>
                  <a:pt x="1159430" y="1706835"/>
                  <a:pt x="1202386" y="1706835"/>
                </a:cubicBezTo>
                <a:close/>
                <a:moveTo>
                  <a:pt x="1014150" y="1706835"/>
                </a:moveTo>
                <a:cubicBezTo>
                  <a:pt x="1057083" y="1706835"/>
                  <a:pt x="1091910" y="1741639"/>
                  <a:pt x="1091910" y="1784572"/>
                </a:cubicBezTo>
                <a:cubicBezTo>
                  <a:pt x="1091910" y="1827503"/>
                  <a:pt x="1057083" y="1862307"/>
                  <a:pt x="1014150" y="1862307"/>
                </a:cubicBezTo>
                <a:cubicBezTo>
                  <a:pt x="971254" y="1862307"/>
                  <a:pt x="936446" y="1827503"/>
                  <a:pt x="936446" y="1784572"/>
                </a:cubicBezTo>
                <a:cubicBezTo>
                  <a:pt x="936446" y="1741639"/>
                  <a:pt x="971254" y="1706835"/>
                  <a:pt x="1014150" y="1706835"/>
                </a:cubicBezTo>
                <a:close/>
                <a:moveTo>
                  <a:pt x="830642" y="1706835"/>
                </a:moveTo>
                <a:cubicBezTo>
                  <a:pt x="873563" y="1706835"/>
                  <a:pt x="908402" y="1741639"/>
                  <a:pt x="908402" y="1784572"/>
                </a:cubicBezTo>
                <a:cubicBezTo>
                  <a:pt x="908402" y="1827503"/>
                  <a:pt x="873563" y="1862307"/>
                  <a:pt x="830642" y="1862307"/>
                </a:cubicBezTo>
                <a:cubicBezTo>
                  <a:pt x="787700" y="1862307"/>
                  <a:pt x="752900" y="1827503"/>
                  <a:pt x="752900" y="1784572"/>
                </a:cubicBezTo>
                <a:cubicBezTo>
                  <a:pt x="752900" y="1741639"/>
                  <a:pt x="787700" y="1706835"/>
                  <a:pt x="830642" y="1706835"/>
                </a:cubicBezTo>
                <a:close/>
                <a:moveTo>
                  <a:pt x="642409" y="1706835"/>
                </a:moveTo>
                <a:cubicBezTo>
                  <a:pt x="685348" y="1706835"/>
                  <a:pt x="720151" y="1741639"/>
                  <a:pt x="720151" y="1784572"/>
                </a:cubicBezTo>
                <a:cubicBezTo>
                  <a:pt x="720151" y="1827503"/>
                  <a:pt x="685348" y="1862307"/>
                  <a:pt x="642409" y="1862307"/>
                </a:cubicBezTo>
                <a:cubicBezTo>
                  <a:pt x="599479" y="1862307"/>
                  <a:pt x="564675" y="1827503"/>
                  <a:pt x="564675" y="1784572"/>
                </a:cubicBezTo>
                <a:cubicBezTo>
                  <a:pt x="564675" y="1741639"/>
                  <a:pt x="599479" y="1706835"/>
                  <a:pt x="642409" y="1706835"/>
                </a:cubicBezTo>
                <a:close/>
                <a:moveTo>
                  <a:pt x="458896" y="1706835"/>
                </a:moveTo>
                <a:cubicBezTo>
                  <a:pt x="501829" y="1706835"/>
                  <a:pt x="536634" y="1741639"/>
                  <a:pt x="536634" y="1784572"/>
                </a:cubicBezTo>
                <a:cubicBezTo>
                  <a:pt x="536634" y="1827503"/>
                  <a:pt x="501829" y="1862307"/>
                  <a:pt x="458896" y="1862307"/>
                </a:cubicBezTo>
                <a:cubicBezTo>
                  <a:pt x="415965" y="1862307"/>
                  <a:pt x="381164" y="1827503"/>
                  <a:pt x="381164" y="1784572"/>
                </a:cubicBezTo>
                <a:cubicBezTo>
                  <a:pt x="381164" y="1741639"/>
                  <a:pt x="415965" y="1706835"/>
                  <a:pt x="458896" y="1706835"/>
                </a:cubicBezTo>
                <a:close/>
                <a:moveTo>
                  <a:pt x="9900311" y="1615146"/>
                </a:moveTo>
                <a:lnTo>
                  <a:pt x="9995426" y="1689399"/>
                </a:lnTo>
                <a:lnTo>
                  <a:pt x="9978043" y="1692909"/>
                </a:lnTo>
                <a:cubicBezTo>
                  <a:pt x="9935110" y="1692909"/>
                  <a:pt x="9900306" y="1658105"/>
                  <a:pt x="9900306" y="1615171"/>
                </a:cubicBezTo>
                <a:close/>
                <a:moveTo>
                  <a:pt x="492851" y="1546029"/>
                </a:moveTo>
                <a:lnTo>
                  <a:pt x="513874" y="1560204"/>
                </a:lnTo>
                <a:cubicBezTo>
                  <a:pt x="527942" y="1574271"/>
                  <a:pt x="536643" y="1593705"/>
                  <a:pt x="536643" y="1615171"/>
                </a:cubicBezTo>
                <a:cubicBezTo>
                  <a:pt x="536643" y="1658105"/>
                  <a:pt x="501839" y="1692909"/>
                  <a:pt x="458906" y="1692909"/>
                </a:cubicBezTo>
                <a:cubicBezTo>
                  <a:pt x="426707" y="1692909"/>
                  <a:pt x="399082" y="1673332"/>
                  <a:pt x="387281" y="1645430"/>
                </a:cubicBezTo>
                <a:lnTo>
                  <a:pt x="384319" y="1630757"/>
                </a:lnTo>
                <a:close/>
                <a:moveTo>
                  <a:pt x="9789822" y="1537435"/>
                </a:moveTo>
                <a:lnTo>
                  <a:pt x="9804588" y="1540416"/>
                </a:lnTo>
                <a:lnTo>
                  <a:pt x="9861298" y="1584689"/>
                </a:lnTo>
                <a:lnTo>
                  <a:pt x="9861449" y="1584913"/>
                </a:lnTo>
                <a:cubicBezTo>
                  <a:pt x="9865383" y="1594213"/>
                  <a:pt x="9867558" y="1604438"/>
                  <a:pt x="9867558" y="1615171"/>
                </a:cubicBezTo>
                <a:cubicBezTo>
                  <a:pt x="9867558" y="1658105"/>
                  <a:pt x="9832754" y="1692909"/>
                  <a:pt x="9789822" y="1692909"/>
                </a:cubicBezTo>
                <a:cubicBezTo>
                  <a:pt x="9746889" y="1692909"/>
                  <a:pt x="9712085" y="1658105"/>
                  <a:pt x="9712085" y="1615171"/>
                </a:cubicBezTo>
                <a:cubicBezTo>
                  <a:pt x="9712085" y="1572239"/>
                  <a:pt x="9746889" y="1537435"/>
                  <a:pt x="9789822" y="1537435"/>
                </a:cubicBezTo>
                <a:close/>
                <a:moveTo>
                  <a:pt x="9606304" y="1537435"/>
                </a:moveTo>
                <a:cubicBezTo>
                  <a:pt x="9649237" y="1537435"/>
                  <a:pt x="9684041" y="1572239"/>
                  <a:pt x="9684041" y="1615171"/>
                </a:cubicBezTo>
                <a:cubicBezTo>
                  <a:pt x="9684041" y="1658105"/>
                  <a:pt x="9649237" y="1692909"/>
                  <a:pt x="9606304" y="1692909"/>
                </a:cubicBezTo>
                <a:cubicBezTo>
                  <a:pt x="9563372" y="1692909"/>
                  <a:pt x="9528568" y="1658105"/>
                  <a:pt x="9528568" y="1615171"/>
                </a:cubicBezTo>
                <a:cubicBezTo>
                  <a:pt x="9528568" y="1572239"/>
                  <a:pt x="9563372" y="1537435"/>
                  <a:pt x="9606304" y="1537435"/>
                </a:cubicBezTo>
                <a:close/>
                <a:moveTo>
                  <a:pt x="9413377" y="1537435"/>
                </a:moveTo>
                <a:cubicBezTo>
                  <a:pt x="9456310" y="1537435"/>
                  <a:pt x="9491114" y="1572239"/>
                  <a:pt x="9491114" y="1615171"/>
                </a:cubicBezTo>
                <a:cubicBezTo>
                  <a:pt x="9491114" y="1658105"/>
                  <a:pt x="9456310" y="1692909"/>
                  <a:pt x="9413377" y="1692909"/>
                </a:cubicBezTo>
                <a:cubicBezTo>
                  <a:pt x="9370444" y="1692909"/>
                  <a:pt x="9335640" y="1658105"/>
                  <a:pt x="9335640" y="1615171"/>
                </a:cubicBezTo>
                <a:cubicBezTo>
                  <a:pt x="9335640" y="1572239"/>
                  <a:pt x="9370444" y="1537435"/>
                  <a:pt x="9413377" y="1537435"/>
                </a:cubicBezTo>
                <a:close/>
                <a:moveTo>
                  <a:pt x="9234567" y="1537435"/>
                </a:moveTo>
                <a:cubicBezTo>
                  <a:pt x="9277500" y="1537435"/>
                  <a:pt x="9312304" y="1572239"/>
                  <a:pt x="9312304" y="1615171"/>
                </a:cubicBezTo>
                <a:cubicBezTo>
                  <a:pt x="9312304" y="1658105"/>
                  <a:pt x="9277500" y="1692909"/>
                  <a:pt x="9234567" y="1692909"/>
                </a:cubicBezTo>
                <a:cubicBezTo>
                  <a:pt x="9191635" y="1692909"/>
                  <a:pt x="9156831" y="1658105"/>
                  <a:pt x="9156831" y="1615171"/>
                </a:cubicBezTo>
                <a:cubicBezTo>
                  <a:pt x="9156831" y="1572239"/>
                  <a:pt x="9191635" y="1537435"/>
                  <a:pt x="9234567" y="1537435"/>
                </a:cubicBezTo>
                <a:close/>
                <a:moveTo>
                  <a:pt x="9036935" y="1537435"/>
                </a:moveTo>
                <a:cubicBezTo>
                  <a:pt x="9079868" y="1537435"/>
                  <a:pt x="9114672" y="1572239"/>
                  <a:pt x="9114672" y="1615171"/>
                </a:cubicBezTo>
                <a:cubicBezTo>
                  <a:pt x="9114672" y="1658105"/>
                  <a:pt x="9079868" y="1692909"/>
                  <a:pt x="9036935" y="1692909"/>
                </a:cubicBezTo>
                <a:cubicBezTo>
                  <a:pt x="8994002" y="1692909"/>
                  <a:pt x="8959198" y="1658105"/>
                  <a:pt x="8959198" y="1615171"/>
                </a:cubicBezTo>
                <a:cubicBezTo>
                  <a:pt x="8959198" y="1572239"/>
                  <a:pt x="8994002" y="1537435"/>
                  <a:pt x="9036935" y="1537435"/>
                </a:cubicBezTo>
                <a:close/>
                <a:moveTo>
                  <a:pt x="8853419" y="1537435"/>
                </a:moveTo>
                <a:cubicBezTo>
                  <a:pt x="8896352" y="1537435"/>
                  <a:pt x="8931156" y="1572239"/>
                  <a:pt x="8931156" y="1615171"/>
                </a:cubicBezTo>
                <a:cubicBezTo>
                  <a:pt x="8931156" y="1658105"/>
                  <a:pt x="8896352" y="1692909"/>
                  <a:pt x="8853419" y="1692909"/>
                </a:cubicBezTo>
                <a:cubicBezTo>
                  <a:pt x="8810486" y="1692909"/>
                  <a:pt x="8775682" y="1658105"/>
                  <a:pt x="8775682" y="1615171"/>
                </a:cubicBezTo>
                <a:cubicBezTo>
                  <a:pt x="8775682" y="1572239"/>
                  <a:pt x="8810486" y="1537435"/>
                  <a:pt x="8853419" y="1537435"/>
                </a:cubicBezTo>
                <a:close/>
                <a:moveTo>
                  <a:pt x="8669904" y="1537435"/>
                </a:moveTo>
                <a:cubicBezTo>
                  <a:pt x="8712837" y="1537435"/>
                  <a:pt x="8747641" y="1572239"/>
                  <a:pt x="8747641" y="1615171"/>
                </a:cubicBezTo>
                <a:cubicBezTo>
                  <a:pt x="8747641" y="1658105"/>
                  <a:pt x="8712837" y="1692909"/>
                  <a:pt x="8669904" y="1692909"/>
                </a:cubicBezTo>
                <a:cubicBezTo>
                  <a:pt x="8626971" y="1692909"/>
                  <a:pt x="8592167" y="1658105"/>
                  <a:pt x="8592167" y="1615171"/>
                </a:cubicBezTo>
                <a:cubicBezTo>
                  <a:pt x="8592167" y="1572239"/>
                  <a:pt x="8626971" y="1537435"/>
                  <a:pt x="8669904" y="1537435"/>
                </a:cubicBezTo>
                <a:close/>
                <a:moveTo>
                  <a:pt x="8481681" y="1537435"/>
                </a:moveTo>
                <a:cubicBezTo>
                  <a:pt x="8524614" y="1537435"/>
                  <a:pt x="8559418" y="1572239"/>
                  <a:pt x="8559418" y="1615171"/>
                </a:cubicBezTo>
                <a:cubicBezTo>
                  <a:pt x="8559418" y="1658105"/>
                  <a:pt x="8524614" y="1692909"/>
                  <a:pt x="8481681" y="1692909"/>
                </a:cubicBezTo>
                <a:cubicBezTo>
                  <a:pt x="8438748" y="1692909"/>
                  <a:pt x="8403944" y="1658105"/>
                  <a:pt x="8403944" y="1615171"/>
                </a:cubicBezTo>
                <a:cubicBezTo>
                  <a:pt x="8403944" y="1572239"/>
                  <a:pt x="8438748" y="1537435"/>
                  <a:pt x="8481681" y="1537435"/>
                </a:cubicBezTo>
                <a:close/>
                <a:moveTo>
                  <a:pt x="8298166" y="1537435"/>
                </a:moveTo>
                <a:cubicBezTo>
                  <a:pt x="8341099" y="1537435"/>
                  <a:pt x="8375903" y="1572239"/>
                  <a:pt x="8375903" y="1615171"/>
                </a:cubicBezTo>
                <a:cubicBezTo>
                  <a:pt x="8375903" y="1658105"/>
                  <a:pt x="8341099" y="1692909"/>
                  <a:pt x="8298166" y="1692909"/>
                </a:cubicBezTo>
                <a:cubicBezTo>
                  <a:pt x="8255233" y="1692909"/>
                  <a:pt x="8220429" y="1658105"/>
                  <a:pt x="8220429" y="1615171"/>
                </a:cubicBezTo>
                <a:cubicBezTo>
                  <a:pt x="8220429" y="1572239"/>
                  <a:pt x="8255233" y="1537435"/>
                  <a:pt x="8298166" y="1537435"/>
                </a:cubicBezTo>
                <a:close/>
                <a:moveTo>
                  <a:pt x="8109946" y="1537435"/>
                </a:moveTo>
                <a:cubicBezTo>
                  <a:pt x="8152879" y="1537435"/>
                  <a:pt x="8187683" y="1572239"/>
                  <a:pt x="8187683" y="1615171"/>
                </a:cubicBezTo>
                <a:cubicBezTo>
                  <a:pt x="8187683" y="1658105"/>
                  <a:pt x="8152879" y="1692909"/>
                  <a:pt x="8109946" y="1692909"/>
                </a:cubicBezTo>
                <a:cubicBezTo>
                  <a:pt x="8067013" y="1692909"/>
                  <a:pt x="8032209" y="1658105"/>
                  <a:pt x="8032209" y="1615171"/>
                </a:cubicBezTo>
                <a:cubicBezTo>
                  <a:pt x="8032209" y="1572239"/>
                  <a:pt x="8067013" y="1537435"/>
                  <a:pt x="8109946" y="1537435"/>
                </a:cubicBezTo>
                <a:close/>
                <a:moveTo>
                  <a:pt x="7926429" y="1537435"/>
                </a:moveTo>
                <a:cubicBezTo>
                  <a:pt x="7969362" y="1537435"/>
                  <a:pt x="8004166" y="1572239"/>
                  <a:pt x="8004166" y="1615171"/>
                </a:cubicBezTo>
                <a:cubicBezTo>
                  <a:pt x="8004166" y="1658105"/>
                  <a:pt x="7969362" y="1692909"/>
                  <a:pt x="7926429" y="1692909"/>
                </a:cubicBezTo>
                <a:cubicBezTo>
                  <a:pt x="7883496" y="1692909"/>
                  <a:pt x="7848692" y="1658105"/>
                  <a:pt x="7848692" y="1615171"/>
                </a:cubicBezTo>
                <a:cubicBezTo>
                  <a:pt x="7848692" y="1572239"/>
                  <a:pt x="7883496" y="1537435"/>
                  <a:pt x="7926429" y="1537435"/>
                </a:cubicBezTo>
                <a:close/>
                <a:moveTo>
                  <a:pt x="7738208" y="1537435"/>
                </a:moveTo>
                <a:cubicBezTo>
                  <a:pt x="7781141" y="1537435"/>
                  <a:pt x="7815945" y="1572239"/>
                  <a:pt x="7815945" y="1615171"/>
                </a:cubicBezTo>
                <a:cubicBezTo>
                  <a:pt x="7815945" y="1658105"/>
                  <a:pt x="7781141" y="1692909"/>
                  <a:pt x="7738208" y="1692909"/>
                </a:cubicBezTo>
                <a:cubicBezTo>
                  <a:pt x="7695275" y="1692909"/>
                  <a:pt x="7660471" y="1658105"/>
                  <a:pt x="7660471" y="1615171"/>
                </a:cubicBezTo>
                <a:cubicBezTo>
                  <a:pt x="7660471" y="1572239"/>
                  <a:pt x="7695275" y="1537435"/>
                  <a:pt x="7738208" y="1537435"/>
                </a:cubicBezTo>
                <a:close/>
                <a:moveTo>
                  <a:pt x="7554691" y="1537435"/>
                </a:moveTo>
                <a:cubicBezTo>
                  <a:pt x="7597624" y="1537435"/>
                  <a:pt x="7632428" y="1572239"/>
                  <a:pt x="7632428" y="1615171"/>
                </a:cubicBezTo>
                <a:cubicBezTo>
                  <a:pt x="7632428" y="1658105"/>
                  <a:pt x="7597624" y="1692909"/>
                  <a:pt x="7554691" y="1692909"/>
                </a:cubicBezTo>
                <a:cubicBezTo>
                  <a:pt x="7511758" y="1692909"/>
                  <a:pt x="7476954" y="1658105"/>
                  <a:pt x="7476954" y="1615171"/>
                </a:cubicBezTo>
                <a:cubicBezTo>
                  <a:pt x="7476954" y="1572239"/>
                  <a:pt x="7511758" y="1537435"/>
                  <a:pt x="7554691" y="1537435"/>
                </a:cubicBezTo>
                <a:close/>
                <a:moveTo>
                  <a:pt x="7366470" y="1537435"/>
                </a:moveTo>
                <a:cubicBezTo>
                  <a:pt x="7409403" y="1537435"/>
                  <a:pt x="7444207" y="1572239"/>
                  <a:pt x="7444207" y="1615171"/>
                </a:cubicBezTo>
                <a:cubicBezTo>
                  <a:pt x="7444207" y="1658105"/>
                  <a:pt x="7409403" y="1692909"/>
                  <a:pt x="7366470" y="1692909"/>
                </a:cubicBezTo>
                <a:cubicBezTo>
                  <a:pt x="7323537" y="1692909"/>
                  <a:pt x="7288733" y="1658105"/>
                  <a:pt x="7288733" y="1615171"/>
                </a:cubicBezTo>
                <a:cubicBezTo>
                  <a:pt x="7288733" y="1572239"/>
                  <a:pt x="7323537" y="1537435"/>
                  <a:pt x="7366470" y="1537435"/>
                </a:cubicBezTo>
                <a:close/>
                <a:moveTo>
                  <a:pt x="7178249" y="1537435"/>
                </a:moveTo>
                <a:cubicBezTo>
                  <a:pt x="7221182" y="1537435"/>
                  <a:pt x="7255986" y="1572239"/>
                  <a:pt x="7255986" y="1615171"/>
                </a:cubicBezTo>
                <a:cubicBezTo>
                  <a:pt x="7255986" y="1658105"/>
                  <a:pt x="7221182" y="1692909"/>
                  <a:pt x="7178249" y="1692909"/>
                </a:cubicBezTo>
                <a:cubicBezTo>
                  <a:pt x="7135316" y="1692909"/>
                  <a:pt x="7100512" y="1658105"/>
                  <a:pt x="7100512" y="1615171"/>
                </a:cubicBezTo>
                <a:cubicBezTo>
                  <a:pt x="7100512" y="1572239"/>
                  <a:pt x="7135316" y="1537435"/>
                  <a:pt x="7178249" y="1537435"/>
                </a:cubicBezTo>
                <a:close/>
                <a:moveTo>
                  <a:pt x="6985324" y="1537435"/>
                </a:moveTo>
                <a:cubicBezTo>
                  <a:pt x="7028257" y="1537435"/>
                  <a:pt x="7063061" y="1572239"/>
                  <a:pt x="7063061" y="1615171"/>
                </a:cubicBezTo>
                <a:cubicBezTo>
                  <a:pt x="7063061" y="1658105"/>
                  <a:pt x="7028257" y="1692909"/>
                  <a:pt x="6985324" y="1692909"/>
                </a:cubicBezTo>
                <a:cubicBezTo>
                  <a:pt x="6942391" y="1692909"/>
                  <a:pt x="6907587" y="1658105"/>
                  <a:pt x="6907587" y="1615171"/>
                </a:cubicBezTo>
                <a:cubicBezTo>
                  <a:pt x="6907587" y="1572239"/>
                  <a:pt x="6942391" y="1537435"/>
                  <a:pt x="6985324" y="1537435"/>
                </a:cubicBezTo>
                <a:close/>
                <a:moveTo>
                  <a:pt x="6801807" y="1537435"/>
                </a:moveTo>
                <a:cubicBezTo>
                  <a:pt x="6844740" y="1537435"/>
                  <a:pt x="6879544" y="1572239"/>
                  <a:pt x="6879544" y="1615171"/>
                </a:cubicBezTo>
                <a:cubicBezTo>
                  <a:pt x="6879544" y="1658105"/>
                  <a:pt x="6844740" y="1692909"/>
                  <a:pt x="6801807" y="1692909"/>
                </a:cubicBezTo>
                <a:cubicBezTo>
                  <a:pt x="6758874" y="1692909"/>
                  <a:pt x="6724070" y="1658105"/>
                  <a:pt x="6724070" y="1615171"/>
                </a:cubicBezTo>
                <a:cubicBezTo>
                  <a:pt x="6724070" y="1572239"/>
                  <a:pt x="6758874" y="1537435"/>
                  <a:pt x="6801807" y="1537435"/>
                </a:cubicBezTo>
                <a:close/>
                <a:moveTo>
                  <a:pt x="6613585" y="1537435"/>
                </a:moveTo>
                <a:cubicBezTo>
                  <a:pt x="6656518" y="1537435"/>
                  <a:pt x="6691322" y="1572239"/>
                  <a:pt x="6691322" y="1615171"/>
                </a:cubicBezTo>
                <a:cubicBezTo>
                  <a:pt x="6691322" y="1658105"/>
                  <a:pt x="6656518" y="1692909"/>
                  <a:pt x="6613585" y="1692909"/>
                </a:cubicBezTo>
                <a:cubicBezTo>
                  <a:pt x="6570652" y="1692909"/>
                  <a:pt x="6535848" y="1658105"/>
                  <a:pt x="6535848" y="1615171"/>
                </a:cubicBezTo>
                <a:cubicBezTo>
                  <a:pt x="6535848" y="1572239"/>
                  <a:pt x="6570652" y="1537435"/>
                  <a:pt x="6613585" y="1537435"/>
                </a:cubicBezTo>
                <a:close/>
                <a:moveTo>
                  <a:pt x="6425364" y="1537435"/>
                </a:moveTo>
                <a:cubicBezTo>
                  <a:pt x="6468297" y="1537435"/>
                  <a:pt x="6503101" y="1572239"/>
                  <a:pt x="6503101" y="1615171"/>
                </a:cubicBezTo>
                <a:cubicBezTo>
                  <a:pt x="6503101" y="1658105"/>
                  <a:pt x="6468297" y="1692909"/>
                  <a:pt x="6425364" y="1692909"/>
                </a:cubicBezTo>
                <a:cubicBezTo>
                  <a:pt x="6382431" y="1692909"/>
                  <a:pt x="6347627" y="1658105"/>
                  <a:pt x="6347627" y="1615171"/>
                </a:cubicBezTo>
                <a:cubicBezTo>
                  <a:pt x="6347627" y="1572239"/>
                  <a:pt x="6382431" y="1537435"/>
                  <a:pt x="6425364" y="1537435"/>
                </a:cubicBezTo>
                <a:close/>
                <a:moveTo>
                  <a:pt x="6241848" y="1537435"/>
                </a:moveTo>
                <a:cubicBezTo>
                  <a:pt x="6284781" y="1537435"/>
                  <a:pt x="6319585" y="1572239"/>
                  <a:pt x="6319585" y="1615171"/>
                </a:cubicBezTo>
                <a:cubicBezTo>
                  <a:pt x="6319585" y="1658105"/>
                  <a:pt x="6284781" y="1692909"/>
                  <a:pt x="6241848" y="1692909"/>
                </a:cubicBezTo>
                <a:cubicBezTo>
                  <a:pt x="6198915" y="1692909"/>
                  <a:pt x="6164111" y="1658105"/>
                  <a:pt x="6164111" y="1615171"/>
                </a:cubicBezTo>
                <a:cubicBezTo>
                  <a:pt x="6164111" y="1572239"/>
                  <a:pt x="6198915" y="1537435"/>
                  <a:pt x="6241848" y="1537435"/>
                </a:cubicBezTo>
                <a:close/>
                <a:moveTo>
                  <a:pt x="5870110" y="1537435"/>
                </a:moveTo>
                <a:cubicBezTo>
                  <a:pt x="5913043" y="1537435"/>
                  <a:pt x="5947847" y="1572239"/>
                  <a:pt x="5947847" y="1615171"/>
                </a:cubicBezTo>
                <a:cubicBezTo>
                  <a:pt x="5947847" y="1658105"/>
                  <a:pt x="5913043" y="1692909"/>
                  <a:pt x="5870110" y="1692909"/>
                </a:cubicBezTo>
                <a:cubicBezTo>
                  <a:pt x="5827177" y="1692909"/>
                  <a:pt x="5792373" y="1658105"/>
                  <a:pt x="5792373" y="1615171"/>
                </a:cubicBezTo>
                <a:cubicBezTo>
                  <a:pt x="5792373" y="1572239"/>
                  <a:pt x="5827177" y="1537435"/>
                  <a:pt x="5870110" y="1537435"/>
                </a:cubicBezTo>
                <a:close/>
                <a:moveTo>
                  <a:pt x="5681940" y="1537435"/>
                </a:moveTo>
                <a:cubicBezTo>
                  <a:pt x="5724822" y="1537435"/>
                  <a:pt x="5759626" y="1572239"/>
                  <a:pt x="5759626" y="1615171"/>
                </a:cubicBezTo>
                <a:cubicBezTo>
                  <a:pt x="5759626" y="1658105"/>
                  <a:pt x="5724822" y="1692909"/>
                  <a:pt x="5681940" y="1692909"/>
                </a:cubicBezTo>
                <a:cubicBezTo>
                  <a:pt x="5638992" y="1692909"/>
                  <a:pt x="5604176" y="1658105"/>
                  <a:pt x="5604176" y="1615171"/>
                </a:cubicBezTo>
                <a:cubicBezTo>
                  <a:pt x="5604176" y="1572239"/>
                  <a:pt x="5638992" y="1537435"/>
                  <a:pt x="5681940" y="1537435"/>
                </a:cubicBezTo>
                <a:close/>
                <a:moveTo>
                  <a:pt x="5498376" y="1537435"/>
                </a:moveTo>
                <a:cubicBezTo>
                  <a:pt x="5541312" y="1537435"/>
                  <a:pt x="5576126" y="1572239"/>
                  <a:pt x="5576126" y="1615171"/>
                </a:cubicBezTo>
                <a:cubicBezTo>
                  <a:pt x="5576126" y="1658105"/>
                  <a:pt x="5541312" y="1692909"/>
                  <a:pt x="5498376" y="1692909"/>
                </a:cubicBezTo>
                <a:cubicBezTo>
                  <a:pt x="5455449" y="1692909"/>
                  <a:pt x="5420640" y="1658105"/>
                  <a:pt x="5420640" y="1615171"/>
                </a:cubicBezTo>
                <a:cubicBezTo>
                  <a:pt x="5420640" y="1572239"/>
                  <a:pt x="5455449" y="1537435"/>
                  <a:pt x="5498376" y="1537435"/>
                </a:cubicBezTo>
                <a:close/>
                <a:moveTo>
                  <a:pt x="3625627" y="1537435"/>
                </a:moveTo>
                <a:cubicBezTo>
                  <a:pt x="3668543" y="1537435"/>
                  <a:pt x="3703372" y="1572239"/>
                  <a:pt x="3703372" y="1615171"/>
                </a:cubicBezTo>
                <a:cubicBezTo>
                  <a:pt x="3703372" y="1658105"/>
                  <a:pt x="3668543" y="1692909"/>
                  <a:pt x="3625627" y="1692909"/>
                </a:cubicBezTo>
                <a:cubicBezTo>
                  <a:pt x="3582679" y="1692909"/>
                  <a:pt x="3547901" y="1658105"/>
                  <a:pt x="3547901" y="1615171"/>
                </a:cubicBezTo>
                <a:cubicBezTo>
                  <a:pt x="3547901" y="1572239"/>
                  <a:pt x="3582679" y="1537435"/>
                  <a:pt x="3625627" y="1537435"/>
                </a:cubicBezTo>
                <a:close/>
                <a:moveTo>
                  <a:pt x="2317572" y="1537435"/>
                </a:moveTo>
                <a:cubicBezTo>
                  <a:pt x="2360497" y="1537435"/>
                  <a:pt x="2395313" y="1572239"/>
                  <a:pt x="2395313" y="1615171"/>
                </a:cubicBezTo>
                <a:cubicBezTo>
                  <a:pt x="2395313" y="1658105"/>
                  <a:pt x="2360497" y="1692909"/>
                  <a:pt x="2317572" y="1692909"/>
                </a:cubicBezTo>
                <a:cubicBezTo>
                  <a:pt x="2274645" y="1692909"/>
                  <a:pt x="2239845" y="1658105"/>
                  <a:pt x="2239845" y="1615171"/>
                </a:cubicBezTo>
                <a:cubicBezTo>
                  <a:pt x="2239845" y="1572239"/>
                  <a:pt x="2274645" y="1537435"/>
                  <a:pt x="2317572" y="1537435"/>
                </a:cubicBezTo>
                <a:close/>
                <a:moveTo>
                  <a:pt x="1569475" y="1537435"/>
                </a:moveTo>
                <a:cubicBezTo>
                  <a:pt x="1612435" y="1537435"/>
                  <a:pt x="1647232" y="1572239"/>
                  <a:pt x="1647232" y="1615171"/>
                </a:cubicBezTo>
                <a:cubicBezTo>
                  <a:pt x="1647232" y="1658105"/>
                  <a:pt x="1612435" y="1692909"/>
                  <a:pt x="1569475" y="1692909"/>
                </a:cubicBezTo>
                <a:cubicBezTo>
                  <a:pt x="1526564" y="1692909"/>
                  <a:pt x="1491752" y="1658105"/>
                  <a:pt x="1491752" y="1615171"/>
                </a:cubicBezTo>
                <a:cubicBezTo>
                  <a:pt x="1491752" y="1572239"/>
                  <a:pt x="1526564" y="1537435"/>
                  <a:pt x="1569475" y="1537435"/>
                </a:cubicBezTo>
                <a:close/>
                <a:moveTo>
                  <a:pt x="1385938" y="1537435"/>
                </a:moveTo>
                <a:cubicBezTo>
                  <a:pt x="1428884" y="1537435"/>
                  <a:pt x="1463700" y="1572239"/>
                  <a:pt x="1463700" y="1615171"/>
                </a:cubicBezTo>
                <a:cubicBezTo>
                  <a:pt x="1463700" y="1658105"/>
                  <a:pt x="1428884" y="1692909"/>
                  <a:pt x="1385938" y="1692909"/>
                </a:cubicBezTo>
                <a:cubicBezTo>
                  <a:pt x="1342992" y="1692909"/>
                  <a:pt x="1308177" y="1658105"/>
                  <a:pt x="1308177" y="1615171"/>
                </a:cubicBezTo>
                <a:cubicBezTo>
                  <a:pt x="1308177" y="1572239"/>
                  <a:pt x="1342992" y="1537435"/>
                  <a:pt x="1385938" y="1537435"/>
                </a:cubicBezTo>
                <a:close/>
                <a:moveTo>
                  <a:pt x="1202397" y="1537435"/>
                </a:moveTo>
                <a:cubicBezTo>
                  <a:pt x="1245327" y="1537435"/>
                  <a:pt x="1280126" y="1572239"/>
                  <a:pt x="1280126" y="1615171"/>
                </a:cubicBezTo>
                <a:cubicBezTo>
                  <a:pt x="1280126" y="1658105"/>
                  <a:pt x="1245327" y="1692909"/>
                  <a:pt x="1202397" y="1692909"/>
                </a:cubicBezTo>
                <a:cubicBezTo>
                  <a:pt x="1159443" y="1692909"/>
                  <a:pt x="1124687" y="1658105"/>
                  <a:pt x="1124687" y="1615171"/>
                </a:cubicBezTo>
                <a:cubicBezTo>
                  <a:pt x="1124687" y="1572239"/>
                  <a:pt x="1159443" y="1537435"/>
                  <a:pt x="1202397" y="1537435"/>
                </a:cubicBezTo>
                <a:close/>
                <a:moveTo>
                  <a:pt x="1014150" y="1537435"/>
                </a:moveTo>
                <a:cubicBezTo>
                  <a:pt x="1057083" y="1537435"/>
                  <a:pt x="1091922" y="1572239"/>
                  <a:pt x="1091922" y="1615171"/>
                </a:cubicBezTo>
                <a:cubicBezTo>
                  <a:pt x="1091922" y="1658105"/>
                  <a:pt x="1057083" y="1692909"/>
                  <a:pt x="1014150" y="1692909"/>
                </a:cubicBezTo>
                <a:cubicBezTo>
                  <a:pt x="971264" y="1692909"/>
                  <a:pt x="936457" y="1658105"/>
                  <a:pt x="936457" y="1615171"/>
                </a:cubicBezTo>
                <a:cubicBezTo>
                  <a:pt x="936457" y="1572239"/>
                  <a:pt x="971264" y="1537435"/>
                  <a:pt x="1014150" y="1537435"/>
                </a:cubicBezTo>
                <a:close/>
                <a:moveTo>
                  <a:pt x="830653" y="1537435"/>
                </a:moveTo>
                <a:cubicBezTo>
                  <a:pt x="873572" y="1537435"/>
                  <a:pt x="908411" y="1572239"/>
                  <a:pt x="908411" y="1615171"/>
                </a:cubicBezTo>
                <a:cubicBezTo>
                  <a:pt x="908411" y="1658105"/>
                  <a:pt x="873572" y="1692909"/>
                  <a:pt x="830653" y="1692909"/>
                </a:cubicBezTo>
                <a:cubicBezTo>
                  <a:pt x="787708" y="1692909"/>
                  <a:pt x="752908" y="1658105"/>
                  <a:pt x="752908" y="1615171"/>
                </a:cubicBezTo>
                <a:cubicBezTo>
                  <a:pt x="752908" y="1572239"/>
                  <a:pt x="787708" y="1537435"/>
                  <a:pt x="830653" y="1537435"/>
                </a:cubicBezTo>
                <a:close/>
                <a:moveTo>
                  <a:pt x="642418" y="1537435"/>
                </a:moveTo>
                <a:cubicBezTo>
                  <a:pt x="685357" y="1537435"/>
                  <a:pt x="720160" y="1572239"/>
                  <a:pt x="720160" y="1615171"/>
                </a:cubicBezTo>
                <a:cubicBezTo>
                  <a:pt x="720160" y="1658105"/>
                  <a:pt x="685357" y="1692909"/>
                  <a:pt x="642418" y="1692909"/>
                </a:cubicBezTo>
                <a:cubicBezTo>
                  <a:pt x="599489" y="1692909"/>
                  <a:pt x="564685" y="1658105"/>
                  <a:pt x="564685" y="1615171"/>
                </a:cubicBezTo>
                <a:cubicBezTo>
                  <a:pt x="564685" y="1572239"/>
                  <a:pt x="599489" y="1537435"/>
                  <a:pt x="642418" y="1537435"/>
                </a:cubicBezTo>
                <a:close/>
                <a:moveTo>
                  <a:pt x="9720532" y="1474796"/>
                </a:moveTo>
                <a:lnTo>
                  <a:pt x="9772393" y="1515283"/>
                </a:lnTo>
                <a:lnTo>
                  <a:pt x="9759560" y="1512692"/>
                </a:lnTo>
                <a:cubicBezTo>
                  <a:pt x="9750260" y="1508759"/>
                  <a:pt x="9741884" y="1503067"/>
                  <a:pt x="9734851" y="1496033"/>
                </a:cubicBezTo>
                <a:close/>
                <a:moveTo>
                  <a:pt x="700606" y="1390848"/>
                </a:moveTo>
                <a:lnTo>
                  <a:pt x="714062" y="1410805"/>
                </a:lnTo>
                <a:cubicBezTo>
                  <a:pt x="717996" y="1420105"/>
                  <a:pt x="720171" y="1430330"/>
                  <a:pt x="720171" y="1441063"/>
                </a:cubicBezTo>
                <a:cubicBezTo>
                  <a:pt x="720171" y="1483997"/>
                  <a:pt x="685370" y="1518801"/>
                  <a:pt x="642428" y="1518801"/>
                </a:cubicBezTo>
                <a:cubicBezTo>
                  <a:pt x="620964" y="1518801"/>
                  <a:pt x="601532" y="1510100"/>
                  <a:pt x="587465" y="1496032"/>
                </a:cubicBezTo>
                <a:lnTo>
                  <a:pt x="576923" y="1480396"/>
                </a:lnTo>
                <a:lnTo>
                  <a:pt x="622703" y="1444657"/>
                </a:lnTo>
                <a:close/>
                <a:moveTo>
                  <a:pt x="9574517" y="1370468"/>
                </a:moveTo>
                <a:lnTo>
                  <a:pt x="9681926" y="1444657"/>
                </a:lnTo>
                <a:lnTo>
                  <a:pt x="9683127" y="1445595"/>
                </a:lnTo>
                <a:lnTo>
                  <a:pt x="9677932" y="1471324"/>
                </a:lnTo>
                <a:cubicBezTo>
                  <a:pt x="9666131" y="1499225"/>
                  <a:pt x="9638504" y="1518801"/>
                  <a:pt x="9606304" y="1518801"/>
                </a:cubicBezTo>
                <a:cubicBezTo>
                  <a:pt x="9563372" y="1518801"/>
                  <a:pt x="9528568" y="1483999"/>
                  <a:pt x="9528568" y="1441065"/>
                </a:cubicBezTo>
                <a:cubicBezTo>
                  <a:pt x="9528568" y="1419599"/>
                  <a:pt x="9537269" y="1400165"/>
                  <a:pt x="9551337" y="1386097"/>
                </a:cubicBezTo>
                <a:close/>
                <a:moveTo>
                  <a:pt x="9413377" y="1363328"/>
                </a:moveTo>
                <a:cubicBezTo>
                  <a:pt x="9456310" y="1363328"/>
                  <a:pt x="9491114" y="1398131"/>
                  <a:pt x="9491114" y="1441063"/>
                </a:cubicBezTo>
                <a:cubicBezTo>
                  <a:pt x="9491114" y="1483997"/>
                  <a:pt x="9456310" y="1518801"/>
                  <a:pt x="9413377" y="1518801"/>
                </a:cubicBezTo>
                <a:cubicBezTo>
                  <a:pt x="9370444" y="1518801"/>
                  <a:pt x="9335640" y="1483997"/>
                  <a:pt x="9335640" y="1441063"/>
                </a:cubicBezTo>
                <a:cubicBezTo>
                  <a:pt x="9335640" y="1398131"/>
                  <a:pt x="9370444" y="1363328"/>
                  <a:pt x="9413377" y="1363328"/>
                </a:cubicBezTo>
                <a:close/>
                <a:moveTo>
                  <a:pt x="9234566" y="1363328"/>
                </a:moveTo>
                <a:cubicBezTo>
                  <a:pt x="9277499" y="1363328"/>
                  <a:pt x="9312303" y="1398132"/>
                  <a:pt x="9312303" y="1441065"/>
                </a:cubicBezTo>
                <a:cubicBezTo>
                  <a:pt x="9312303" y="1483999"/>
                  <a:pt x="9277499" y="1518801"/>
                  <a:pt x="9234566" y="1518801"/>
                </a:cubicBezTo>
                <a:cubicBezTo>
                  <a:pt x="9191633" y="1518801"/>
                  <a:pt x="9156829" y="1483999"/>
                  <a:pt x="9156829" y="1441065"/>
                </a:cubicBezTo>
                <a:cubicBezTo>
                  <a:pt x="9156829" y="1398132"/>
                  <a:pt x="9191633" y="1363328"/>
                  <a:pt x="9234566" y="1363328"/>
                </a:cubicBezTo>
                <a:close/>
                <a:moveTo>
                  <a:pt x="9036935" y="1363328"/>
                </a:moveTo>
                <a:cubicBezTo>
                  <a:pt x="9079868" y="1363328"/>
                  <a:pt x="9114672" y="1398132"/>
                  <a:pt x="9114672" y="1441065"/>
                </a:cubicBezTo>
                <a:cubicBezTo>
                  <a:pt x="9114672" y="1483999"/>
                  <a:pt x="9079868" y="1518801"/>
                  <a:pt x="9036935" y="1518801"/>
                </a:cubicBezTo>
                <a:cubicBezTo>
                  <a:pt x="8994002" y="1518801"/>
                  <a:pt x="8959198" y="1483999"/>
                  <a:pt x="8959198" y="1441065"/>
                </a:cubicBezTo>
                <a:cubicBezTo>
                  <a:pt x="8959198" y="1398132"/>
                  <a:pt x="8994002" y="1363328"/>
                  <a:pt x="9036935" y="1363328"/>
                </a:cubicBezTo>
                <a:close/>
                <a:moveTo>
                  <a:pt x="8853418" y="1363328"/>
                </a:moveTo>
                <a:cubicBezTo>
                  <a:pt x="8896351" y="1363328"/>
                  <a:pt x="8931155" y="1398132"/>
                  <a:pt x="8931155" y="1441065"/>
                </a:cubicBezTo>
                <a:cubicBezTo>
                  <a:pt x="8931155" y="1483999"/>
                  <a:pt x="8896351" y="1518801"/>
                  <a:pt x="8853418" y="1518801"/>
                </a:cubicBezTo>
                <a:cubicBezTo>
                  <a:pt x="8810485" y="1518801"/>
                  <a:pt x="8775681" y="1483999"/>
                  <a:pt x="8775681" y="1441065"/>
                </a:cubicBezTo>
                <a:cubicBezTo>
                  <a:pt x="8775681" y="1398132"/>
                  <a:pt x="8810485" y="1363328"/>
                  <a:pt x="8853418" y="1363328"/>
                </a:cubicBezTo>
                <a:close/>
                <a:moveTo>
                  <a:pt x="8669904" y="1363328"/>
                </a:moveTo>
                <a:cubicBezTo>
                  <a:pt x="8712837" y="1363328"/>
                  <a:pt x="8747641" y="1398131"/>
                  <a:pt x="8747641" y="1441063"/>
                </a:cubicBezTo>
                <a:cubicBezTo>
                  <a:pt x="8747641" y="1483997"/>
                  <a:pt x="8712837" y="1518801"/>
                  <a:pt x="8669904" y="1518801"/>
                </a:cubicBezTo>
                <a:cubicBezTo>
                  <a:pt x="8626971" y="1518801"/>
                  <a:pt x="8592167" y="1483997"/>
                  <a:pt x="8592167" y="1441063"/>
                </a:cubicBezTo>
                <a:cubicBezTo>
                  <a:pt x="8592167" y="1398131"/>
                  <a:pt x="8626971" y="1363328"/>
                  <a:pt x="8669904" y="1363328"/>
                </a:cubicBezTo>
                <a:close/>
                <a:moveTo>
                  <a:pt x="8481681" y="1363328"/>
                </a:moveTo>
                <a:cubicBezTo>
                  <a:pt x="8524614" y="1363328"/>
                  <a:pt x="8559418" y="1398132"/>
                  <a:pt x="8559418" y="1441065"/>
                </a:cubicBezTo>
                <a:cubicBezTo>
                  <a:pt x="8559418" y="1483999"/>
                  <a:pt x="8524614" y="1518801"/>
                  <a:pt x="8481681" y="1518801"/>
                </a:cubicBezTo>
                <a:cubicBezTo>
                  <a:pt x="8438748" y="1518801"/>
                  <a:pt x="8403944" y="1483999"/>
                  <a:pt x="8403944" y="1441065"/>
                </a:cubicBezTo>
                <a:cubicBezTo>
                  <a:pt x="8403944" y="1398132"/>
                  <a:pt x="8438748" y="1363328"/>
                  <a:pt x="8481681" y="1363328"/>
                </a:cubicBezTo>
                <a:close/>
                <a:moveTo>
                  <a:pt x="8298166" y="1363328"/>
                </a:moveTo>
                <a:cubicBezTo>
                  <a:pt x="8341099" y="1363328"/>
                  <a:pt x="8375903" y="1398132"/>
                  <a:pt x="8375903" y="1441065"/>
                </a:cubicBezTo>
                <a:cubicBezTo>
                  <a:pt x="8375903" y="1483999"/>
                  <a:pt x="8341099" y="1518801"/>
                  <a:pt x="8298166" y="1518801"/>
                </a:cubicBezTo>
                <a:cubicBezTo>
                  <a:pt x="8255233" y="1518801"/>
                  <a:pt x="8220429" y="1483999"/>
                  <a:pt x="8220429" y="1441065"/>
                </a:cubicBezTo>
                <a:cubicBezTo>
                  <a:pt x="8220429" y="1398132"/>
                  <a:pt x="8255233" y="1363328"/>
                  <a:pt x="8298166" y="1363328"/>
                </a:cubicBezTo>
                <a:close/>
                <a:moveTo>
                  <a:pt x="8109946" y="1363328"/>
                </a:moveTo>
                <a:cubicBezTo>
                  <a:pt x="8152879" y="1363328"/>
                  <a:pt x="8187683" y="1398132"/>
                  <a:pt x="8187683" y="1441065"/>
                </a:cubicBezTo>
                <a:cubicBezTo>
                  <a:pt x="8187683" y="1483999"/>
                  <a:pt x="8152879" y="1518801"/>
                  <a:pt x="8109946" y="1518801"/>
                </a:cubicBezTo>
                <a:cubicBezTo>
                  <a:pt x="8067013" y="1518801"/>
                  <a:pt x="8032209" y="1483999"/>
                  <a:pt x="8032209" y="1441065"/>
                </a:cubicBezTo>
                <a:cubicBezTo>
                  <a:pt x="8032209" y="1398132"/>
                  <a:pt x="8067013" y="1363328"/>
                  <a:pt x="8109946" y="1363328"/>
                </a:cubicBezTo>
                <a:close/>
                <a:moveTo>
                  <a:pt x="7926429" y="1363328"/>
                </a:moveTo>
                <a:cubicBezTo>
                  <a:pt x="7969362" y="1363328"/>
                  <a:pt x="8004166" y="1398131"/>
                  <a:pt x="8004166" y="1441063"/>
                </a:cubicBezTo>
                <a:cubicBezTo>
                  <a:pt x="8004166" y="1483997"/>
                  <a:pt x="7969362" y="1518801"/>
                  <a:pt x="7926429" y="1518801"/>
                </a:cubicBezTo>
                <a:cubicBezTo>
                  <a:pt x="7883496" y="1518801"/>
                  <a:pt x="7848692" y="1483997"/>
                  <a:pt x="7848692" y="1441063"/>
                </a:cubicBezTo>
                <a:cubicBezTo>
                  <a:pt x="7848692" y="1398131"/>
                  <a:pt x="7883496" y="1363328"/>
                  <a:pt x="7926429" y="1363328"/>
                </a:cubicBezTo>
                <a:close/>
                <a:moveTo>
                  <a:pt x="7738208" y="1363328"/>
                </a:moveTo>
                <a:cubicBezTo>
                  <a:pt x="7781141" y="1363328"/>
                  <a:pt x="7815945" y="1398131"/>
                  <a:pt x="7815945" y="1441063"/>
                </a:cubicBezTo>
                <a:cubicBezTo>
                  <a:pt x="7815945" y="1483997"/>
                  <a:pt x="7781141" y="1518801"/>
                  <a:pt x="7738208" y="1518801"/>
                </a:cubicBezTo>
                <a:cubicBezTo>
                  <a:pt x="7695275" y="1518801"/>
                  <a:pt x="7660471" y="1483997"/>
                  <a:pt x="7660471" y="1441063"/>
                </a:cubicBezTo>
                <a:cubicBezTo>
                  <a:pt x="7660471" y="1398131"/>
                  <a:pt x="7695275" y="1363328"/>
                  <a:pt x="7738208" y="1363328"/>
                </a:cubicBezTo>
                <a:close/>
                <a:moveTo>
                  <a:pt x="7554691" y="1363328"/>
                </a:moveTo>
                <a:cubicBezTo>
                  <a:pt x="7597624" y="1363328"/>
                  <a:pt x="7632428" y="1398132"/>
                  <a:pt x="7632428" y="1441065"/>
                </a:cubicBezTo>
                <a:cubicBezTo>
                  <a:pt x="7632428" y="1483999"/>
                  <a:pt x="7597624" y="1518801"/>
                  <a:pt x="7554691" y="1518801"/>
                </a:cubicBezTo>
                <a:cubicBezTo>
                  <a:pt x="7511758" y="1518801"/>
                  <a:pt x="7476954" y="1483999"/>
                  <a:pt x="7476954" y="1441065"/>
                </a:cubicBezTo>
                <a:cubicBezTo>
                  <a:pt x="7476954" y="1398132"/>
                  <a:pt x="7511758" y="1363328"/>
                  <a:pt x="7554691" y="1363328"/>
                </a:cubicBezTo>
                <a:close/>
                <a:moveTo>
                  <a:pt x="7366470" y="1363328"/>
                </a:moveTo>
                <a:cubicBezTo>
                  <a:pt x="7409403" y="1363328"/>
                  <a:pt x="7444207" y="1398131"/>
                  <a:pt x="7444207" y="1441063"/>
                </a:cubicBezTo>
                <a:cubicBezTo>
                  <a:pt x="7444207" y="1483997"/>
                  <a:pt x="7409403" y="1518801"/>
                  <a:pt x="7366470" y="1518801"/>
                </a:cubicBezTo>
                <a:cubicBezTo>
                  <a:pt x="7323537" y="1518801"/>
                  <a:pt x="7288733" y="1483997"/>
                  <a:pt x="7288733" y="1441063"/>
                </a:cubicBezTo>
                <a:cubicBezTo>
                  <a:pt x="7288733" y="1398131"/>
                  <a:pt x="7323537" y="1363328"/>
                  <a:pt x="7366470" y="1363328"/>
                </a:cubicBezTo>
                <a:close/>
                <a:moveTo>
                  <a:pt x="7178248" y="1363328"/>
                </a:moveTo>
                <a:cubicBezTo>
                  <a:pt x="7221181" y="1363328"/>
                  <a:pt x="7255985" y="1398131"/>
                  <a:pt x="7255985" y="1441063"/>
                </a:cubicBezTo>
                <a:cubicBezTo>
                  <a:pt x="7255985" y="1483997"/>
                  <a:pt x="7221181" y="1518801"/>
                  <a:pt x="7178248" y="1518801"/>
                </a:cubicBezTo>
                <a:cubicBezTo>
                  <a:pt x="7135315" y="1518801"/>
                  <a:pt x="7100511" y="1483997"/>
                  <a:pt x="7100511" y="1441063"/>
                </a:cubicBezTo>
                <a:cubicBezTo>
                  <a:pt x="7100511" y="1398131"/>
                  <a:pt x="7135315" y="1363328"/>
                  <a:pt x="7178248" y="1363328"/>
                </a:cubicBezTo>
                <a:close/>
                <a:moveTo>
                  <a:pt x="6985324" y="1363328"/>
                </a:moveTo>
                <a:cubicBezTo>
                  <a:pt x="7028257" y="1363328"/>
                  <a:pt x="7063061" y="1398131"/>
                  <a:pt x="7063061" y="1441063"/>
                </a:cubicBezTo>
                <a:cubicBezTo>
                  <a:pt x="7063061" y="1483997"/>
                  <a:pt x="7028257" y="1518801"/>
                  <a:pt x="6985324" y="1518801"/>
                </a:cubicBezTo>
                <a:cubicBezTo>
                  <a:pt x="6942391" y="1518801"/>
                  <a:pt x="6907587" y="1483997"/>
                  <a:pt x="6907587" y="1441063"/>
                </a:cubicBezTo>
                <a:cubicBezTo>
                  <a:pt x="6907587" y="1398131"/>
                  <a:pt x="6942391" y="1363328"/>
                  <a:pt x="6985324" y="1363328"/>
                </a:cubicBezTo>
                <a:close/>
                <a:moveTo>
                  <a:pt x="6801806" y="1363328"/>
                </a:moveTo>
                <a:cubicBezTo>
                  <a:pt x="6844739" y="1363328"/>
                  <a:pt x="6879543" y="1398132"/>
                  <a:pt x="6879543" y="1441065"/>
                </a:cubicBezTo>
                <a:cubicBezTo>
                  <a:pt x="6879543" y="1483999"/>
                  <a:pt x="6844739" y="1518801"/>
                  <a:pt x="6801806" y="1518801"/>
                </a:cubicBezTo>
                <a:cubicBezTo>
                  <a:pt x="6758873" y="1518801"/>
                  <a:pt x="6724069" y="1483999"/>
                  <a:pt x="6724069" y="1441065"/>
                </a:cubicBezTo>
                <a:cubicBezTo>
                  <a:pt x="6724069" y="1398132"/>
                  <a:pt x="6758873" y="1363328"/>
                  <a:pt x="6801806" y="1363328"/>
                </a:cubicBezTo>
                <a:close/>
                <a:moveTo>
                  <a:pt x="6613585" y="1363328"/>
                </a:moveTo>
                <a:cubicBezTo>
                  <a:pt x="6656518" y="1363328"/>
                  <a:pt x="6691322" y="1398131"/>
                  <a:pt x="6691322" y="1441063"/>
                </a:cubicBezTo>
                <a:cubicBezTo>
                  <a:pt x="6691322" y="1483997"/>
                  <a:pt x="6656518" y="1518801"/>
                  <a:pt x="6613585" y="1518801"/>
                </a:cubicBezTo>
                <a:cubicBezTo>
                  <a:pt x="6570652" y="1518801"/>
                  <a:pt x="6535848" y="1483997"/>
                  <a:pt x="6535848" y="1441063"/>
                </a:cubicBezTo>
                <a:cubicBezTo>
                  <a:pt x="6535848" y="1398131"/>
                  <a:pt x="6570652" y="1363328"/>
                  <a:pt x="6613585" y="1363328"/>
                </a:cubicBezTo>
                <a:close/>
                <a:moveTo>
                  <a:pt x="6425364" y="1363328"/>
                </a:moveTo>
                <a:cubicBezTo>
                  <a:pt x="6468297" y="1363328"/>
                  <a:pt x="6503101" y="1398132"/>
                  <a:pt x="6503101" y="1441065"/>
                </a:cubicBezTo>
                <a:cubicBezTo>
                  <a:pt x="6503101" y="1483999"/>
                  <a:pt x="6468297" y="1518801"/>
                  <a:pt x="6425364" y="1518801"/>
                </a:cubicBezTo>
                <a:cubicBezTo>
                  <a:pt x="6382431" y="1518801"/>
                  <a:pt x="6347627" y="1483999"/>
                  <a:pt x="6347627" y="1441065"/>
                </a:cubicBezTo>
                <a:cubicBezTo>
                  <a:pt x="6347627" y="1398132"/>
                  <a:pt x="6382431" y="1363328"/>
                  <a:pt x="6425364" y="1363328"/>
                </a:cubicBezTo>
                <a:close/>
                <a:moveTo>
                  <a:pt x="6241848" y="1363328"/>
                </a:moveTo>
                <a:cubicBezTo>
                  <a:pt x="6284781" y="1363328"/>
                  <a:pt x="6319585" y="1398132"/>
                  <a:pt x="6319585" y="1441065"/>
                </a:cubicBezTo>
                <a:cubicBezTo>
                  <a:pt x="6319585" y="1483999"/>
                  <a:pt x="6284781" y="1518801"/>
                  <a:pt x="6241848" y="1518801"/>
                </a:cubicBezTo>
                <a:cubicBezTo>
                  <a:pt x="6198915" y="1518801"/>
                  <a:pt x="6164111" y="1483999"/>
                  <a:pt x="6164111" y="1441065"/>
                </a:cubicBezTo>
                <a:cubicBezTo>
                  <a:pt x="6164111" y="1398132"/>
                  <a:pt x="6198915" y="1363328"/>
                  <a:pt x="6241848" y="1363328"/>
                </a:cubicBezTo>
                <a:close/>
                <a:moveTo>
                  <a:pt x="6053629" y="1363328"/>
                </a:moveTo>
                <a:cubicBezTo>
                  <a:pt x="6096562" y="1363328"/>
                  <a:pt x="6131366" y="1398131"/>
                  <a:pt x="6131366" y="1441063"/>
                </a:cubicBezTo>
                <a:cubicBezTo>
                  <a:pt x="6131366" y="1483997"/>
                  <a:pt x="6096562" y="1518801"/>
                  <a:pt x="6053629" y="1518801"/>
                </a:cubicBezTo>
                <a:cubicBezTo>
                  <a:pt x="6010696" y="1518801"/>
                  <a:pt x="5975892" y="1483997"/>
                  <a:pt x="5975892" y="1441063"/>
                </a:cubicBezTo>
                <a:cubicBezTo>
                  <a:pt x="5975892" y="1398131"/>
                  <a:pt x="6010696" y="1363328"/>
                  <a:pt x="6053629" y="1363328"/>
                </a:cubicBezTo>
                <a:close/>
                <a:moveTo>
                  <a:pt x="5870110" y="1363328"/>
                </a:moveTo>
                <a:cubicBezTo>
                  <a:pt x="5913043" y="1363328"/>
                  <a:pt x="5947847" y="1398132"/>
                  <a:pt x="5947847" y="1441065"/>
                </a:cubicBezTo>
                <a:cubicBezTo>
                  <a:pt x="5947847" y="1483999"/>
                  <a:pt x="5913043" y="1518801"/>
                  <a:pt x="5870110" y="1518801"/>
                </a:cubicBezTo>
                <a:cubicBezTo>
                  <a:pt x="5827177" y="1518801"/>
                  <a:pt x="5792373" y="1483999"/>
                  <a:pt x="5792373" y="1441065"/>
                </a:cubicBezTo>
                <a:cubicBezTo>
                  <a:pt x="5792373" y="1398132"/>
                  <a:pt x="5827177" y="1363328"/>
                  <a:pt x="5870110" y="1363328"/>
                </a:cubicBezTo>
                <a:close/>
                <a:moveTo>
                  <a:pt x="5681942" y="1363328"/>
                </a:moveTo>
                <a:cubicBezTo>
                  <a:pt x="5724823" y="1363328"/>
                  <a:pt x="5759628" y="1398132"/>
                  <a:pt x="5759628" y="1441065"/>
                </a:cubicBezTo>
                <a:cubicBezTo>
                  <a:pt x="5759628" y="1483999"/>
                  <a:pt x="5724823" y="1518801"/>
                  <a:pt x="5681942" y="1518801"/>
                </a:cubicBezTo>
                <a:cubicBezTo>
                  <a:pt x="5638995" y="1518801"/>
                  <a:pt x="5604176" y="1483999"/>
                  <a:pt x="5604176" y="1441065"/>
                </a:cubicBezTo>
                <a:cubicBezTo>
                  <a:pt x="5604176" y="1398132"/>
                  <a:pt x="5638995" y="1363328"/>
                  <a:pt x="5681942" y="1363328"/>
                </a:cubicBezTo>
                <a:close/>
                <a:moveTo>
                  <a:pt x="4745533" y="1363328"/>
                </a:moveTo>
                <a:cubicBezTo>
                  <a:pt x="4788452" y="1363328"/>
                  <a:pt x="4823263" y="1398131"/>
                  <a:pt x="4823263" y="1441063"/>
                </a:cubicBezTo>
                <a:cubicBezTo>
                  <a:pt x="4823263" y="1483997"/>
                  <a:pt x="4788452" y="1518801"/>
                  <a:pt x="4745533" y="1518801"/>
                </a:cubicBezTo>
                <a:cubicBezTo>
                  <a:pt x="4702574" y="1518801"/>
                  <a:pt x="4667783" y="1483997"/>
                  <a:pt x="4667783" y="1441063"/>
                </a:cubicBezTo>
                <a:cubicBezTo>
                  <a:pt x="4667783" y="1398131"/>
                  <a:pt x="4702574" y="1363328"/>
                  <a:pt x="4745533" y="1363328"/>
                </a:cubicBezTo>
                <a:close/>
                <a:moveTo>
                  <a:pt x="4557296" y="1363328"/>
                </a:moveTo>
                <a:cubicBezTo>
                  <a:pt x="4600235" y="1363328"/>
                  <a:pt x="4635044" y="1398132"/>
                  <a:pt x="4635044" y="1441065"/>
                </a:cubicBezTo>
                <a:cubicBezTo>
                  <a:pt x="4635044" y="1483999"/>
                  <a:pt x="4600235" y="1518801"/>
                  <a:pt x="4557296" y="1518801"/>
                </a:cubicBezTo>
                <a:cubicBezTo>
                  <a:pt x="4514354" y="1518801"/>
                  <a:pt x="4479562" y="1483999"/>
                  <a:pt x="4479562" y="1441065"/>
                </a:cubicBezTo>
                <a:cubicBezTo>
                  <a:pt x="4479562" y="1398132"/>
                  <a:pt x="4514354" y="1363328"/>
                  <a:pt x="4557296" y="1363328"/>
                </a:cubicBezTo>
                <a:close/>
                <a:moveTo>
                  <a:pt x="4373781" y="1363328"/>
                </a:moveTo>
                <a:cubicBezTo>
                  <a:pt x="4416737" y="1363328"/>
                  <a:pt x="4451515" y="1398132"/>
                  <a:pt x="4451515" y="1441065"/>
                </a:cubicBezTo>
                <a:cubicBezTo>
                  <a:pt x="4451515" y="1483999"/>
                  <a:pt x="4416737" y="1518801"/>
                  <a:pt x="4373781" y="1518801"/>
                </a:cubicBezTo>
                <a:cubicBezTo>
                  <a:pt x="4330856" y="1518801"/>
                  <a:pt x="4296053" y="1483999"/>
                  <a:pt x="4296053" y="1441065"/>
                </a:cubicBezTo>
                <a:cubicBezTo>
                  <a:pt x="4296053" y="1398132"/>
                  <a:pt x="4330856" y="1363328"/>
                  <a:pt x="4373781" y="1363328"/>
                </a:cubicBezTo>
                <a:close/>
                <a:moveTo>
                  <a:pt x="3625629" y="1363328"/>
                </a:moveTo>
                <a:cubicBezTo>
                  <a:pt x="3668543" y="1363328"/>
                  <a:pt x="3703372" y="1398131"/>
                  <a:pt x="3703372" y="1441063"/>
                </a:cubicBezTo>
                <a:cubicBezTo>
                  <a:pt x="3703372" y="1483997"/>
                  <a:pt x="3668543" y="1518801"/>
                  <a:pt x="3625629" y="1518801"/>
                </a:cubicBezTo>
                <a:cubicBezTo>
                  <a:pt x="3582685" y="1518801"/>
                  <a:pt x="3547906" y="1483997"/>
                  <a:pt x="3547906" y="1441063"/>
                </a:cubicBezTo>
                <a:cubicBezTo>
                  <a:pt x="3547906" y="1398131"/>
                  <a:pt x="3582685" y="1363328"/>
                  <a:pt x="3625629" y="1363328"/>
                </a:cubicBezTo>
                <a:close/>
                <a:moveTo>
                  <a:pt x="3442093" y="1363328"/>
                </a:moveTo>
                <a:cubicBezTo>
                  <a:pt x="3485038" y="1363328"/>
                  <a:pt x="3519851" y="1398132"/>
                  <a:pt x="3519851" y="1441065"/>
                </a:cubicBezTo>
                <a:cubicBezTo>
                  <a:pt x="3519851" y="1483999"/>
                  <a:pt x="3485038" y="1518801"/>
                  <a:pt x="3442093" y="1518801"/>
                </a:cubicBezTo>
                <a:cubicBezTo>
                  <a:pt x="3399302" y="1518801"/>
                  <a:pt x="3364502" y="1483999"/>
                  <a:pt x="3364502" y="1441065"/>
                </a:cubicBezTo>
                <a:cubicBezTo>
                  <a:pt x="3364502" y="1398132"/>
                  <a:pt x="3399302" y="1363328"/>
                  <a:pt x="3442093" y="1363328"/>
                </a:cubicBezTo>
                <a:close/>
                <a:moveTo>
                  <a:pt x="2689371" y="1363328"/>
                </a:moveTo>
                <a:cubicBezTo>
                  <a:pt x="2732295" y="1363328"/>
                  <a:pt x="2767077" y="1398131"/>
                  <a:pt x="2767077" y="1441063"/>
                </a:cubicBezTo>
                <a:cubicBezTo>
                  <a:pt x="2767077" y="1483997"/>
                  <a:pt x="2732295" y="1518801"/>
                  <a:pt x="2689371" y="1518801"/>
                </a:cubicBezTo>
                <a:cubicBezTo>
                  <a:pt x="2646425" y="1518801"/>
                  <a:pt x="2611635" y="1483997"/>
                  <a:pt x="2611635" y="1441063"/>
                </a:cubicBezTo>
                <a:cubicBezTo>
                  <a:pt x="2611635" y="1398131"/>
                  <a:pt x="2646425" y="1363328"/>
                  <a:pt x="2689371" y="1363328"/>
                </a:cubicBezTo>
                <a:close/>
                <a:moveTo>
                  <a:pt x="2510551" y="1363328"/>
                </a:moveTo>
                <a:cubicBezTo>
                  <a:pt x="2553496" y="1363328"/>
                  <a:pt x="2588296" y="1398132"/>
                  <a:pt x="2588296" y="1441065"/>
                </a:cubicBezTo>
                <a:cubicBezTo>
                  <a:pt x="2588296" y="1483999"/>
                  <a:pt x="2553496" y="1518801"/>
                  <a:pt x="2510551" y="1518801"/>
                </a:cubicBezTo>
                <a:cubicBezTo>
                  <a:pt x="2467602" y="1518801"/>
                  <a:pt x="2432787" y="1483999"/>
                  <a:pt x="2432787" y="1441065"/>
                </a:cubicBezTo>
                <a:cubicBezTo>
                  <a:pt x="2432787" y="1398132"/>
                  <a:pt x="2467602" y="1363328"/>
                  <a:pt x="2510551" y="1363328"/>
                </a:cubicBezTo>
                <a:close/>
                <a:moveTo>
                  <a:pt x="1941203" y="1363328"/>
                </a:moveTo>
                <a:cubicBezTo>
                  <a:pt x="1984127" y="1363328"/>
                  <a:pt x="2018925" y="1398131"/>
                  <a:pt x="2018925" y="1441063"/>
                </a:cubicBezTo>
                <a:cubicBezTo>
                  <a:pt x="2018925" y="1483997"/>
                  <a:pt x="1984127" y="1518801"/>
                  <a:pt x="1941203" y="1518801"/>
                </a:cubicBezTo>
                <a:cubicBezTo>
                  <a:pt x="1898277" y="1518801"/>
                  <a:pt x="1863480" y="1483997"/>
                  <a:pt x="1863480" y="1441063"/>
                </a:cubicBezTo>
                <a:cubicBezTo>
                  <a:pt x="1863480" y="1398131"/>
                  <a:pt x="1898277" y="1363328"/>
                  <a:pt x="1941203" y="1363328"/>
                </a:cubicBezTo>
                <a:close/>
                <a:moveTo>
                  <a:pt x="1757713" y="1363328"/>
                </a:moveTo>
                <a:cubicBezTo>
                  <a:pt x="1800644" y="1363328"/>
                  <a:pt x="1835442" y="1398132"/>
                  <a:pt x="1835442" y="1441065"/>
                </a:cubicBezTo>
                <a:cubicBezTo>
                  <a:pt x="1835442" y="1483999"/>
                  <a:pt x="1800644" y="1518801"/>
                  <a:pt x="1757713" y="1518801"/>
                </a:cubicBezTo>
                <a:cubicBezTo>
                  <a:pt x="1714769" y="1518801"/>
                  <a:pt x="1679986" y="1483999"/>
                  <a:pt x="1679986" y="1441065"/>
                </a:cubicBezTo>
                <a:cubicBezTo>
                  <a:pt x="1679986" y="1398132"/>
                  <a:pt x="1714769" y="1363328"/>
                  <a:pt x="1757713" y="1363328"/>
                </a:cubicBezTo>
                <a:close/>
                <a:moveTo>
                  <a:pt x="1569475" y="1363328"/>
                </a:moveTo>
                <a:cubicBezTo>
                  <a:pt x="1612449" y="1363328"/>
                  <a:pt x="1647245" y="1398131"/>
                  <a:pt x="1647245" y="1441063"/>
                </a:cubicBezTo>
                <a:cubicBezTo>
                  <a:pt x="1647245" y="1483997"/>
                  <a:pt x="1612449" y="1518801"/>
                  <a:pt x="1569475" y="1518801"/>
                </a:cubicBezTo>
                <a:cubicBezTo>
                  <a:pt x="1526579" y="1518801"/>
                  <a:pt x="1491765" y="1483997"/>
                  <a:pt x="1491765" y="1441063"/>
                </a:cubicBezTo>
                <a:cubicBezTo>
                  <a:pt x="1491765" y="1398131"/>
                  <a:pt x="1526579" y="1363328"/>
                  <a:pt x="1569475" y="1363328"/>
                </a:cubicBezTo>
                <a:close/>
                <a:moveTo>
                  <a:pt x="1385952" y="1363328"/>
                </a:moveTo>
                <a:cubicBezTo>
                  <a:pt x="1428898" y="1363328"/>
                  <a:pt x="1463714" y="1398131"/>
                  <a:pt x="1463714" y="1441063"/>
                </a:cubicBezTo>
                <a:cubicBezTo>
                  <a:pt x="1463714" y="1483997"/>
                  <a:pt x="1428898" y="1518801"/>
                  <a:pt x="1385952" y="1518801"/>
                </a:cubicBezTo>
                <a:cubicBezTo>
                  <a:pt x="1343006" y="1518801"/>
                  <a:pt x="1308193" y="1483997"/>
                  <a:pt x="1308193" y="1441063"/>
                </a:cubicBezTo>
                <a:cubicBezTo>
                  <a:pt x="1308193" y="1398131"/>
                  <a:pt x="1343006" y="1363328"/>
                  <a:pt x="1385952" y="1363328"/>
                </a:cubicBezTo>
                <a:close/>
                <a:moveTo>
                  <a:pt x="1202404" y="1363328"/>
                </a:moveTo>
                <a:cubicBezTo>
                  <a:pt x="1245340" y="1363328"/>
                  <a:pt x="1280142" y="1398131"/>
                  <a:pt x="1280142" y="1441063"/>
                </a:cubicBezTo>
                <a:cubicBezTo>
                  <a:pt x="1280142" y="1483997"/>
                  <a:pt x="1245340" y="1518801"/>
                  <a:pt x="1202404" y="1518801"/>
                </a:cubicBezTo>
                <a:cubicBezTo>
                  <a:pt x="1159452" y="1518801"/>
                  <a:pt x="1124704" y="1483997"/>
                  <a:pt x="1124704" y="1441063"/>
                </a:cubicBezTo>
                <a:cubicBezTo>
                  <a:pt x="1124704" y="1398131"/>
                  <a:pt x="1159452" y="1363328"/>
                  <a:pt x="1202404" y="1363328"/>
                </a:cubicBezTo>
                <a:close/>
                <a:moveTo>
                  <a:pt x="1014166" y="1363328"/>
                </a:moveTo>
                <a:cubicBezTo>
                  <a:pt x="1057110" y="1363328"/>
                  <a:pt x="1091934" y="1398131"/>
                  <a:pt x="1091934" y="1441063"/>
                </a:cubicBezTo>
                <a:cubicBezTo>
                  <a:pt x="1091934" y="1483997"/>
                  <a:pt x="1057110" y="1518801"/>
                  <a:pt x="1014166" y="1518801"/>
                </a:cubicBezTo>
                <a:cubicBezTo>
                  <a:pt x="971277" y="1518801"/>
                  <a:pt x="936469" y="1483997"/>
                  <a:pt x="936469" y="1441063"/>
                </a:cubicBezTo>
                <a:cubicBezTo>
                  <a:pt x="936469" y="1398131"/>
                  <a:pt x="971277" y="1363328"/>
                  <a:pt x="1014166" y="1363328"/>
                </a:cubicBezTo>
                <a:close/>
                <a:moveTo>
                  <a:pt x="830663" y="1363328"/>
                </a:moveTo>
                <a:cubicBezTo>
                  <a:pt x="873583" y="1363328"/>
                  <a:pt x="908428" y="1398131"/>
                  <a:pt x="908428" y="1441063"/>
                </a:cubicBezTo>
                <a:cubicBezTo>
                  <a:pt x="908428" y="1483997"/>
                  <a:pt x="873583" y="1518801"/>
                  <a:pt x="830663" y="1518801"/>
                </a:cubicBezTo>
                <a:cubicBezTo>
                  <a:pt x="787720" y="1518801"/>
                  <a:pt x="752920" y="1483997"/>
                  <a:pt x="752920" y="1441063"/>
                </a:cubicBezTo>
                <a:cubicBezTo>
                  <a:pt x="752920" y="1398131"/>
                  <a:pt x="787720" y="1363328"/>
                  <a:pt x="830663" y="1363328"/>
                </a:cubicBezTo>
                <a:close/>
                <a:moveTo>
                  <a:pt x="904116" y="1250280"/>
                </a:moveTo>
                <a:lnTo>
                  <a:pt x="908437" y="1271666"/>
                </a:lnTo>
                <a:cubicBezTo>
                  <a:pt x="908437" y="1314600"/>
                  <a:pt x="873595" y="1349403"/>
                  <a:pt x="830675" y="1349403"/>
                </a:cubicBezTo>
                <a:cubicBezTo>
                  <a:pt x="819940" y="1349403"/>
                  <a:pt x="809713" y="1347228"/>
                  <a:pt x="800411" y="1343294"/>
                </a:cubicBezTo>
                <a:lnTo>
                  <a:pt x="784744" y="1332732"/>
                </a:lnTo>
                <a:close/>
                <a:moveTo>
                  <a:pt x="9356340" y="1219769"/>
                </a:moveTo>
                <a:lnTo>
                  <a:pt x="9481917" y="1306507"/>
                </a:lnTo>
                <a:lnTo>
                  <a:pt x="9468346" y="1326635"/>
                </a:lnTo>
                <a:cubicBezTo>
                  <a:pt x="9454279" y="1340702"/>
                  <a:pt x="9434845" y="1349403"/>
                  <a:pt x="9413378" y="1349403"/>
                </a:cubicBezTo>
                <a:cubicBezTo>
                  <a:pt x="9370445" y="1349403"/>
                  <a:pt x="9335641" y="1314600"/>
                  <a:pt x="9335641" y="1271666"/>
                </a:cubicBezTo>
                <a:cubicBezTo>
                  <a:pt x="9335641" y="1260933"/>
                  <a:pt x="9337816" y="1250708"/>
                  <a:pt x="9341750" y="1241408"/>
                </a:cubicBezTo>
                <a:close/>
                <a:moveTo>
                  <a:pt x="9234567" y="1193930"/>
                </a:moveTo>
                <a:cubicBezTo>
                  <a:pt x="9277500" y="1193930"/>
                  <a:pt x="9312304" y="1228733"/>
                  <a:pt x="9312304" y="1271666"/>
                </a:cubicBezTo>
                <a:cubicBezTo>
                  <a:pt x="9312304" y="1314600"/>
                  <a:pt x="9277500" y="1349403"/>
                  <a:pt x="9234567" y="1349403"/>
                </a:cubicBezTo>
                <a:cubicBezTo>
                  <a:pt x="9191635" y="1349403"/>
                  <a:pt x="9156831" y="1314600"/>
                  <a:pt x="9156831" y="1271666"/>
                </a:cubicBezTo>
                <a:cubicBezTo>
                  <a:pt x="9156831" y="1228733"/>
                  <a:pt x="9191635" y="1193930"/>
                  <a:pt x="9234567" y="1193930"/>
                </a:cubicBezTo>
                <a:close/>
                <a:moveTo>
                  <a:pt x="9036935" y="1193930"/>
                </a:moveTo>
                <a:cubicBezTo>
                  <a:pt x="9079868" y="1193930"/>
                  <a:pt x="9114672" y="1228733"/>
                  <a:pt x="9114672" y="1271666"/>
                </a:cubicBezTo>
                <a:cubicBezTo>
                  <a:pt x="9114672" y="1314600"/>
                  <a:pt x="9079868" y="1349403"/>
                  <a:pt x="9036935" y="1349403"/>
                </a:cubicBezTo>
                <a:cubicBezTo>
                  <a:pt x="8994002" y="1349403"/>
                  <a:pt x="8959198" y="1314600"/>
                  <a:pt x="8959198" y="1271666"/>
                </a:cubicBezTo>
                <a:cubicBezTo>
                  <a:pt x="8959198" y="1228733"/>
                  <a:pt x="8994002" y="1193930"/>
                  <a:pt x="9036935" y="1193930"/>
                </a:cubicBezTo>
                <a:close/>
                <a:moveTo>
                  <a:pt x="8853419" y="1193930"/>
                </a:moveTo>
                <a:cubicBezTo>
                  <a:pt x="8896352" y="1193930"/>
                  <a:pt x="8931156" y="1228733"/>
                  <a:pt x="8931156" y="1271666"/>
                </a:cubicBezTo>
                <a:cubicBezTo>
                  <a:pt x="8931156" y="1314600"/>
                  <a:pt x="8896352" y="1349403"/>
                  <a:pt x="8853419" y="1349403"/>
                </a:cubicBezTo>
                <a:cubicBezTo>
                  <a:pt x="8810486" y="1349403"/>
                  <a:pt x="8775682" y="1314600"/>
                  <a:pt x="8775682" y="1271666"/>
                </a:cubicBezTo>
                <a:cubicBezTo>
                  <a:pt x="8775682" y="1228733"/>
                  <a:pt x="8810486" y="1193930"/>
                  <a:pt x="8853419" y="1193930"/>
                </a:cubicBezTo>
                <a:close/>
                <a:moveTo>
                  <a:pt x="8669907" y="1193930"/>
                </a:moveTo>
                <a:cubicBezTo>
                  <a:pt x="8712840" y="1193930"/>
                  <a:pt x="8747644" y="1228733"/>
                  <a:pt x="8747644" y="1271666"/>
                </a:cubicBezTo>
                <a:cubicBezTo>
                  <a:pt x="8747644" y="1314600"/>
                  <a:pt x="8712840" y="1349403"/>
                  <a:pt x="8669907" y="1349403"/>
                </a:cubicBezTo>
                <a:cubicBezTo>
                  <a:pt x="8626974" y="1349403"/>
                  <a:pt x="8592170" y="1314600"/>
                  <a:pt x="8592170" y="1271666"/>
                </a:cubicBezTo>
                <a:cubicBezTo>
                  <a:pt x="8592170" y="1228733"/>
                  <a:pt x="8626974" y="1193930"/>
                  <a:pt x="8669907" y="1193930"/>
                </a:cubicBezTo>
                <a:close/>
                <a:moveTo>
                  <a:pt x="8481683" y="1193930"/>
                </a:moveTo>
                <a:cubicBezTo>
                  <a:pt x="8524616" y="1193930"/>
                  <a:pt x="8559420" y="1228733"/>
                  <a:pt x="8559420" y="1271666"/>
                </a:cubicBezTo>
                <a:cubicBezTo>
                  <a:pt x="8559420" y="1314600"/>
                  <a:pt x="8524616" y="1349403"/>
                  <a:pt x="8481683" y="1349403"/>
                </a:cubicBezTo>
                <a:cubicBezTo>
                  <a:pt x="8438750" y="1349403"/>
                  <a:pt x="8403946" y="1314600"/>
                  <a:pt x="8403946" y="1271666"/>
                </a:cubicBezTo>
                <a:cubicBezTo>
                  <a:pt x="8403946" y="1228733"/>
                  <a:pt x="8438750" y="1193930"/>
                  <a:pt x="8481683" y="1193930"/>
                </a:cubicBezTo>
                <a:close/>
                <a:moveTo>
                  <a:pt x="8298166" y="1193930"/>
                </a:moveTo>
                <a:cubicBezTo>
                  <a:pt x="8341099" y="1193930"/>
                  <a:pt x="8375903" y="1228733"/>
                  <a:pt x="8375903" y="1271666"/>
                </a:cubicBezTo>
                <a:cubicBezTo>
                  <a:pt x="8375903" y="1314600"/>
                  <a:pt x="8341099" y="1349403"/>
                  <a:pt x="8298166" y="1349403"/>
                </a:cubicBezTo>
                <a:cubicBezTo>
                  <a:pt x="8255233" y="1349403"/>
                  <a:pt x="8220429" y="1314600"/>
                  <a:pt x="8220429" y="1271666"/>
                </a:cubicBezTo>
                <a:cubicBezTo>
                  <a:pt x="8220429" y="1228733"/>
                  <a:pt x="8255233" y="1193930"/>
                  <a:pt x="8298166" y="1193930"/>
                </a:cubicBezTo>
                <a:close/>
                <a:moveTo>
                  <a:pt x="8109946" y="1193930"/>
                </a:moveTo>
                <a:cubicBezTo>
                  <a:pt x="8152879" y="1193930"/>
                  <a:pt x="8187683" y="1228733"/>
                  <a:pt x="8187683" y="1271666"/>
                </a:cubicBezTo>
                <a:cubicBezTo>
                  <a:pt x="8187683" y="1314600"/>
                  <a:pt x="8152879" y="1349403"/>
                  <a:pt x="8109946" y="1349403"/>
                </a:cubicBezTo>
                <a:cubicBezTo>
                  <a:pt x="8067013" y="1349403"/>
                  <a:pt x="8032209" y="1314600"/>
                  <a:pt x="8032209" y="1271666"/>
                </a:cubicBezTo>
                <a:cubicBezTo>
                  <a:pt x="8032209" y="1228733"/>
                  <a:pt x="8067013" y="1193930"/>
                  <a:pt x="8109946" y="1193930"/>
                </a:cubicBezTo>
                <a:close/>
                <a:moveTo>
                  <a:pt x="7926432" y="1193930"/>
                </a:moveTo>
                <a:cubicBezTo>
                  <a:pt x="7969364" y="1193930"/>
                  <a:pt x="8004169" y="1228733"/>
                  <a:pt x="8004169" y="1271666"/>
                </a:cubicBezTo>
                <a:cubicBezTo>
                  <a:pt x="8004169" y="1314600"/>
                  <a:pt x="7969364" y="1349403"/>
                  <a:pt x="7926432" y="1349403"/>
                </a:cubicBezTo>
                <a:cubicBezTo>
                  <a:pt x="7883499" y="1349403"/>
                  <a:pt x="7848695" y="1314600"/>
                  <a:pt x="7848695" y="1271666"/>
                </a:cubicBezTo>
                <a:cubicBezTo>
                  <a:pt x="7848695" y="1228733"/>
                  <a:pt x="7883499" y="1193930"/>
                  <a:pt x="7926432" y="1193930"/>
                </a:cubicBezTo>
                <a:close/>
                <a:moveTo>
                  <a:pt x="7738211" y="1193930"/>
                </a:moveTo>
                <a:cubicBezTo>
                  <a:pt x="7781143" y="1193930"/>
                  <a:pt x="7815947" y="1228733"/>
                  <a:pt x="7815947" y="1271666"/>
                </a:cubicBezTo>
                <a:cubicBezTo>
                  <a:pt x="7815947" y="1314600"/>
                  <a:pt x="7781143" y="1349403"/>
                  <a:pt x="7738211" y="1349403"/>
                </a:cubicBezTo>
                <a:cubicBezTo>
                  <a:pt x="7695278" y="1349403"/>
                  <a:pt x="7660474" y="1314600"/>
                  <a:pt x="7660474" y="1271666"/>
                </a:cubicBezTo>
                <a:cubicBezTo>
                  <a:pt x="7660474" y="1228733"/>
                  <a:pt x="7695278" y="1193930"/>
                  <a:pt x="7738211" y="1193930"/>
                </a:cubicBezTo>
                <a:close/>
                <a:moveTo>
                  <a:pt x="7554691" y="1193930"/>
                </a:moveTo>
                <a:cubicBezTo>
                  <a:pt x="7597624" y="1193930"/>
                  <a:pt x="7632428" y="1228733"/>
                  <a:pt x="7632428" y="1271666"/>
                </a:cubicBezTo>
                <a:cubicBezTo>
                  <a:pt x="7632428" y="1314600"/>
                  <a:pt x="7597624" y="1349403"/>
                  <a:pt x="7554691" y="1349403"/>
                </a:cubicBezTo>
                <a:cubicBezTo>
                  <a:pt x="7511758" y="1349403"/>
                  <a:pt x="7476954" y="1314600"/>
                  <a:pt x="7476954" y="1271666"/>
                </a:cubicBezTo>
                <a:cubicBezTo>
                  <a:pt x="7476954" y="1228733"/>
                  <a:pt x="7511758" y="1193930"/>
                  <a:pt x="7554691" y="1193930"/>
                </a:cubicBezTo>
                <a:close/>
                <a:moveTo>
                  <a:pt x="7366470" y="1193930"/>
                </a:moveTo>
                <a:cubicBezTo>
                  <a:pt x="7409403" y="1193930"/>
                  <a:pt x="7444207" y="1228733"/>
                  <a:pt x="7444207" y="1271666"/>
                </a:cubicBezTo>
                <a:cubicBezTo>
                  <a:pt x="7444207" y="1314600"/>
                  <a:pt x="7409403" y="1349403"/>
                  <a:pt x="7366470" y="1349403"/>
                </a:cubicBezTo>
                <a:cubicBezTo>
                  <a:pt x="7323537" y="1349403"/>
                  <a:pt x="7288733" y="1314600"/>
                  <a:pt x="7288733" y="1271666"/>
                </a:cubicBezTo>
                <a:cubicBezTo>
                  <a:pt x="7288733" y="1228733"/>
                  <a:pt x="7323537" y="1193930"/>
                  <a:pt x="7366470" y="1193930"/>
                </a:cubicBezTo>
                <a:close/>
                <a:moveTo>
                  <a:pt x="7178249" y="1193930"/>
                </a:moveTo>
                <a:cubicBezTo>
                  <a:pt x="7221182" y="1193930"/>
                  <a:pt x="7255986" y="1228733"/>
                  <a:pt x="7255986" y="1271666"/>
                </a:cubicBezTo>
                <a:cubicBezTo>
                  <a:pt x="7255986" y="1314600"/>
                  <a:pt x="7221182" y="1349403"/>
                  <a:pt x="7178249" y="1349403"/>
                </a:cubicBezTo>
                <a:cubicBezTo>
                  <a:pt x="7135316" y="1349403"/>
                  <a:pt x="7100512" y="1314600"/>
                  <a:pt x="7100512" y="1271666"/>
                </a:cubicBezTo>
                <a:cubicBezTo>
                  <a:pt x="7100512" y="1228733"/>
                  <a:pt x="7135316" y="1193930"/>
                  <a:pt x="7178249" y="1193930"/>
                </a:cubicBezTo>
                <a:close/>
                <a:moveTo>
                  <a:pt x="6985324" y="1193930"/>
                </a:moveTo>
                <a:cubicBezTo>
                  <a:pt x="7028257" y="1193930"/>
                  <a:pt x="7063061" y="1228733"/>
                  <a:pt x="7063061" y="1271666"/>
                </a:cubicBezTo>
                <a:cubicBezTo>
                  <a:pt x="7063061" y="1314600"/>
                  <a:pt x="7028257" y="1349403"/>
                  <a:pt x="6985324" y="1349403"/>
                </a:cubicBezTo>
                <a:cubicBezTo>
                  <a:pt x="6942391" y="1349403"/>
                  <a:pt x="6907587" y="1314600"/>
                  <a:pt x="6907587" y="1271666"/>
                </a:cubicBezTo>
                <a:cubicBezTo>
                  <a:pt x="6907587" y="1228733"/>
                  <a:pt x="6942391" y="1193930"/>
                  <a:pt x="6985324" y="1193930"/>
                </a:cubicBezTo>
                <a:close/>
                <a:moveTo>
                  <a:pt x="6801807" y="1193930"/>
                </a:moveTo>
                <a:cubicBezTo>
                  <a:pt x="6844740" y="1193930"/>
                  <a:pt x="6879544" y="1228733"/>
                  <a:pt x="6879544" y="1271666"/>
                </a:cubicBezTo>
                <a:cubicBezTo>
                  <a:pt x="6879544" y="1314600"/>
                  <a:pt x="6844740" y="1349403"/>
                  <a:pt x="6801807" y="1349403"/>
                </a:cubicBezTo>
                <a:cubicBezTo>
                  <a:pt x="6758874" y="1349403"/>
                  <a:pt x="6724070" y="1314600"/>
                  <a:pt x="6724070" y="1271666"/>
                </a:cubicBezTo>
                <a:cubicBezTo>
                  <a:pt x="6724070" y="1228733"/>
                  <a:pt x="6758874" y="1193930"/>
                  <a:pt x="6801807" y="1193930"/>
                </a:cubicBezTo>
                <a:close/>
                <a:moveTo>
                  <a:pt x="6613586" y="1193930"/>
                </a:moveTo>
                <a:cubicBezTo>
                  <a:pt x="6656519" y="1193930"/>
                  <a:pt x="6691323" y="1228733"/>
                  <a:pt x="6691323" y="1271666"/>
                </a:cubicBezTo>
                <a:cubicBezTo>
                  <a:pt x="6691323" y="1314600"/>
                  <a:pt x="6656519" y="1349403"/>
                  <a:pt x="6613586" y="1349403"/>
                </a:cubicBezTo>
                <a:cubicBezTo>
                  <a:pt x="6570653" y="1349403"/>
                  <a:pt x="6535849" y="1314600"/>
                  <a:pt x="6535849" y="1271666"/>
                </a:cubicBezTo>
                <a:cubicBezTo>
                  <a:pt x="6535849" y="1228733"/>
                  <a:pt x="6570653" y="1193930"/>
                  <a:pt x="6613586" y="1193930"/>
                </a:cubicBezTo>
                <a:close/>
                <a:moveTo>
                  <a:pt x="6425365" y="1193930"/>
                </a:moveTo>
                <a:cubicBezTo>
                  <a:pt x="6468298" y="1193930"/>
                  <a:pt x="6503102" y="1228733"/>
                  <a:pt x="6503102" y="1271666"/>
                </a:cubicBezTo>
                <a:cubicBezTo>
                  <a:pt x="6503102" y="1314600"/>
                  <a:pt x="6468298" y="1349403"/>
                  <a:pt x="6425365" y="1349403"/>
                </a:cubicBezTo>
                <a:cubicBezTo>
                  <a:pt x="6382432" y="1349403"/>
                  <a:pt x="6347628" y="1314600"/>
                  <a:pt x="6347628" y="1271666"/>
                </a:cubicBezTo>
                <a:cubicBezTo>
                  <a:pt x="6347628" y="1228733"/>
                  <a:pt x="6382432" y="1193930"/>
                  <a:pt x="6425365" y="1193930"/>
                </a:cubicBezTo>
                <a:close/>
                <a:moveTo>
                  <a:pt x="6241848" y="1193930"/>
                </a:moveTo>
                <a:cubicBezTo>
                  <a:pt x="6284781" y="1193930"/>
                  <a:pt x="6319585" y="1228733"/>
                  <a:pt x="6319585" y="1271666"/>
                </a:cubicBezTo>
                <a:cubicBezTo>
                  <a:pt x="6319585" y="1314600"/>
                  <a:pt x="6284781" y="1349403"/>
                  <a:pt x="6241848" y="1349403"/>
                </a:cubicBezTo>
                <a:cubicBezTo>
                  <a:pt x="6198915" y="1349403"/>
                  <a:pt x="6164111" y="1314600"/>
                  <a:pt x="6164111" y="1271666"/>
                </a:cubicBezTo>
                <a:cubicBezTo>
                  <a:pt x="6164111" y="1228733"/>
                  <a:pt x="6198915" y="1193930"/>
                  <a:pt x="6241848" y="1193930"/>
                </a:cubicBezTo>
                <a:close/>
                <a:moveTo>
                  <a:pt x="6053629" y="1193930"/>
                </a:moveTo>
                <a:cubicBezTo>
                  <a:pt x="6096562" y="1193930"/>
                  <a:pt x="6131366" y="1228733"/>
                  <a:pt x="6131366" y="1271666"/>
                </a:cubicBezTo>
                <a:cubicBezTo>
                  <a:pt x="6131366" y="1314600"/>
                  <a:pt x="6096562" y="1349403"/>
                  <a:pt x="6053629" y="1349403"/>
                </a:cubicBezTo>
                <a:cubicBezTo>
                  <a:pt x="6010696" y="1349403"/>
                  <a:pt x="5975892" y="1314600"/>
                  <a:pt x="5975892" y="1271666"/>
                </a:cubicBezTo>
                <a:cubicBezTo>
                  <a:pt x="5975892" y="1228733"/>
                  <a:pt x="6010696" y="1193930"/>
                  <a:pt x="6053629" y="1193930"/>
                </a:cubicBezTo>
                <a:close/>
                <a:moveTo>
                  <a:pt x="5870112" y="1193930"/>
                </a:moveTo>
                <a:cubicBezTo>
                  <a:pt x="5913045" y="1193930"/>
                  <a:pt x="5947849" y="1228733"/>
                  <a:pt x="5947849" y="1271666"/>
                </a:cubicBezTo>
                <a:cubicBezTo>
                  <a:pt x="5947849" y="1314600"/>
                  <a:pt x="5913045" y="1349403"/>
                  <a:pt x="5870112" y="1349403"/>
                </a:cubicBezTo>
                <a:cubicBezTo>
                  <a:pt x="5827179" y="1349403"/>
                  <a:pt x="5792375" y="1314600"/>
                  <a:pt x="5792375" y="1271666"/>
                </a:cubicBezTo>
                <a:cubicBezTo>
                  <a:pt x="5792375" y="1228733"/>
                  <a:pt x="5827179" y="1193930"/>
                  <a:pt x="5870112" y="1193930"/>
                </a:cubicBezTo>
                <a:close/>
                <a:moveTo>
                  <a:pt x="4557299" y="1193930"/>
                </a:moveTo>
                <a:cubicBezTo>
                  <a:pt x="4600237" y="1193930"/>
                  <a:pt x="4635045" y="1228733"/>
                  <a:pt x="4635045" y="1271666"/>
                </a:cubicBezTo>
                <a:cubicBezTo>
                  <a:pt x="4635045" y="1314600"/>
                  <a:pt x="4600237" y="1349403"/>
                  <a:pt x="4557299" y="1349403"/>
                </a:cubicBezTo>
                <a:cubicBezTo>
                  <a:pt x="4514356" y="1349403"/>
                  <a:pt x="4479562" y="1314600"/>
                  <a:pt x="4479562" y="1271666"/>
                </a:cubicBezTo>
                <a:cubicBezTo>
                  <a:pt x="4479562" y="1228733"/>
                  <a:pt x="4514356" y="1193930"/>
                  <a:pt x="4557299" y="1193930"/>
                </a:cubicBezTo>
                <a:close/>
                <a:moveTo>
                  <a:pt x="3813851" y="1193930"/>
                </a:moveTo>
                <a:cubicBezTo>
                  <a:pt x="3856787" y="1193930"/>
                  <a:pt x="3891562" y="1228733"/>
                  <a:pt x="3891562" y="1271666"/>
                </a:cubicBezTo>
                <a:cubicBezTo>
                  <a:pt x="3891562" y="1314600"/>
                  <a:pt x="3856787" y="1349403"/>
                  <a:pt x="3813851" y="1349403"/>
                </a:cubicBezTo>
                <a:cubicBezTo>
                  <a:pt x="3770911" y="1349403"/>
                  <a:pt x="3736077" y="1314600"/>
                  <a:pt x="3736077" y="1271666"/>
                </a:cubicBezTo>
                <a:cubicBezTo>
                  <a:pt x="3736077" y="1228733"/>
                  <a:pt x="3770911" y="1193930"/>
                  <a:pt x="3813851" y="1193930"/>
                </a:cubicBezTo>
                <a:close/>
                <a:moveTo>
                  <a:pt x="3625629" y="1193930"/>
                </a:moveTo>
                <a:cubicBezTo>
                  <a:pt x="3668547" y="1193930"/>
                  <a:pt x="3703372" y="1228733"/>
                  <a:pt x="3703372" y="1271666"/>
                </a:cubicBezTo>
                <a:cubicBezTo>
                  <a:pt x="3703372" y="1314600"/>
                  <a:pt x="3668547" y="1349403"/>
                  <a:pt x="3625629" y="1349403"/>
                </a:cubicBezTo>
                <a:cubicBezTo>
                  <a:pt x="3582685" y="1349403"/>
                  <a:pt x="3547906" y="1314600"/>
                  <a:pt x="3547906" y="1271666"/>
                </a:cubicBezTo>
                <a:cubicBezTo>
                  <a:pt x="3547906" y="1228733"/>
                  <a:pt x="3582685" y="1193930"/>
                  <a:pt x="3625629" y="1193930"/>
                </a:cubicBezTo>
                <a:close/>
                <a:moveTo>
                  <a:pt x="3442093" y="1193930"/>
                </a:moveTo>
                <a:cubicBezTo>
                  <a:pt x="3485038" y="1193930"/>
                  <a:pt x="3519851" y="1228733"/>
                  <a:pt x="3519851" y="1271666"/>
                </a:cubicBezTo>
                <a:cubicBezTo>
                  <a:pt x="3519851" y="1314600"/>
                  <a:pt x="3485038" y="1349403"/>
                  <a:pt x="3442093" y="1349403"/>
                </a:cubicBezTo>
                <a:cubicBezTo>
                  <a:pt x="3399314" y="1349403"/>
                  <a:pt x="3364515" y="1314600"/>
                  <a:pt x="3364515" y="1271666"/>
                </a:cubicBezTo>
                <a:cubicBezTo>
                  <a:pt x="3364515" y="1228733"/>
                  <a:pt x="3399314" y="1193930"/>
                  <a:pt x="3442093" y="1193930"/>
                </a:cubicBezTo>
                <a:close/>
                <a:moveTo>
                  <a:pt x="2689384" y="1193930"/>
                </a:moveTo>
                <a:cubicBezTo>
                  <a:pt x="2732312" y="1193930"/>
                  <a:pt x="2767088" y="1228733"/>
                  <a:pt x="2767088" y="1271666"/>
                </a:cubicBezTo>
                <a:cubicBezTo>
                  <a:pt x="2767088" y="1314600"/>
                  <a:pt x="2732312" y="1349403"/>
                  <a:pt x="2689384" y="1349403"/>
                </a:cubicBezTo>
                <a:cubicBezTo>
                  <a:pt x="2646441" y="1349403"/>
                  <a:pt x="2611650" y="1314600"/>
                  <a:pt x="2611650" y="1271666"/>
                </a:cubicBezTo>
                <a:cubicBezTo>
                  <a:pt x="2611650" y="1228733"/>
                  <a:pt x="2646441" y="1193930"/>
                  <a:pt x="2689384" y="1193930"/>
                </a:cubicBezTo>
                <a:close/>
                <a:moveTo>
                  <a:pt x="2510561" y="1193930"/>
                </a:moveTo>
                <a:cubicBezTo>
                  <a:pt x="2553505" y="1193930"/>
                  <a:pt x="2588307" y="1228733"/>
                  <a:pt x="2588307" y="1271666"/>
                </a:cubicBezTo>
                <a:cubicBezTo>
                  <a:pt x="2588307" y="1314600"/>
                  <a:pt x="2553505" y="1349403"/>
                  <a:pt x="2510561" y="1349403"/>
                </a:cubicBezTo>
                <a:cubicBezTo>
                  <a:pt x="2467614" y="1349403"/>
                  <a:pt x="2432798" y="1314600"/>
                  <a:pt x="2432798" y="1271666"/>
                </a:cubicBezTo>
                <a:cubicBezTo>
                  <a:pt x="2432798" y="1228733"/>
                  <a:pt x="2467614" y="1193930"/>
                  <a:pt x="2510561" y="1193930"/>
                </a:cubicBezTo>
                <a:close/>
                <a:moveTo>
                  <a:pt x="2317592" y="1193930"/>
                </a:moveTo>
                <a:cubicBezTo>
                  <a:pt x="2360520" y="1193930"/>
                  <a:pt x="2395336" y="1228733"/>
                  <a:pt x="2395336" y="1271666"/>
                </a:cubicBezTo>
                <a:cubicBezTo>
                  <a:pt x="2395336" y="1314600"/>
                  <a:pt x="2360520" y="1349403"/>
                  <a:pt x="2317592" y="1349403"/>
                </a:cubicBezTo>
                <a:cubicBezTo>
                  <a:pt x="2274664" y="1349403"/>
                  <a:pt x="2239868" y="1314600"/>
                  <a:pt x="2239868" y="1271666"/>
                </a:cubicBezTo>
                <a:cubicBezTo>
                  <a:pt x="2239868" y="1228733"/>
                  <a:pt x="2274664" y="1193930"/>
                  <a:pt x="2317592" y="1193930"/>
                </a:cubicBezTo>
                <a:close/>
                <a:moveTo>
                  <a:pt x="1941215" y="1193930"/>
                </a:moveTo>
                <a:cubicBezTo>
                  <a:pt x="1984139" y="1193930"/>
                  <a:pt x="2018936" y="1228733"/>
                  <a:pt x="2018936" y="1271666"/>
                </a:cubicBezTo>
                <a:cubicBezTo>
                  <a:pt x="2018936" y="1314600"/>
                  <a:pt x="1984139" y="1349403"/>
                  <a:pt x="1941215" y="1349403"/>
                </a:cubicBezTo>
                <a:cubicBezTo>
                  <a:pt x="1898289" y="1349403"/>
                  <a:pt x="1863490" y="1314600"/>
                  <a:pt x="1863490" y="1271666"/>
                </a:cubicBezTo>
                <a:cubicBezTo>
                  <a:pt x="1863490" y="1228733"/>
                  <a:pt x="1898289" y="1193930"/>
                  <a:pt x="1941215" y="1193930"/>
                </a:cubicBezTo>
                <a:close/>
                <a:moveTo>
                  <a:pt x="1757725" y="1193930"/>
                </a:moveTo>
                <a:cubicBezTo>
                  <a:pt x="1800655" y="1193930"/>
                  <a:pt x="1835455" y="1228733"/>
                  <a:pt x="1835455" y="1271666"/>
                </a:cubicBezTo>
                <a:cubicBezTo>
                  <a:pt x="1835455" y="1314600"/>
                  <a:pt x="1800655" y="1349403"/>
                  <a:pt x="1757725" y="1349403"/>
                </a:cubicBezTo>
                <a:cubicBezTo>
                  <a:pt x="1714785" y="1349403"/>
                  <a:pt x="1680002" y="1314600"/>
                  <a:pt x="1680002" y="1271666"/>
                </a:cubicBezTo>
                <a:cubicBezTo>
                  <a:pt x="1680002" y="1228733"/>
                  <a:pt x="1714785" y="1193930"/>
                  <a:pt x="1757725" y="1193930"/>
                </a:cubicBezTo>
                <a:close/>
                <a:moveTo>
                  <a:pt x="1569502" y="1193930"/>
                </a:moveTo>
                <a:cubicBezTo>
                  <a:pt x="1612461" y="1193930"/>
                  <a:pt x="1647263" y="1228733"/>
                  <a:pt x="1647263" y="1271666"/>
                </a:cubicBezTo>
                <a:cubicBezTo>
                  <a:pt x="1647263" y="1314600"/>
                  <a:pt x="1612461" y="1349403"/>
                  <a:pt x="1569502" y="1349403"/>
                </a:cubicBezTo>
                <a:cubicBezTo>
                  <a:pt x="1526594" y="1349403"/>
                  <a:pt x="1491781" y="1314600"/>
                  <a:pt x="1491781" y="1271666"/>
                </a:cubicBezTo>
                <a:cubicBezTo>
                  <a:pt x="1491781" y="1228733"/>
                  <a:pt x="1526594" y="1193930"/>
                  <a:pt x="1569502" y="1193930"/>
                </a:cubicBezTo>
                <a:close/>
                <a:moveTo>
                  <a:pt x="1385962" y="1193930"/>
                </a:moveTo>
                <a:cubicBezTo>
                  <a:pt x="1428912" y="1193930"/>
                  <a:pt x="1463728" y="1228733"/>
                  <a:pt x="1463728" y="1271666"/>
                </a:cubicBezTo>
                <a:cubicBezTo>
                  <a:pt x="1463728" y="1314600"/>
                  <a:pt x="1428912" y="1349403"/>
                  <a:pt x="1385962" y="1349403"/>
                </a:cubicBezTo>
                <a:cubicBezTo>
                  <a:pt x="1343017" y="1349403"/>
                  <a:pt x="1308203" y="1314600"/>
                  <a:pt x="1308203" y="1271666"/>
                </a:cubicBezTo>
                <a:cubicBezTo>
                  <a:pt x="1308203" y="1228733"/>
                  <a:pt x="1343017" y="1193930"/>
                  <a:pt x="1385962" y="1193930"/>
                </a:cubicBezTo>
                <a:close/>
                <a:moveTo>
                  <a:pt x="1202423" y="1193930"/>
                </a:moveTo>
                <a:cubicBezTo>
                  <a:pt x="1245354" y="1193930"/>
                  <a:pt x="1280154" y="1228733"/>
                  <a:pt x="1280154" y="1271666"/>
                </a:cubicBezTo>
                <a:cubicBezTo>
                  <a:pt x="1280154" y="1314600"/>
                  <a:pt x="1245354" y="1349403"/>
                  <a:pt x="1202423" y="1349403"/>
                </a:cubicBezTo>
                <a:cubicBezTo>
                  <a:pt x="1159470" y="1349403"/>
                  <a:pt x="1124711" y="1314600"/>
                  <a:pt x="1124711" y="1271666"/>
                </a:cubicBezTo>
                <a:cubicBezTo>
                  <a:pt x="1124711" y="1228733"/>
                  <a:pt x="1159470" y="1193930"/>
                  <a:pt x="1202423" y="1193930"/>
                </a:cubicBezTo>
                <a:close/>
                <a:moveTo>
                  <a:pt x="1014183" y="1193930"/>
                </a:moveTo>
                <a:cubicBezTo>
                  <a:pt x="1057110" y="1193930"/>
                  <a:pt x="1091948" y="1228733"/>
                  <a:pt x="1091948" y="1271666"/>
                </a:cubicBezTo>
                <a:cubicBezTo>
                  <a:pt x="1091948" y="1314600"/>
                  <a:pt x="1057110" y="1349403"/>
                  <a:pt x="1014183" y="1349403"/>
                </a:cubicBezTo>
                <a:cubicBezTo>
                  <a:pt x="971293" y="1349403"/>
                  <a:pt x="936485" y="1314600"/>
                  <a:pt x="936485" y="1271666"/>
                </a:cubicBezTo>
                <a:cubicBezTo>
                  <a:pt x="936485" y="1228733"/>
                  <a:pt x="971293" y="1193930"/>
                  <a:pt x="1014183" y="1193930"/>
                </a:cubicBezTo>
                <a:close/>
                <a:moveTo>
                  <a:pt x="1047621" y="1157652"/>
                </a:moveTo>
                <a:lnTo>
                  <a:pt x="1044462" y="1159780"/>
                </a:lnTo>
                <a:lnTo>
                  <a:pt x="1043952" y="1159883"/>
                </a:lnTo>
                <a:close/>
                <a:moveTo>
                  <a:pt x="9158798" y="1097912"/>
                </a:moveTo>
                <a:lnTo>
                  <a:pt x="9261584" y="1160435"/>
                </a:lnTo>
                <a:lnTo>
                  <a:pt x="9234570" y="1165888"/>
                </a:lnTo>
                <a:cubicBezTo>
                  <a:pt x="9202370" y="1165888"/>
                  <a:pt x="9174743" y="1146312"/>
                  <a:pt x="9162942" y="1118425"/>
                </a:cubicBezTo>
                <a:close/>
                <a:moveTo>
                  <a:pt x="1254927" y="1031550"/>
                </a:moveTo>
                <a:lnTo>
                  <a:pt x="1257402" y="1033219"/>
                </a:lnTo>
                <a:cubicBezTo>
                  <a:pt x="1271469" y="1047286"/>
                  <a:pt x="1280169" y="1066720"/>
                  <a:pt x="1280169" y="1088187"/>
                </a:cubicBezTo>
                <a:cubicBezTo>
                  <a:pt x="1280169" y="1131085"/>
                  <a:pt x="1245372" y="1165888"/>
                  <a:pt x="1202428" y="1165888"/>
                </a:cubicBezTo>
                <a:cubicBezTo>
                  <a:pt x="1170216" y="1165888"/>
                  <a:pt x="1142617" y="1146312"/>
                  <a:pt x="1130831" y="1118426"/>
                </a:cubicBezTo>
                <a:lnTo>
                  <a:pt x="1128785" y="1108281"/>
                </a:lnTo>
                <a:close/>
                <a:moveTo>
                  <a:pt x="9020475" y="1013773"/>
                </a:moveTo>
                <a:lnTo>
                  <a:pt x="9110734" y="1068676"/>
                </a:lnTo>
                <a:lnTo>
                  <a:pt x="9114673" y="1088185"/>
                </a:lnTo>
                <a:cubicBezTo>
                  <a:pt x="9114673" y="1131085"/>
                  <a:pt x="9079869" y="1165888"/>
                  <a:pt x="9036936" y="1165888"/>
                </a:cubicBezTo>
                <a:cubicBezTo>
                  <a:pt x="8994003" y="1165888"/>
                  <a:pt x="8959199" y="1131085"/>
                  <a:pt x="8959199" y="1088185"/>
                </a:cubicBezTo>
                <a:cubicBezTo>
                  <a:pt x="8959199" y="1055986"/>
                  <a:pt x="8978776" y="1028359"/>
                  <a:pt x="9006677" y="1016558"/>
                </a:cubicBezTo>
                <a:close/>
                <a:moveTo>
                  <a:pt x="7926434" y="1010450"/>
                </a:moveTo>
                <a:cubicBezTo>
                  <a:pt x="7969367" y="1010450"/>
                  <a:pt x="8004171" y="1045253"/>
                  <a:pt x="8004171" y="1088186"/>
                </a:cubicBezTo>
                <a:cubicBezTo>
                  <a:pt x="8004171" y="1131085"/>
                  <a:pt x="7969367" y="1165888"/>
                  <a:pt x="7926434" y="1165888"/>
                </a:cubicBezTo>
                <a:cubicBezTo>
                  <a:pt x="7883501" y="1165888"/>
                  <a:pt x="7848697" y="1131085"/>
                  <a:pt x="7848697" y="1088186"/>
                </a:cubicBezTo>
                <a:cubicBezTo>
                  <a:pt x="7848697" y="1045253"/>
                  <a:pt x="7883501" y="1010450"/>
                  <a:pt x="7926434" y="1010450"/>
                </a:cubicBezTo>
                <a:close/>
                <a:moveTo>
                  <a:pt x="7738213" y="1010450"/>
                </a:moveTo>
                <a:cubicBezTo>
                  <a:pt x="7781146" y="1010450"/>
                  <a:pt x="7815950" y="1045253"/>
                  <a:pt x="7815950" y="1088186"/>
                </a:cubicBezTo>
                <a:cubicBezTo>
                  <a:pt x="7815950" y="1131085"/>
                  <a:pt x="7781146" y="1165888"/>
                  <a:pt x="7738213" y="1165888"/>
                </a:cubicBezTo>
                <a:cubicBezTo>
                  <a:pt x="7695280" y="1165888"/>
                  <a:pt x="7660476" y="1131085"/>
                  <a:pt x="7660476" y="1088186"/>
                </a:cubicBezTo>
                <a:cubicBezTo>
                  <a:pt x="7660476" y="1045253"/>
                  <a:pt x="7695280" y="1010450"/>
                  <a:pt x="7738213" y="1010450"/>
                </a:cubicBezTo>
                <a:close/>
                <a:moveTo>
                  <a:pt x="7554693" y="1010450"/>
                </a:moveTo>
                <a:cubicBezTo>
                  <a:pt x="7597626" y="1010450"/>
                  <a:pt x="7632430" y="1045253"/>
                  <a:pt x="7632430" y="1088186"/>
                </a:cubicBezTo>
                <a:cubicBezTo>
                  <a:pt x="7632430" y="1131085"/>
                  <a:pt x="7597626" y="1165888"/>
                  <a:pt x="7554693" y="1165888"/>
                </a:cubicBezTo>
                <a:cubicBezTo>
                  <a:pt x="7511761" y="1165888"/>
                  <a:pt x="7476957" y="1131085"/>
                  <a:pt x="7476957" y="1088186"/>
                </a:cubicBezTo>
                <a:cubicBezTo>
                  <a:pt x="7476957" y="1045253"/>
                  <a:pt x="7511761" y="1010450"/>
                  <a:pt x="7554693" y="1010450"/>
                </a:cubicBezTo>
                <a:close/>
                <a:moveTo>
                  <a:pt x="7366472" y="1010450"/>
                </a:moveTo>
                <a:cubicBezTo>
                  <a:pt x="7409405" y="1010450"/>
                  <a:pt x="7444209" y="1045253"/>
                  <a:pt x="7444209" y="1088186"/>
                </a:cubicBezTo>
                <a:cubicBezTo>
                  <a:pt x="7444209" y="1131085"/>
                  <a:pt x="7409405" y="1165888"/>
                  <a:pt x="7366472" y="1165888"/>
                </a:cubicBezTo>
                <a:cubicBezTo>
                  <a:pt x="7323540" y="1165888"/>
                  <a:pt x="7288736" y="1131085"/>
                  <a:pt x="7288736" y="1088186"/>
                </a:cubicBezTo>
                <a:cubicBezTo>
                  <a:pt x="7288736" y="1045253"/>
                  <a:pt x="7323540" y="1010450"/>
                  <a:pt x="7366472" y="1010450"/>
                </a:cubicBezTo>
                <a:close/>
                <a:moveTo>
                  <a:pt x="6613588" y="1010450"/>
                </a:moveTo>
                <a:cubicBezTo>
                  <a:pt x="6656521" y="1010450"/>
                  <a:pt x="6691325" y="1045253"/>
                  <a:pt x="6691325" y="1088186"/>
                </a:cubicBezTo>
                <a:cubicBezTo>
                  <a:pt x="6691325" y="1131085"/>
                  <a:pt x="6656521" y="1165888"/>
                  <a:pt x="6613588" y="1165888"/>
                </a:cubicBezTo>
                <a:cubicBezTo>
                  <a:pt x="6570656" y="1165888"/>
                  <a:pt x="6535852" y="1131085"/>
                  <a:pt x="6535852" y="1088186"/>
                </a:cubicBezTo>
                <a:cubicBezTo>
                  <a:pt x="6535852" y="1045253"/>
                  <a:pt x="6570656" y="1010450"/>
                  <a:pt x="6613588" y="1010450"/>
                </a:cubicBezTo>
                <a:close/>
                <a:moveTo>
                  <a:pt x="6425365" y="1010450"/>
                </a:moveTo>
                <a:cubicBezTo>
                  <a:pt x="6468298" y="1010450"/>
                  <a:pt x="6503102" y="1045253"/>
                  <a:pt x="6503102" y="1088186"/>
                </a:cubicBezTo>
                <a:cubicBezTo>
                  <a:pt x="6503102" y="1131085"/>
                  <a:pt x="6468298" y="1165888"/>
                  <a:pt x="6425365" y="1165888"/>
                </a:cubicBezTo>
                <a:cubicBezTo>
                  <a:pt x="6382432" y="1165888"/>
                  <a:pt x="6347628" y="1131085"/>
                  <a:pt x="6347628" y="1088186"/>
                </a:cubicBezTo>
                <a:cubicBezTo>
                  <a:pt x="6347628" y="1045253"/>
                  <a:pt x="6382432" y="1010450"/>
                  <a:pt x="6425365" y="1010450"/>
                </a:cubicBezTo>
                <a:close/>
                <a:moveTo>
                  <a:pt x="6241850" y="1010450"/>
                </a:moveTo>
                <a:cubicBezTo>
                  <a:pt x="6284783" y="1010450"/>
                  <a:pt x="6319587" y="1045253"/>
                  <a:pt x="6319587" y="1088186"/>
                </a:cubicBezTo>
                <a:cubicBezTo>
                  <a:pt x="6319587" y="1131085"/>
                  <a:pt x="6284783" y="1165888"/>
                  <a:pt x="6241850" y="1165888"/>
                </a:cubicBezTo>
                <a:cubicBezTo>
                  <a:pt x="6198917" y="1165888"/>
                  <a:pt x="6164113" y="1131085"/>
                  <a:pt x="6164113" y="1088186"/>
                </a:cubicBezTo>
                <a:cubicBezTo>
                  <a:pt x="6164113" y="1045253"/>
                  <a:pt x="6198917" y="1010450"/>
                  <a:pt x="6241850" y="1010450"/>
                </a:cubicBezTo>
                <a:close/>
                <a:moveTo>
                  <a:pt x="6053630" y="1010450"/>
                </a:moveTo>
                <a:cubicBezTo>
                  <a:pt x="6096563" y="1010450"/>
                  <a:pt x="6131367" y="1045253"/>
                  <a:pt x="6131367" y="1088186"/>
                </a:cubicBezTo>
                <a:cubicBezTo>
                  <a:pt x="6131367" y="1131085"/>
                  <a:pt x="6096563" y="1165888"/>
                  <a:pt x="6053630" y="1165888"/>
                </a:cubicBezTo>
                <a:cubicBezTo>
                  <a:pt x="6010698" y="1165888"/>
                  <a:pt x="5975894" y="1131085"/>
                  <a:pt x="5975894" y="1088186"/>
                </a:cubicBezTo>
                <a:cubicBezTo>
                  <a:pt x="5975894" y="1045253"/>
                  <a:pt x="6010698" y="1010450"/>
                  <a:pt x="6053630" y="1010450"/>
                </a:cubicBezTo>
                <a:close/>
                <a:moveTo>
                  <a:pt x="5870113" y="1010450"/>
                </a:moveTo>
                <a:cubicBezTo>
                  <a:pt x="5913046" y="1010450"/>
                  <a:pt x="5947850" y="1045253"/>
                  <a:pt x="5947850" y="1088186"/>
                </a:cubicBezTo>
                <a:cubicBezTo>
                  <a:pt x="5947850" y="1131085"/>
                  <a:pt x="5913046" y="1165888"/>
                  <a:pt x="5870113" y="1165888"/>
                </a:cubicBezTo>
                <a:cubicBezTo>
                  <a:pt x="5827181" y="1165888"/>
                  <a:pt x="5792376" y="1131085"/>
                  <a:pt x="5792376" y="1088186"/>
                </a:cubicBezTo>
                <a:cubicBezTo>
                  <a:pt x="5792376" y="1045253"/>
                  <a:pt x="5827181" y="1010450"/>
                  <a:pt x="5870113" y="1010450"/>
                </a:cubicBezTo>
                <a:close/>
                <a:moveTo>
                  <a:pt x="4185559" y="1010450"/>
                </a:moveTo>
                <a:cubicBezTo>
                  <a:pt x="4228500" y="1010450"/>
                  <a:pt x="4263314" y="1045253"/>
                  <a:pt x="4263314" y="1088187"/>
                </a:cubicBezTo>
                <a:cubicBezTo>
                  <a:pt x="4263314" y="1131085"/>
                  <a:pt x="4228500" y="1165888"/>
                  <a:pt x="4185559" y="1165888"/>
                </a:cubicBezTo>
                <a:cubicBezTo>
                  <a:pt x="4142611" y="1165888"/>
                  <a:pt x="4107799" y="1131085"/>
                  <a:pt x="4107799" y="1088187"/>
                </a:cubicBezTo>
                <a:cubicBezTo>
                  <a:pt x="4107799" y="1045253"/>
                  <a:pt x="4142611" y="1010450"/>
                  <a:pt x="4185559" y="1010450"/>
                </a:cubicBezTo>
                <a:close/>
                <a:moveTo>
                  <a:pt x="3997354" y="1010450"/>
                </a:moveTo>
                <a:cubicBezTo>
                  <a:pt x="4040268" y="1010450"/>
                  <a:pt x="4075062" y="1045253"/>
                  <a:pt x="4075062" y="1088187"/>
                </a:cubicBezTo>
                <a:cubicBezTo>
                  <a:pt x="4075062" y="1131085"/>
                  <a:pt x="4040268" y="1165888"/>
                  <a:pt x="3997354" y="1165888"/>
                </a:cubicBezTo>
                <a:cubicBezTo>
                  <a:pt x="3954440" y="1165888"/>
                  <a:pt x="3919622" y="1131085"/>
                  <a:pt x="3919622" y="1088187"/>
                </a:cubicBezTo>
                <a:cubicBezTo>
                  <a:pt x="3919622" y="1045253"/>
                  <a:pt x="3954440" y="1010450"/>
                  <a:pt x="3997354" y="1010450"/>
                </a:cubicBezTo>
                <a:close/>
                <a:moveTo>
                  <a:pt x="3813851" y="1010450"/>
                </a:moveTo>
                <a:cubicBezTo>
                  <a:pt x="3856791" y="1010450"/>
                  <a:pt x="3891567" y="1045253"/>
                  <a:pt x="3891567" y="1088187"/>
                </a:cubicBezTo>
                <a:cubicBezTo>
                  <a:pt x="3891567" y="1131085"/>
                  <a:pt x="3856791" y="1165888"/>
                  <a:pt x="3813851" y="1165888"/>
                </a:cubicBezTo>
                <a:cubicBezTo>
                  <a:pt x="3770914" y="1165888"/>
                  <a:pt x="3736077" y="1131085"/>
                  <a:pt x="3736077" y="1088187"/>
                </a:cubicBezTo>
                <a:cubicBezTo>
                  <a:pt x="3736077" y="1045253"/>
                  <a:pt x="3770914" y="1010450"/>
                  <a:pt x="3813851" y="1010450"/>
                </a:cubicBezTo>
                <a:close/>
                <a:moveTo>
                  <a:pt x="3625629" y="1010450"/>
                </a:moveTo>
                <a:cubicBezTo>
                  <a:pt x="3668547" y="1010450"/>
                  <a:pt x="3703372" y="1045253"/>
                  <a:pt x="3703372" y="1088187"/>
                </a:cubicBezTo>
                <a:cubicBezTo>
                  <a:pt x="3703372" y="1131085"/>
                  <a:pt x="3668547" y="1165888"/>
                  <a:pt x="3625629" y="1165888"/>
                </a:cubicBezTo>
                <a:cubicBezTo>
                  <a:pt x="3582685" y="1165888"/>
                  <a:pt x="3547906" y="1131085"/>
                  <a:pt x="3547906" y="1088187"/>
                </a:cubicBezTo>
                <a:cubicBezTo>
                  <a:pt x="3547906" y="1045253"/>
                  <a:pt x="3582685" y="1010450"/>
                  <a:pt x="3625629" y="1010450"/>
                </a:cubicBezTo>
                <a:close/>
                <a:moveTo>
                  <a:pt x="3442100" y="1010450"/>
                </a:moveTo>
                <a:cubicBezTo>
                  <a:pt x="3485038" y="1010450"/>
                  <a:pt x="3519851" y="1045253"/>
                  <a:pt x="3519851" y="1088187"/>
                </a:cubicBezTo>
                <a:cubicBezTo>
                  <a:pt x="3519851" y="1131085"/>
                  <a:pt x="3485038" y="1165888"/>
                  <a:pt x="3442100" y="1165888"/>
                </a:cubicBezTo>
                <a:cubicBezTo>
                  <a:pt x="3399329" y="1165888"/>
                  <a:pt x="3364528" y="1131085"/>
                  <a:pt x="3364528" y="1088187"/>
                </a:cubicBezTo>
                <a:cubicBezTo>
                  <a:pt x="3364528" y="1045253"/>
                  <a:pt x="3399329" y="1010450"/>
                  <a:pt x="3442100" y="1010450"/>
                </a:cubicBezTo>
                <a:close/>
                <a:moveTo>
                  <a:pt x="2689397" y="1010450"/>
                </a:moveTo>
                <a:cubicBezTo>
                  <a:pt x="2732328" y="1010450"/>
                  <a:pt x="2767106" y="1045253"/>
                  <a:pt x="2767106" y="1088187"/>
                </a:cubicBezTo>
                <a:cubicBezTo>
                  <a:pt x="2767106" y="1131085"/>
                  <a:pt x="2732328" y="1165888"/>
                  <a:pt x="2689397" y="1165888"/>
                </a:cubicBezTo>
                <a:cubicBezTo>
                  <a:pt x="2646455" y="1165888"/>
                  <a:pt x="2611665" y="1131085"/>
                  <a:pt x="2611665" y="1088187"/>
                </a:cubicBezTo>
                <a:cubicBezTo>
                  <a:pt x="2611665" y="1045253"/>
                  <a:pt x="2646455" y="1010450"/>
                  <a:pt x="2689397" y="1010450"/>
                </a:cubicBezTo>
                <a:close/>
                <a:moveTo>
                  <a:pt x="2510576" y="1010450"/>
                </a:moveTo>
                <a:cubicBezTo>
                  <a:pt x="2553520" y="1010450"/>
                  <a:pt x="2588319" y="1045253"/>
                  <a:pt x="2588319" y="1088187"/>
                </a:cubicBezTo>
                <a:cubicBezTo>
                  <a:pt x="2588319" y="1131085"/>
                  <a:pt x="2553520" y="1165888"/>
                  <a:pt x="2510576" y="1165888"/>
                </a:cubicBezTo>
                <a:cubicBezTo>
                  <a:pt x="2467630" y="1165888"/>
                  <a:pt x="2432814" y="1131085"/>
                  <a:pt x="2432814" y="1088187"/>
                </a:cubicBezTo>
                <a:cubicBezTo>
                  <a:pt x="2432814" y="1045253"/>
                  <a:pt x="2467630" y="1010450"/>
                  <a:pt x="2510576" y="1010450"/>
                </a:cubicBezTo>
                <a:close/>
                <a:moveTo>
                  <a:pt x="2317606" y="1010450"/>
                </a:moveTo>
                <a:cubicBezTo>
                  <a:pt x="2360536" y="1010450"/>
                  <a:pt x="2395351" y="1045253"/>
                  <a:pt x="2395351" y="1088187"/>
                </a:cubicBezTo>
                <a:cubicBezTo>
                  <a:pt x="2395351" y="1131085"/>
                  <a:pt x="2360536" y="1165888"/>
                  <a:pt x="2317606" y="1165888"/>
                </a:cubicBezTo>
                <a:cubicBezTo>
                  <a:pt x="2274681" y="1165888"/>
                  <a:pt x="2239883" y="1131085"/>
                  <a:pt x="2239883" y="1088187"/>
                </a:cubicBezTo>
                <a:cubicBezTo>
                  <a:pt x="2239883" y="1045253"/>
                  <a:pt x="2274681" y="1010450"/>
                  <a:pt x="2317606" y="1010450"/>
                </a:cubicBezTo>
                <a:close/>
                <a:moveTo>
                  <a:pt x="2129421" y="1010450"/>
                </a:moveTo>
                <a:cubicBezTo>
                  <a:pt x="2172341" y="1010450"/>
                  <a:pt x="2207140" y="1045253"/>
                  <a:pt x="2207140" y="1088187"/>
                </a:cubicBezTo>
                <a:cubicBezTo>
                  <a:pt x="2207140" y="1131085"/>
                  <a:pt x="2172341" y="1165888"/>
                  <a:pt x="2129421" y="1165888"/>
                </a:cubicBezTo>
                <a:cubicBezTo>
                  <a:pt x="2086492" y="1165888"/>
                  <a:pt x="2051692" y="1131085"/>
                  <a:pt x="2051692" y="1088187"/>
                </a:cubicBezTo>
                <a:cubicBezTo>
                  <a:pt x="2051692" y="1045253"/>
                  <a:pt x="2086492" y="1010450"/>
                  <a:pt x="2129421" y="1010450"/>
                </a:cubicBezTo>
                <a:close/>
                <a:moveTo>
                  <a:pt x="1941229" y="1010450"/>
                </a:moveTo>
                <a:cubicBezTo>
                  <a:pt x="1984155" y="1010450"/>
                  <a:pt x="2018951" y="1045253"/>
                  <a:pt x="2018951" y="1088187"/>
                </a:cubicBezTo>
                <a:cubicBezTo>
                  <a:pt x="2018951" y="1131085"/>
                  <a:pt x="1984155" y="1165888"/>
                  <a:pt x="1941229" y="1165888"/>
                </a:cubicBezTo>
                <a:cubicBezTo>
                  <a:pt x="1898304" y="1165888"/>
                  <a:pt x="1863506" y="1131085"/>
                  <a:pt x="1863506" y="1088187"/>
                </a:cubicBezTo>
                <a:cubicBezTo>
                  <a:pt x="1863506" y="1045253"/>
                  <a:pt x="1898304" y="1010450"/>
                  <a:pt x="1941229" y="1010450"/>
                </a:cubicBezTo>
                <a:close/>
                <a:moveTo>
                  <a:pt x="1757744" y="1010450"/>
                </a:moveTo>
                <a:cubicBezTo>
                  <a:pt x="1800668" y="1010450"/>
                  <a:pt x="1835468" y="1045253"/>
                  <a:pt x="1835468" y="1088187"/>
                </a:cubicBezTo>
                <a:cubicBezTo>
                  <a:pt x="1835468" y="1131085"/>
                  <a:pt x="1800668" y="1165888"/>
                  <a:pt x="1757744" y="1165888"/>
                </a:cubicBezTo>
                <a:cubicBezTo>
                  <a:pt x="1714799" y="1165888"/>
                  <a:pt x="1680016" y="1131085"/>
                  <a:pt x="1680016" y="1088187"/>
                </a:cubicBezTo>
                <a:cubicBezTo>
                  <a:pt x="1680016" y="1045253"/>
                  <a:pt x="1714799" y="1010450"/>
                  <a:pt x="1757744" y="1010450"/>
                </a:cubicBezTo>
                <a:close/>
                <a:moveTo>
                  <a:pt x="1569502" y="1010450"/>
                </a:moveTo>
                <a:cubicBezTo>
                  <a:pt x="1612477" y="1010450"/>
                  <a:pt x="1647277" y="1045253"/>
                  <a:pt x="1647277" y="1088187"/>
                </a:cubicBezTo>
                <a:cubicBezTo>
                  <a:pt x="1647277" y="1131085"/>
                  <a:pt x="1612477" y="1165888"/>
                  <a:pt x="1569502" y="1165888"/>
                </a:cubicBezTo>
                <a:cubicBezTo>
                  <a:pt x="1526610" y="1165888"/>
                  <a:pt x="1491796" y="1131085"/>
                  <a:pt x="1491796" y="1088187"/>
                </a:cubicBezTo>
                <a:cubicBezTo>
                  <a:pt x="1491796" y="1045253"/>
                  <a:pt x="1526610" y="1010450"/>
                  <a:pt x="1569502" y="1010450"/>
                </a:cubicBezTo>
                <a:close/>
                <a:moveTo>
                  <a:pt x="1385980" y="1010450"/>
                </a:moveTo>
                <a:cubicBezTo>
                  <a:pt x="1428926" y="1010450"/>
                  <a:pt x="1463744" y="1045253"/>
                  <a:pt x="1463744" y="1088187"/>
                </a:cubicBezTo>
                <a:cubicBezTo>
                  <a:pt x="1463744" y="1131085"/>
                  <a:pt x="1428926" y="1165888"/>
                  <a:pt x="1385980" y="1165888"/>
                </a:cubicBezTo>
                <a:cubicBezTo>
                  <a:pt x="1343036" y="1165888"/>
                  <a:pt x="1308218" y="1131085"/>
                  <a:pt x="1308218" y="1088187"/>
                </a:cubicBezTo>
                <a:cubicBezTo>
                  <a:pt x="1308218" y="1045253"/>
                  <a:pt x="1343036" y="1010450"/>
                  <a:pt x="1385980" y="1010450"/>
                </a:cubicBezTo>
                <a:close/>
                <a:moveTo>
                  <a:pt x="8853421" y="1010449"/>
                </a:moveTo>
                <a:cubicBezTo>
                  <a:pt x="8896354" y="1010449"/>
                  <a:pt x="8931158" y="1045253"/>
                  <a:pt x="8931158" y="1088185"/>
                </a:cubicBezTo>
                <a:cubicBezTo>
                  <a:pt x="8931158" y="1131085"/>
                  <a:pt x="8896354" y="1165888"/>
                  <a:pt x="8853421" y="1165888"/>
                </a:cubicBezTo>
                <a:cubicBezTo>
                  <a:pt x="8810489" y="1165888"/>
                  <a:pt x="8775685" y="1131085"/>
                  <a:pt x="8775685" y="1088185"/>
                </a:cubicBezTo>
                <a:cubicBezTo>
                  <a:pt x="8775685" y="1045253"/>
                  <a:pt x="8810489" y="1010449"/>
                  <a:pt x="8853421" y="1010449"/>
                </a:cubicBezTo>
                <a:close/>
                <a:moveTo>
                  <a:pt x="8669908" y="1010449"/>
                </a:moveTo>
                <a:cubicBezTo>
                  <a:pt x="8712841" y="1010449"/>
                  <a:pt x="8747645" y="1045253"/>
                  <a:pt x="8747645" y="1088185"/>
                </a:cubicBezTo>
                <a:cubicBezTo>
                  <a:pt x="8747645" y="1131085"/>
                  <a:pt x="8712841" y="1165888"/>
                  <a:pt x="8669908" y="1165888"/>
                </a:cubicBezTo>
                <a:cubicBezTo>
                  <a:pt x="8626975" y="1165888"/>
                  <a:pt x="8592171" y="1131085"/>
                  <a:pt x="8592171" y="1088185"/>
                </a:cubicBezTo>
                <a:cubicBezTo>
                  <a:pt x="8592171" y="1045253"/>
                  <a:pt x="8626975" y="1010449"/>
                  <a:pt x="8669908" y="1010449"/>
                </a:cubicBezTo>
                <a:close/>
                <a:moveTo>
                  <a:pt x="8481684" y="1010449"/>
                </a:moveTo>
                <a:cubicBezTo>
                  <a:pt x="8524617" y="1010449"/>
                  <a:pt x="8559421" y="1045253"/>
                  <a:pt x="8559421" y="1088185"/>
                </a:cubicBezTo>
                <a:cubicBezTo>
                  <a:pt x="8559421" y="1131085"/>
                  <a:pt x="8524617" y="1165888"/>
                  <a:pt x="8481684" y="1165888"/>
                </a:cubicBezTo>
                <a:cubicBezTo>
                  <a:pt x="8438752" y="1165888"/>
                  <a:pt x="8403948" y="1131085"/>
                  <a:pt x="8403948" y="1088185"/>
                </a:cubicBezTo>
                <a:cubicBezTo>
                  <a:pt x="8403948" y="1045253"/>
                  <a:pt x="8438752" y="1010449"/>
                  <a:pt x="8481684" y="1010449"/>
                </a:cubicBezTo>
                <a:close/>
                <a:moveTo>
                  <a:pt x="8298167" y="1010449"/>
                </a:moveTo>
                <a:cubicBezTo>
                  <a:pt x="8341100" y="1010449"/>
                  <a:pt x="8375904" y="1045253"/>
                  <a:pt x="8375904" y="1088185"/>
                </a:cubicBezTo>
                <a:cubicBezTo>
                  <a:pt x="8375904" y="1131085"/>
                  <a:pt x="8341100" y="1165888"/>
                  <a:pt x="8298167" y="1165888"/>
                </a:cubicBezTo>
                <a:cubicBezTo>
                  <a:pt x="8255235" y="1165888"/>
                  <a:pt x="8220430" y="1131085"/>
                  <a:pt x="8220430" y="1088185"/>
                </a:cubicBezTo>
                <a:cubicBezTo>
                  <a:pt x="8220430" y="1045253"/>
                  <a:pt x="8255235" y="1010449"/>
                  <a:pt x="8298167" y="1010449"/>
                </a:cubicBezTo>
                <a:close/>
                <a:moveTo>
                  <a:pt x="8109949" y="1010449"/>
                </a:moveTo>
                <a:cubicBezTo>
                  <a:pt x="8152882" y="1010449"/>
                  <a:pt x="8187686" y="1045253"/>
                  <a:pt x="8187686" y="1088185"/>
                </a:cubicBezTo>
                <a:cubicBezTo>
                  <a:pt x="8187686" y="1131085"/>
                  <a:pt x="8152882" y="1165888"/>
                  <a:pt x="8109949" y="1165888"/>
                </a:cubicBezTo>
                <a:cubicBezTo>
                  <a:pt x="8067016" y="1165888"/>
                  <a:pt x="8032212" y="1131085"/>
                  <a:pt x="8032212" y="1088185"/>
                </a:cubicBezTo>
                <a:cubicBezTo>
                  <a:pt x="8032212" y="1045253"/>
                  <a:pt x="8067016" y="1010449"/>
                  <a:pt x="8109949" y="1010449"/>
                </a:cubicBezTo>
                <a:close/>
                <a:moveTo>
                  <a:pt x="1462147" y="915542"/>
                </a:moveTo>
                <a:lnTo>
                  <a:pt x="1463752" y="923488"/>
                </a:lnTo>
                <a:cubicBezTo>
                  <a:pt x="1463752" y="966420"/>
                  <a:pt x="1428936" y="1001228"/>
                  <a:pt x="1385988" y="1001228"/>
                </a:cubicBezTo>
                <a:cubicBezTo>
                  <a:pt x="1375252" y="1001228"/>
                  <a:pt x="1365024" y="999052"/>
                  <a:pt x="1355721" y="995118"/>
                </a:cubicBezTo>
                <a:lnTo>
                  <a:pt x="1336670" y="982277"/>
                </a:lnTo>
                <a:close/>
                <a:moveTo>
                  <a:pt x="8786740" y="885896"/>
                </a:moveTo>
                <a:lnTo>
                  <a:pt x="8922217" y="957949"/>
                </a:lnTo>
                <a:lnTo>
                  <a:pt x="8908389" y="978459"/>
                </a:lnTo>
                <a:cubicBezTo>
                  <a:pt x="8894322" y="992527"/>
                  <a:pt x="8874888" y="1001229"/>
                  <a:pt x="8853421" y="1001229"/>
                </a:cubicBezTo>
                <a:cubicBezTo>
                  <a:pt x="8810489" y="1001229"/>
                  <a:pt x="8775685" y="966421"/>
                  <a:pt x="8775685" y="923490"/>
                </a:cubicBezTo>
                <a:cubicBezTo>
                  <a:pt x="8775685" y="912758"/>
                  <a:pt x="8777860" y="902533"/>
                  <a:pt x="8781794" y="893233"/>
                </a:cubicBezTo>
                <a:close/>
                <a:moveTo>
                  <a:pt x="1586811" y="849240"/>
                </a:moveTo>
                <a:lnTo>
                  <a:pt x="1599802" y="851861"/>
                </a:lnTo>
                <a:cubicBezTo>
                  <a:pt x="1627713" y="863664"/>
                  <a:pt x="1647285" y="891292"/>
                  <a:pt x="1647285" y="923487"/>
                </a:cubicBezTo>
                <a:cubicBezTo>
                  <a:pt x="1647285" y="966420"/>
                  <a:pt x="1612490" y="1001228"/>
                  <a:pt x="1569527" y="1001228"/>
                </a:cubicBezTo>
                <a:cubicBezTo>
                  <a:pt x="1526619" y="1001228"/>
                  <a:pt x="1491803" y="966420"/>
                  <a:pt x="1491803" y="923487"/>
                </a:cubicBezTo>
                <a:lnTo>
                  <a:pt x="1497170" y="896915"/>
                </a:lnTo>
                <a:close/>
                <a:moveTo>
                  <a:pt x="8669908" y="845754"/>
                </a:moveTo>
                <a:cubicBezTo>
                  <a:pt x="8712841" y="845754"/>
                  <a:pt x="8747645" y="880560"/>
                  <a:pt x="8747645" y="923490"/>
                </a:cubicBezTo>
                <a:cubicBezTo>
                  <a:pt x="8747645" y="966421"/>
                  <a:pt x="8712841" y="1001229"/>
                  <a:pt x="8669908" y="1001229"/>
                </a:cubicBezTo>
                <a:cubicBezTo>
                  <a:pt x="8626975" y="1001229"/>
                  <a:pt x="8592171" y="966421"/>
                  <a:pt x="8592171" y="923490"/>
                </a:cubicBezTo>
                <a:cubicBezTo>
                  <a:pt x="8592171" y="880560"/>
                  <a:pt x="8626975" y="845754"/>
                  <a:pt x="8669908" y="845754"/>
                </a:cubicBezTo>
                <a:close/>
                <a:moveTo>
                  <a:pt x="8481684" y="845754"/>
                </a:moveTo>
                <a:cubicBezTo>
                  <a:pt x="8524617" y="845754"/>
                  <a:pt x="8559421" y="880560"/>
                  <a:pt x="8559421" y="923490"/>
                </a:cubicBezTo>
                <a:cubicBezTo>
                  <a:pt x="8559421" y="966421"/>
                  <a:pt x="8524617" y="1001229"/>
                  <a:pt x="8481684" y="1001229"/>
                </a:cubicBezTo>
                <a:cubicBezTo>
                  <a:pt x="8438752" y="1001229"/>
                  <a:pt x="8403948" y="966421"/>
                  <a:pt x="8403948" y="923490"/>
                </a:cubicBezTo>
                <a:cubicBezTo>
                  <a:pt x="8403948" y="880560"/>
                  <a:pt x="8438752" y="845754"/>
                  <a:pt x="8481684" y="845754"/>
                </a:cubicBezTo>
                <a:close/>
                <a:moveTo>
                  <a:pt x="8298167" y="845754"/>
                </a:moveTo>
                <a:cubicBezTo>
                  <a:pt x="8341100" y="845754"/>
                  <a:pt x="8375904" y="880560"/>
                  <a:pt x="8375904" y="923490"/>
                </a:cubicBezTo>
                <a:cubicBezTo>
                  <a:pt x="8375904" y="966421"/>
                  <a:pt x="8341100" y="1001229"/>
                  <a:pt x="8298167" y="1001229"/>
                </a:cubicBezTo>
                <a:cubicBezTo>
                  <a:pt x="8255235" y="1001229"/>
                  <a:pt x="8220430" y="966421"/>
                  <a:pt x="8220430" y="923490"/>
                </a:cubicBezTo>
                <a:cubicBezTo>
                  <a:pt x="8220430" y="880560"/>
                  <a:pt x="8255235" y="845754"/>
                  <a:pt x="8298167" y="845754"/>
                </a:cubicBezTo>
                <a:close/>
                <a:moveTo>
                  <a:pt x="8109949" y="845754"/>
                </a:moveTo>
                <a:cubicBezTo>
                  <a:pt x="8152882" y="845754"/>
                  <a:pt x="8187686" y="880560"/>
                  <a:pt x="8187686" y="923490"/>
                </a:cubicBezTo>
                <a:cubicBezTo>
                  <a:pt x="8187686" y="966421"/>
                  <a:pt x="8152882" y="1001229"/>
                  <a:pt x="8109949" y="1001229"/>
                </a:cubicBezTo>
                <a:cubicBezTo>
                  <a:pt x="8067016" y="1001229"/>
                  <a:pt x="8032212" y="966421"/>
                  <a:pt x="8032212" y="923490"/>
                </a:cubicBezTo>
                <a:cubicBezTo>
                  <a:pt x="8032212" y="880560"/>
                  <a:pt x="8067016" y="845754"/>
                  <a:pt x="8109949" y="845754"/>
                </a:cubicBezTo>
                <a:close/>
                <a:moveTo>
                  <a:pt x="7366472" y="845754"/>
                </a:moveTo>
                <a:cubicBezTo>
                  <a:pt x="7409405" y="845754"/>
                  <a:pt x="7444209" y="880560"/>
                  <a:pt x="7444209" y="923490"/>
                </a:cubicBezTo>
                <a:cubicBezTo>
                  <a:pt x="7444209" y="966421"/>
                  <a:pt x="7409405" y="1001229"/>
                  <a:pt x="7366472" y="1001229"/>
                </a:cubicBezTo>
                <a:cubicBezTo>
                  <a:pt x="7323540" y="1001229"/>
                  <a:pt x="7288736" y="966421"/>
                  <a:pt x="7288736" y="923490"/>
                </a:cubicBezTo>
                <a:cubicBezTo>
                  <a:pt x="7288736" y="880560"/>
                  <a:pt x="7323540" y="845754"/>
                  <a:pt x="7366472" y="845754"/>
                </a:cubicBezTo>
                <a:close/>
                <a:moveTo>
                  <a:pt x="6425365" y="845754"/>
                </a:moveTo>
                <a:cubicBezTo>
                  <a:pt x="6468298" y="845754"/>
                  <a:pt x="6503102" y="880560"/>
                  <a:pt x="6503102" y="923490"/>
                </a:cubicBezTo>
                <a:cubicBezTo>
                  <a:pt x="6503102" y="966421"/>
                  <a:pt x="6468298" y="1001230"/>
                  <a:pt x="6425365" y="1001230"/>
                </a:cubicBezTo>
                <a:cubicBezTo>
                  <a:pt x="6382432" y="1001230"/>
                  <a:pt x="6347628" y="966421"/>
                  <a:pt x="6347628" y="923490"/>
                </a:cubicBezTo>
                <a:cubicBezTo>
                  <a:pt x="6347628" y="880560"/>
                  <a:pt x="6382432" y="845754"/>
                  <a:pt x="6425365" y="845754"/>
                </a:cubicBezTo>
                <a:close/>
                <a:moveTo>
                  <a:pt x="6241850" y="845754"/>
                </a:moveTo>
                <a:cubicBezTo>
                  <a:pt x="6284783" y="845754"/>
                  <a:pt x="6319587" y="880560"/>
                  <a:pt x="6319587" y="923490"/>
                </a:cubicBezTo>
                <a:cubicBezTo>
                  <a:pt x="6319587" y="966421"/>
                  <a:pt x="6284783" y="1001230"/>
                  <a:pt x="6241850" y="1001230"/>
                </a:cubicBezTo>
                <a:cubicBezTo>
                  <a:pt x="6198917" y="1001230"/>
                  <a:pt x="6164113" y="966421"/>
                  <a:pt x="6164113" y="923490"/>
                </a:cubicBezTo>
                <a:cubicBezTo>
                  <a:pt x="6164113" y="880560"/>
                  <a:pt x="6198917" y="845754"/>
                  <a:pt x="6241850" y="845754"/>
                </a:cubicBezTo>
                <a:close/>
                <a:moveTo>
                  <a:pt x="6053630" y="845752"/>
                </a:moveTo>
                <a:cubicBezTo>
                  <a:pt x="6096563" y="845752"/>
                  <a:pt x="6131367" y="880558"/>
                  <a:pt x="6131367" y="923487"/>
                </a:cubicBezTo>
                <a:cubicBezTo>
                  <a:pt x="6131367" y="966420"/>
                  <a:pt x="6096563" y="1001228"/>
                  <a:pt x="6053630" y="1001228"/>
                </a:cubicBezTo>
                <a:cubicBezTo>
                  <a:pt x="6010698" y="1001228"/>
                  <a:pt x="5975894" y="966420"/>
                  <a:pt x="5975894" y="923487"/>
                </a:cubicBezTo>
                <a:cubicBezTo>
                  <a:pt x="5975894" y="880558"/>
                  <a:pt x="6010698" y="845752"/>
                  <a:pt x="6053630" y="845752"/>
                </a:cubicBezTo>
                <a:close/>
                <a:moveTo>
                  <a:pt x="4373793" y="845752"/>
                </a:moveTo>
                <a:cubicBezTo>
                  <a:pt x="4416737" y="845752"/>
                  <a:pt x="4451526" y="880558"/>
                  <a:pt x="4451526" y="923487"/>
                </a:cubicBezTo>
                <a:cubicBezTo>
                  <a:pt x="4451526" y="966420"/>
                  <a:pt x="4416737" y="1001228"/>
                  <a:pt x="4373793" y="1001228"/>
                </a:cubicBezTo>
                <a:cubicBezTo>
                  <a:pt x="4330869" y="1001228"/>
                  <a:pt x="4296066" y="966420"/>
                  <a:pt x="4296066" y="923487"/>
                </a:cubicBezTo>
                <a:cubicBezTo>
                  <a:pt x="4296066" y="880558"/>
                  <a:pt x="4330869" y="845752"/>
                  <a:pt x="4373793" y="845752"/>
                </a:cubicBezTo>
                <a:close/>
                <a:moveTo>
                  <a:pt x="4185559" y="845752"/>
                </a:moveTo>
                <a:cubicBezTo>
                  <a:pt x="4228500" y="845752"/>
                  <a:pt x="4263314" y="880558"/>
                  <a:pt x="4263314" y="923487"/>
                </a:cubicBezTo>
                <a:cubicBezTo>
                  <a:pt x="4263314" y="966420"/>
                  <a:pt x="4228500" y="1001228"/>
                  <a:pt x="4185559" y="1001228"/>
                </a:cubicBezTo>
                <a:cubicBezTo>
                  <a:pt x="4142611" y="1001228"/>
                  <a:pt x="4107799" y="966420"/>
                  <a:pt x="4107799" y="923487"/>
                </a:cubicBezTo>
                <a:cubicBezTo>
                  <a:pt x="4107799" y="880558"/>
                  <a:pt x="4142611" y="845752"/>
                  <a:pt x="4185559" y="845752"/>
                </a:cubicBezTo>
                <a:close/>
                <a:moveTo>
                  <a:pt x="3997354" y="845752"/>
                </a:moveTo>
                <a:cubicBezTo>
                  <a:pt x="4040268" y="845752"/>
                  <a:pt x="4075062" y="880558"/>
                  <a:pt x="4075062" y="923487"/>
                </a:cubicBezTo>
                <a:cubicBezTo>
                  <a:pt x="4075062" y="966420"/>
                  <a:pt x="4040268" y="1001228"/>
                  <a:pt x="3997354" y="1001228"/>
                </a:cubicBezTo>
                <a:cubicBezTo>
                  <a:pt x="3954440" y="1001228"/>
                  <a:pt x="3919622" y="966420"/>
                  <a:pt x="3919622" y="923487"/>
                </a:cubicBezTo>
                <a:cubicBezTo>
                  <a:pt x="3919622" y="880558"/>
                  <a:pt x="3954440" y="845752"/>
                  <a:pt x="3997354" y="845752"/>
                </a:cubicBezTo>
                <a:close/>
                <a:moveTo>
                  <a:pt x="3813851" y="845752"/>
                </a:moveTo>
                <a:cubicBezTo>
                  <a:pt x="3856791" y="845752"/>
                  <a:pt x="3891567" y="880558"/>
                  <a:pt x="3891567" y="923487"/>
                </a:cubicBezTo>
                <a:cubicBezTo>
                  <a:pt x="3891567" y="966420"/>
                  <a:pt x="3856791" y="1001228"/>
                  <a:pt x="3813851" y="1001228"/>
                </a:cubicBezTo>
                <a:cubicBezTo>
                  <a:pt x="3770914" y="1001228"/>
                  <a:pt x="3736077" y="966420"/>
                  <a:pt x="3736077" y="923487"/>
                </a:cubicBezTo>
                <a:cubicBezTo>
                  <a:pt x="3736077" y="880558"/>
                  <a:pt x="3770914" y="845752"/>
                  <a:pt x="3813851" y="845752"/>
                </a:cubicBezTo>
                <a:close/>
                <a:moveTo>
                  <a:pt x="3625636" y="845752"/>
                </a:moveTo>
                <a:cubicBezTo>
                  <a:pt x="3668555" y="845752"/>
                  <a:pt x="3703376" y="880558"/>
                  <a:pt x="3703376" y="923487"/>
                </a:cubicBezTo>
                <a:cubicBezTo>
                  <a:pt x="3703376" y="966420"/>
                  <a:pt x="3668555" y="1001228"/>
                  <a:pt x="3625636" y="1001228"/>
                </a:cubicBezTo>
                <a:cubicBezTo>
                  <a:pt x="3582688" y="1001228"/>
                  <a:pt x="3547906" y="966420"/>
                  <a:pt x="3547906" y="923487"/>
                </a:cubicBezTo>
                <a:cubicBezTo>
                  <a:pt x="3547906" y="880558"/>
                  <a:pt x="3582688" y="845752"/>
                  <a:pt x="3625636" y="845752"/>
                </a:cubicBezTo>
                <a:close/>
                <a:moveTo>
                  <a:pt x="3442100" y="845752"/>
                </a:moveTo>
                <a:cubicBezTo>
                  <a:pt x="3485038" y="845752"/>
                  <a:pt x="3519851" y="880558"/>
                  <a:pt x="3519851" y="923487"/>
                </a:cubicBezTo>
                <a:cubicBezTo>
                  <a:pt x="3519851" y="966420"/>
                  <a:pt x="3485038" y="1001228"/>
                  <a:pt x="3442100" y="1001228"/>
                </a:cubicBezTo>
                <a:cubicBezTo>
                  <a:pt x="3399338" y="1001228"/>
                  <a:pt x="3364537" y="966420"/>
                  <a:pt x="3364537" y="923487"/>
                </a:cubicBezTo>
                <a:cubicBezTo>
                  <a:pt x="3364537" y="880558"/>
                  <a:pt x="3399338" y="845752"/>
                  <a:pt x="3442100" y="845752"/>
                </a:cubicBezTo>
                <a:close/>
                <a:moveTo>
                  <a:pt x="3254053" y="845752"/>
                </a:moveTo>
                <a:cubicBezTo>
                  <a:pt x="3296982" y="845752"/>
                  <a:pt x="3331793" y="880558"/>
                  <a:pt x="3331793" y="923487"/>
                </a:cubicBezTo>
                <a:cubicBezTo>
                  <a:pt x="3331793" y="966420"/>
                  <a:pt x="3296982" y="1001228"/>
                  <a:pt x="3254053" y="1001228"/>
                </a:cubicBezTo>
                <a:cubicBezTo>
                  <a:pt x="3211113" y="1001228"/>
                  <a:pt x="3176307" y="966420"/>
                  <a:pt x="3176307" y="923487"/>
                </a:cubicBezTo>
                <a:cubicBezTo>
                  <a:pt x="3176307" y="880558"/>
                  <a:pt x="3211113" y="845752"/>
                  <a:pt x="3254053" y="845752"/>
                </a:cubicBezTo>
                <a:close/>
                <a:moveTo>
                  <a:pt x="2317622" y="845752"/>
                </a:moveTo>
                <a:cubicBezTo>
                  <a:pt x="2360549" y="845752"/>
                  <a:pt x="2395360" y="880558"/>
                  <a:pt x="2395360" y="923487"/>
                </a:cubicBezTo>
                <a:cubicBezTo>
                  <a:pt x="2395360" y="966420"/>
                  <a:pt x="2360549" y="1001228"/>
                  <a:pt x="2317622" y="1001228"/>
                </a:cubicBezTo>
                <a:cubicBezTo>
                  <a:pt x="2274693" y="1001228"/>
                  <a:pt x="2239894" y="966420"/>
                  <a:pt x="2239894" y="923487"/>
                </a:cubicBezTo>
                <a:cubicBezTo>
                  <a:pt x="2239894" y="880558"/>
                  <a:pt x="2274693" y="845752"/>
                  <a:pt x="2317622" y="845752"/>
                </a:cubicBezTo>
                <a:close/>
                <a:moveTo>
                  <a:pt x="2129431" y="845752"/>
                </a:moveTo>
                <a:cubicBezTo>
                  <a:pt x="2172351" y="845752"/>
                  <a:pt x="2207150" y="880558"/>
                  <a:pt x="2207150" y="923487"/>
                </a:cubicBezTo>
                <a:cubicBezTo>
                  <a:pt x="2207150" y="966420"/>
                  <a:pt x="2172351" y="1001228"/>
                  <a:pt x="2129431" y="1001228"/>
                </a:cubicBezTo>
                <a:cubicBezTo>
                  <a:pt x="2086505" y="1001228"/>
                  <a:pt x="2051703" y="966420"/>
                  <a:pt x="2051703" y="923487"/>
                </a:cubicBezTo>
                <a:cubicBezTo>
                  <a:pt x="2051703" y="880558"/>
                  <a:pt x="2086505" y="845752"/>
                  <a:pt x="2129431" y="845752"/>
                </a:cubicBezTo>
                <a:close/>
                <a:moveTo>
                  <a:pt x="1941239" y="845752"/>
                </a:moveTo>
                <a:cubicBezTo>
                  <a:pt x="1984164" y="845752"/>
                  <a:pt x="2018960" y="880560"/>
                  <a:pt x="2018960" y="923487"/>
                </a:cubicBezTo>
                <a:cubicBezTo>
                  <a:pt x="2018960" y="966420"/>
                  <a:pt x="1984164" y="1001228"/>
                  <a:pt x="1941239" y="1001228"/>
                </a:cubicBezTo>
                <a:cubicBezTo>
                  <a:pt x="1898313" y="1001228"/>
                  <a:pt x="1863515" y="966420"/>
                  <a:pt x="1863515" y="923487"/>
                </a:cubicBezTo>
                <a:cubicBezTo>
                  <a:pt x="1863515" y="880560"/>
                  <a:pt x="1898313" y="845752"/>
                  <a:pt x="1941239" y="845752"/>
                </a:cubicBezTo>
                <a:close/>
                <a:moveTo>
                  <a:pt x="1757753" y="845752"/>
                </a:moveTo>
                <a:cubicBezTo>
                  <a:pt x="1800680" y="845752"/>
                  <a:pt x="1835478" y="880560"/>
                  <a:pt x="1835478" y="923487"/>
                </a:cubicBezTo>
                <a:cubicBezTo>
                  <a:pt x="1835478" y="966420"/>
                  <a:pt x="1800680" y="1001228"/>
                  <a:pt x="1757753" y="1001228"/>
                </a:cubicBezTo>
                <a:cubicBezTo>
                  <a:pt x="1714807" y="1001228"/>
                  <a:pt x="1680025" y="966420"/>
                  <a:pt x="1680025" y="923487"/>
                </a:cubicBezTo>
                <a:cubicBezTo>
                  <a:pt x="1680025" y="880560"/>
                  <a:pt x="1714807" y="845752"/>
                  <a:pt x="1757753" y="845752"/>
                </a:cubicBezTo>
                <a:close/>
                <a:moveTo>
                  <a:pt x="8596457" y="784733"/>
                </a:moveTo>
                <a:lnTo>
                  <a:pt x="8597001" y="784984"/>
                </a:lnTo>
                <a:lnTo>
                  <a:pt x="8693733" y="836430"/>
                </a:lnTo>
                <a:lnTo>
                  <a:pt x="8669908" y="841240"/>
                </a:lnTo>
                <a:cubicBezTo>
                  <a:pt x="8637708" y="841240"/>
                  <a:pt x="8610081" y="821663"/>
                  <a:pt x="8598280" y="793763"/>
                </a:cubicBezTo>
                <a:close/>
                <a:moveTo>
                  <a:pt x="1827167" y="729971"/>
                </a:moveTo>
                <a:lnTo>
                  <a:pt x="1829376" y="733247"/>
                </a:lnTo>
                <a:cubicBezTo>
                  <a:pt x="1833309" y="742547"/>
                  <a:pt x="1835484" y="752772"/>
                  <a:pt x="1835484" y="763506"/>
                </a:cubicBezTo>
                <a:cubicBezTo>
                  <a:pt x="1835484" y="806436"/>
                  <a:pt x="1800685" y="841242"/>
                  <a:pt x="1757760" y="841242"/>
                </a:cubicBezTo>
                <a:cubicBezTo>
                  <a:pt x="1736288" y="841242"/>
                  <a:pt x="1716856" y="832541"/>
                  <a:pt x="1702792" y="818473"/>
                </a:cubicBezTo>
                <a:lnTo>
                  <a:pt x="1687452" y="795714"/>
                </a:lnTo>
                <a:lnTo>
                  <a:pt x="1707627" y="784984"/>
                </a:lnTo>
                <a:close/>
                <a:moveTo>
                  <a:pt x="8428408" y="707396"/>
                </a:moveTo>
                <a:lnTo>
                  <a:pt x="8558648" y="767333"/>
                </a:lnTo>
                <a:lnTo>
                  <a:pt x="8553312" y="793763"/>
                </a:lnTo>
                <a:cubicBezTo>
                  <a:pt x="8541511" y="821663"/>
                  <a:pt x="8513884" y="841240"/>
                  <a:pt x="8481684" y="841240"/>
                </a:cubicBezTo>
                <a:cubicBezTo>
                  <a:pt x="8438752" y="841240"/>
                  <a:pt x="8403948" y="806436"/>
                  <a:pt x="8403948" y="763506"/>
                </a:cubicBezTo>
                <a:cubicBezTo>
                  <a:pt x="8403948" y="742038"/>
                  <a:pt x="8412649" y="722604"/>
                  <a:pt x="8426717" y="708537"/>
                </a:cubicBezTo>
                <a:close/>
                <a:moveTo>
                  <a:pt x="7554693" y="685769"/>
                </a:moveTo>
                <a:cubicBezTo>
                  <a:pt x="7597626" y="685769"/>
                  <a:pt x="7632430" y="720570"/>
                  <a:pt x="7632430" y="763506"/>
                </a:cubicBezTo>
                <a:cubicBezTo>
                  <a:pt x="7632430" y="806436"/>
                  <a:pt x="7597626" y="841242"/>
                  <a:pt x="7554693" y="841242"/>
                </a:cubicBezTo>
                <a:cubicBezTo>
                  <a:pt x="7511761" y="841242"/>
                  <a:pt x="7476957" y="806436"/>
                  <a:pt x="7476957" y="763506"/>
                </a:cubicBezTo>
                <a:cubicBezTo>
                  <a:pt x="7476957" y="720570"/>
                  <a:pt x="7511761" y="685769"/>
                  <a:pt x="7554693" y="685769"/>
                </a:cubicBezTo>
                <a:close/>
                <a:moveTo>
                  <a:pt x="4373793" y="685769"/>
                </a:moveTo>
                <a:cubicBezTo>
                  <a:pt x="4416737" y="685769"/>
                  <a:pt x="4451526" y="720570"/>
                  <a:pt x="4451526" y="763506"/>
                </a:cubicBezTo>
                <a:cubicBezTo>
                  <a:pt x="4451526" y="806436"/>
                  <a:pt x="4416737" y="841242"/>
                  <a:pt x="4373793" y="841242"/>
                </a:cubicBezTo>
                <a:cubicBezTo>
                  <a:pt x="4330869" y="841242"/>
                  <a:pt x="4296066" y="806436"/>
                  <a:pt x="4296066" y="763506"/>
                </a:cubicBezTo>
                <a:cubicBezTo>
                  <a:pt x="4296066" y="720570"/>
                  <a:pt x="4330869" y="685769"/>
                  <a:pt x="4373793" y="685769"/>
                </a:cubicBezTo>
                <a:close/>
                <a:moveTo>
                  <a:pt x="4185559" y="685769"/>
                </a:moveTo>
                <a:cubicBezTo>
                  <a:pt x="4228500" y="685769"/>
                  <a:pt x="4263314" y="720570"/>
                  <a:pt x="4263314" y="763506"/>
                </a:cubicBezTo>
                <a:cubicBezTo>
                  <a:pt x="4263314" y="806436"/>
                  <a:pt x="4228500" y="841242"/>
                  <a:pt x="4185559" y="841242"/>
                </a:cubicBezTo>
                <a:cubicBezTo>
                  <a:pt x="4142611" y="841242"/>
                  <a:pt x="4107799" y="806436"/>
                  <a:pt x="4107799" y="763506"/>
                </a:cubicBezTo>
                <a:cubicBezTo>
                  <a:pt x="4107799" y="720570"/>
                  <a:pt x="4142611" y="685769"/>
                  <a:pt x="4185559" y="685769"/>
                </a:cubicBezTo>
                <a:close/>
                <a:moveTo>
                  <a:pt x="3997354" y="685769"/>
                </a:moveTo>
                <a:cubicBezTo>
                  <a:pt x="4040268" y="685769"/>
                  <a:pt x="4075062" y="720570"/>
                  <a:pt x="4075062" y="763506"/>
                </a:cubicBezTo>
                <a:cubicBezTo>
                  <a:pt x="4075062" y="806436"/>
                  <a:pt x="4040268" y="841242"/>
                  <a:pt x="3997354" y="841242"/>
                </a:cubicBezTo>
                <a:cubicBezTo>
                  <a:pt x="3954440" y="841242"/>
                  <a:pt x="3919622" y="806436"/>
                  <a:pt x="3919622" y="763506"/>
                </a:cubicBezTo>
                <a:cubicBezTo>
                  <a:pt x="3919622" y="720570"/>
                  <a:pt x="3954440" y="685769"/>
                  <a:pt x="3997354" y="685769"/>
                </a:cubicBezTo>
                <a:close/>
                <a:moveTo>
                  <a:pt x="3813851" y="685769"/>
                </a:moveTo>
                <a:cubicBezTo>
                  <a:pt x="3856791" y="685769"/>
                  <a:pt x="3891567" y="720570"/>
                  <a:pt x="3891567" y="763506"/>
                </a:cubicBezTo>
                <a:cubicBezTo>
                  <a:pt x="3891567" y="806436"/>
                  <a:pt x="3856791" y="841242"/>
                  <a:pt x="3813851" y="841242"/>
                </a:cubicBezTo>
                <a:cubicBezTo>
                  <a:pt x="3770914" y="841242"/>
                  <a:pt x="3736077" y="806436"/>
                  <a:pt x="3736077" y="763506"/>
                </a:cubicBezTo>
                <a:cubicBezTo>
                  <a:pt x="3736077" y="720570"/>
                  <a:pt x="3770914" y="685769"/>
                  <a:pt x="3813851" y="685769"/>
                </a:cubicBezTo>
                <a:close/>
                <a:moveTo>
                  <a:pt x="3625636" y="685769"/>
                </a:moveTo>
                <a:cubicBezTo>
                  <a:pt x="3668555" y="685769"/>
                  <a:pt x="3703376" y="720570"/>
                  <a:pt x="3703376" y="763506"/>
                </a:cubicBezTo>
                <a:cubicBezTo>
                  <a:pt x="3703376" y="806436"/>
                  <a:pt x="3668555" y="841242"/>
                  <a:pt x="3625636" y="841242"/>
                </a:cubicBezTo>
                <a:cubicBezTo>
                  <a:pt x="3582688" y="841242"/>
                  <a:pt x="3547906" y="806436"/>
                  <a:pt x="3547906" y="763506"/>
                </a:cubicBezTo>
                <a:cubicBezTo>
                  <a:pt x="3547906" y="720570"/>
                  <a:pt x="3582688" y="685769"/>
                  <a:pt x="3625636" y="685769"/>
                </a:cubicBezTo>
                <a:close/>
                <a:moveTo>
                  <a:pt x="3442100" y="685769"/>
                </a:moveTo>
                <a:cubicBezTo>
                  <a:pt x="3485038" y="685769"/>
                  <a:pt x="3519851" y="720570"/>
                  <a:pt x="3519851" y="763506"/>
                </a:cubicBezTo>
                <a:cubicBezTo>
                  <a:pt x="3519851" y="806436"/>
                  <a:pt x="3485038" y="841242"/>
                  <a:pt x="3442100" y="841242"/>
                </a:cubicBezTo>
                <a:cubicBezTo>
                  <a:pt x="3399343" y="841242"/>
                  <a:pt x="3364543" y="806436"/>
                  <a:pt x="3364543" y="763506"/>
                </a:cubicBezTo>
                <a:cubicBezTo>
                  <a:pt x="3364543" y="720570"/>
                  <a:pt x="3399343" y="685769"/>
                  <a:pt x="3442100" y="685769"/>
                </a:cubicBezTo>
                <a:close/>
                <a:moveTo>
                  <a:pt x="3254060" y="685769"/>
                </a:moveTo>
                <a:cubicBezTo>
                  <a:pt x="3296985" y="685769"/>
                  <a:pt x="3331797" y="720570"/>
                  <a:pt x="3331797" y="763506"/>
                </a:cubicBezTo>
                <a:cubicBezTo>
                  <a:pt x="3331797" y="806436"/>
                  <a:pt x="3296985" y="841242"/>
                  <a:pt x="3254060" y="841242"/>
                </a:cubicBezTo>
                <a:cubicBezTo>
                  <a:pt x="3211118" y="841242"/>
                  <a:pt x="3176313" y="806436"/>
                  <a:pt x="3176313" y="763506"/>
                </a:cubicBezTo>
                <a:cubicBezTo>
                  <a:pt x="3176313" y="720570"/>
                  <a:pt x="3211118" y="685769"/>
                  <a:pt x="3254060" y="685769"/>
                </a:cubicBezTo>
                <a:close/>
                <a:moveTo>
                  <a:pt x="2129431" y="685769"/>
                </a:moveTo>
                <a:cubicBezTo>
                  <a:pt x="2172358" y="685769"/>
                  <a:pt x="2207154" y="720570"/>
                  <a:pt x="2207154" y="763506"/>
                </a:cubicBezTo>
                <a:cubicBezTo>
                  <a:pt x="2207154" y="806436"/>
                  <a:pt x="2172358" y="841242"/>
                  <a:pt x="2129431" y="841242"/>
                </a:cubicBezTo>
                <a:cubicBezTo>
                  <a:pt x="2086510" y="841242"/>
                  <a:pt x="2051705" y="806436"/>
                  <a:pt x="2051705" y="763506"/>
                </a:cubicBezTo>
                <a:cubicBezTo>
                  <a:pt x="2051705" y="720570"/>
                  <a:pt x="2086510" y="685769"/>
                  <a:pt x="2129431" y="685769"/>
                </a:cubicBezTo>
                <a:close/>
                <a:moveTo>
                  <a:pt x="1941244" y="685769"/>
                </a:moveTo>
                <a:cubicBezTo>
                  <a:pt x="1984169" y="685769"/>
                  <a:pt x="2018966" y="720570"/>
                  <a:pt x="2018966" y="763506"/>
                </a:cubicBezTo>
                <a:cubicBezTo>
                  <a:pt x="2018966" y="806436"/>
                  <a:pt x="1984169" y="841242"/>
                  <a:pt x="1941244" y="841242"/>
                </a:cubicBezTo>
                <a:cubicBezTo>
                  <a:pt x="1898319" y="841242"/>
                  <a:pt x="1863520" y="806436"/>
                  <a:pt x="1863520" y="763506"/>
                </a:cubicBezTo>
                <a:cubicBezTo>
                  <a:pt x="1863520" y="720570"/>
                  <a:pt x="1898319" y="685769"/>
                  <a:pt x="1941244" y="685769"/>
                </a:cubicBezTo>
                <a:close/>
                <a:moveTo>
                  <a:pt x="2203878" y="563755"/>
                </a:moveTo>
                <a:lnTo>
                  <a:pt x="2207156" y="579991"/>
                </a:lnTo>
                <a:cubicBezTo>
                  <a:pt x="2207156" y="622921"/>
                  <a:pt x="2172358" y="657724"/>
                  <a:pt x="2129440" y="657724"/>
                </a:cubicBezTo>
                <a:cubicBezTo>
                  <a:pt x="2107975" y="657724"/>
                  <a:pt x="2088543" y="649024"/>
                  <a:pt x="2074476" y="634957"/>
                </a:cubicBezTo>
                <a:lnTo>
                  <a:pt x="2064804" y="620609"/>
                </a:lnTo>
                <a:lnTo>
                  <a:pt x="2098478" y="605112"/>
                </a:lnTo>
                <a:close/>
                <a:moveTo>
                  <a:pt x="7926434" y="502255"/>
                </a:moveTo>
                <a:cubicBezTo>
                  <a:pt x="7969367" y="502255"/>
                  <a:pt x="8004171" y="537058"/>
                  <a:pt x="8004171" y="579989"/>
                </a:cubicBezTo>
                <a:cubicBezTo>
                  <a:pt x="8004171" y="622921"/>
                  <a:pt x="7969367" y="657724"/>
                  <a:pt x="7926434" y="657724"/>
                </a:cubicBezTo>
                <a:cubicBezTo>
                  <a:pt x="7883501" y="657724"/>
                  <a:pt x="7848697" y="622921"/>
                  <a:pt x="7848697" y="579989"/>
                </a:cubicBezTo>
                <a:cubicBezTo>
                  <a:pt x="7848697" y="537058"/>
                  <a:pt x="7883501" y="502255"/>
                  <a:pt x="7926434" y="502255"/>
                </a:cubicBezTo>
                <a:close/>
                <a:moveTo>
                  <a:pt x="7738213" y="502255"/>
                </a:moveTo>
                <a:cubicBezTo>
                  <a:pt x="7781146" y="502255"/>
                  <a:pt x="7815950" y="537058"/>
                  <a:pt x="7815950" y="579989"/>
                </a:cubicBezTo>
                <a:cubicBezTo>
                  <a:pt x="7815950" y="622921"/>
                  <a:pt x="7781146" y="657724"/>
                  <a:pt x="7738213" y="657724"/>
                </a:cubicBezTo>
                <a:cubicBezTo>
                  <a:pt x="7695280" y="657724"/>
                  <a:pt x="7660476" y="622921"/>
                  <a:pt x="7660476" y="579989"/>
                </a:cubicBezTo>
                <a:cubicBezTo>
                  <a:pt x="7660476" y="537058"/>
                  <a:pt x="7695280" y="502255"/>
                  <a:pt x="7738213" y="502255"/>
                </a:cubicBezTo>
                <a:close/>
                <a:moveTo>
                  <a:pt x="4373793" y="502255"/>
                </a:moveTo>
                <a:cubicBezTo>
                  <a:pt x="4416737" y="502255"/>
                  <a:pt x="4451526" y="537059"/>
                  <a:pt x="4451526" y="579989"/>
                </a:cubicBezTo>
                <a:cubicBezTo>
                  <a:pt x="4451526" y="622921"/>
                  <a:pt x="4416737" y="657724"/>
                  <a:pt x="4373793" y="657724"/>
                </a:cubicBezTo>
                <a:cubicBezTo>
                  <a:pt x="4330869" y="657724"/>
                  <a:pt x="4296066" y="622921"/>
                  <a:pt x="4296066" y="579989"/>
                </a:cubicBezTo>
                <a:cubicBezTo>
                  <a:pt x="4296066" y="537059"/>
                  <a:pt x="4330869" y="502255"/>
                  <a:pt x="4373793" y="502255"/>
                </a:cubicBezTo>
                <a:close/>
                <a:moveTo>
                  <a:pt x="4185559" y="502255"/>
                </a:moveTo>
                <a:cubicBezTo>
                  <a:pt x="4228500" y="502255"/>
                  <a:pt x="4263314" y="537059"/>
                  <a:pt x="4263314" y="579989"/>
                </a:cubicBezTo>
                <a:cubicBezTo>
                  <a:pt x="4263314" y="622921"/>
                  <a:pt x="4228500" y="657724"/>
                  <a:pt x="4185559" y="657724"/>
                </a:cubicBezTo>
                <a:cubicBezTo>
                  <a:pt x="4142611" y="657724"/>
                  <a:pt x="4107799" y="622921"/>
                  <a:pt x="4107799" y="579989"/>
                </a:cubicBezTo>
                <a:cubicBezTo>
                  <a:pt x="4107799" y="537059"/>
                  <a:pt x="4142611" y="502255"/>
                  <a:pt x="4185559" y="502255"/>
                </a:cubicBezTo>
                <a:close/>
                <a:moveTo>
                  <a:pt x="3997354" y="502255"/>
                </a:moveTo>
                <a:cubicBezTo>
                  <a:pt x="4040268" y="502255"/>
                  <a:pt x="4075062" y="537059"/>
                  <a:pt x="4075062" y="579989"/>
                </a:cubicBezTo>
                <a:cubicBezTo>
                  <a:pt x="4075062" y="622921"/>
                  <a:pt x="4040268" y="657724"/>
                  <a:pt x="3997354" y="657724"/>
                </a:cubicBezTo>
                <a:cubicBezTo>
                  <a:pt x="3954440" y="657724"/>
                  <a:pt x="3919622" y="622921"/>
                  <a:pt x="3919622" y="579989"/>
                </a:cubicBezTo>
                <a:cubicBezTo>
                  <a:pt x="3919622" y="537059"/>
                  <a:pt x="3954440" y="502255"/>
                  <a:pt x="3997354" y="502255"/>
                </a:cubicBezTo>
                <a:close/>
                <a:moveTo>
                  <a:pt x="3813851" y="502255"/>
                </a:moveTo>
                <a:cubicBezTo>
                  <a:pt x="3856791" y="502255"/>
                  <a:pt x="3891567" y="537059"/>
                  <a:pt x="3891567" y="579989"/>
                </a:cubicBezTo>
                <a:cubicBezTo>
                  <a:pt x="3891567" y="622921"/>
                  <a:pt x="3856791" y="657724"/>
                  <a:pt x="3813851" y="657724"/>
                </a:cubicBezTo>
                <a:cubicBezTo>
                  <a:pt x="3770914" y="657724"/>
                  <a:pt x="3736077" y="622921"/>
                  <a:pt x="3736077" y="579989"/>
                </a:cubicBezTo>
                <a:cubicBezTo>
                  <a:pt x="3736077" y="537059"/>
                  <a:pt x="3770914" y="502255"/>
                  <a:pt x="3813851" y="502255"/>
                </a:cubicBezTo>
                <a:close/>
                <a:moveTo>
                  <a:pt x="3625636" y="502255"/>
                </a:moveTo>
                <a:cubicBezTo>
                  <a:pt x="3668555" y="502255"/>
                  <a:pt x="3703376" y="537059"/>
                  <a:pt x="3703376" y="579989"/>
                </a:cubicBezTo>
                <a:cubicBezTo>
                  <a:pt x="3703376" y="622921"/>
                  <a:pt x="3668555" y="657724"/>
                  <a:pt x="3625636" y="657724"/>
                </a:cubicBezTo>
                <a:cubicBezTo>
                  <a:pt x="3582688" y="657724"/>
                  <a:pt x="3547906" y="622921"/>
                  <a:pt x="3547906" y="579989"/>
                </a:cubicBezTo>
                <a:cubicBezTo>
                  <a:pt x="3547906" y="537059"/>
                  <a:pt x="3582688" y="502255"/>
                  <a:pt x="3625636" y="502255"/>
                </a:cubicBezTo>
                <a:close/>
                <a:moveTo>
                  <a:pt x="3442100" y="502255"/>
                </a:moveTo>
                <a:cubicBezTo>
                  <a:pt x="3485038" y="502255"/>
                  <a:pt x="3519851" y="537059"/>
                  <a:pt x="3519851" y="579989"/>
                </a:cubicBezTo>
                <a:cubicBezTo>
                  <a:pt x="3519851" y="622921"/>
                  <a:pt x="3485038" y="657724"/>
                  <a:pt x="3442100" y="657724"/>
                </a:cubicBezTo>
                <a:cubicBezTo>
                  <a:pt x="3399347" y="657724"/>
                  <a:pt x="3364545" y="622921"/>
                  <a:pt x="3364545" y="579989"/>
                </a:cubicBezTo>
                <a:cubicBezTo>
                  <a:pt x="3364545" y="537059"/>
                  <a:pt x="3399347" y="502255"/>
                  <a:pt x="3442100" y="502255"/>
                </a:cubicBezTo>
                <a:close/>
                <a:moveTo>
                  <a:pt x="3254065" y="502255"/>
                </a:moveTo>
                <a:cubicBezTo>
                  <a:pt x="3296990" y="502255"/>
                  <a:pt x="3331797" y="537059"/>
                  <a:pt x="3331797" y="579989"/>
                </a:cubicBezTo>
                <a:cubicBezTo>
                  <a:pt x="3331797" y="622921"/>
                  <a:pt x="3296990" y="657724"/>
                  <a:pt x="3254065" y="657724"/>
                </a:cubicBezTo>
                <a:cubicBezTo>
                  <a:pt x="3211124" y="657724"/>
                  <a:pt x="3176318" y="622921"/>
                  <a:pt x="3176318" y="579989"/>
                </a:cubicBezTo>
                <a:cubicBezTo>
                  <a:pt x="3176318" y="537059"/>
                  <a:pt x="3211124" y="502255"/>
                  <a:pt x="3254065" y="502255"/>
                </a:cubicBezTo>
                <a:close/>
                <a:moveTo>
                  <a:pt x="3061136" y="502255"/>
                </a:moveTo>
                <a:cubicBezTo>
                  <a:pt x="3104066" y="502255"/>
                  <a:pt x="3138881" y="537059"/>
                  <a:pt x="3138881" y="579989"/>
                </a:cubicBezTo>
                <a:cubicBezTo>
                  <a:pt x="3138881" y="622921"/>
                  <a:pt x="3104066" y="657724"/>
                  <a:pt x="3061136" y="657724"/>
                </a:cubicBezTo>
                <a:cubicBezTo>
                  <a:pt x="3018189" y="657724"/>
                  <a:pt x="2983381" y="622921"/>
                  <a:pt x="2983381" y="579989"/>
                </a:cubicBezTo>
                <a:cubicBezTo>
                  <a:pt x="2983381" y="537059"/>
                  <a:pt x="3018189" y="502255"/>
                  <a:pt x="3061136" y="502255"/>
                </a:cubicBezTo>
                <a:close/>
                <a:moveTo>
                  <a:pt x="2882313" y="502255"/>
                </a:moveTo>
                <a:cubicBezTo>
                  <a:pt x="2925249" y="502255"/>
                  <a:pt x="2960060" y="537059"/>
                  <a:pt x="2960060" y="579989"/>
                </a:cubicBezTo>
                <a:cubicBezTo>
                  <a:pt x="2960060" y="622921"/>
                  <a:pt x="2925249" y="657724"/>
                  <a:pt x="2882313" y="657724"/>
                </a:cubicBezTo>
                <a:cubicBezTo>
                  <a:pt x="2839390" y="657724"/>
                  <a:pt x="2804586" y="622921"/>
                  <a:pt x="2804586" y="579989"/>
                </a:cubicBezTo>
                <a:cubicBezTo>
                  <a:pt x="2804586" y="537059"/>
                  <a:pt x="2839390" y="502255"/>
                  <a:pt x="2882313" y="502255"/>
                </a:cubicBezTo>
                <a:close/>
                <a:moveTo>
                  <a:pt x="2689413" y="502255"/>
                </a:moveTo>
                <a:cubicBezTo>
                  <a:pt x="2732346" y="502255"/>
                  <a:pt x="2767122" y="537059"/>
                  <a:pt x="2767122" y="579991"/>
                </a:cubicBezTo>
                <a:cubicBezTo>
                  <a:pt x="2767122" y="622921"/>
                  <a:pt x="2732346" y="657724"/>
                  <a:pt x="2689413" y="657724"/>
                </a:cubicBezTo>
                <a:cubicBezTo>
                  <a:pt x="2646472" y="657724"/>
                  <a:pt x="2611683" y="622921"/>
                  <a:pt x="2611683" y="579991"/>
                </a:cubicBezTo>
                <a:cubicBezTo>
                  <a:pt x="2611683" y="537059"/>
                  <a:pt x="2646472" y="502255"/>
                  <a:pt x="2689413" y="502255"/>
                </a:cubicBezTo>
                <a:close/>
                <a:moveTo>
                  <a:pt x="2748247" y="366081"/>
                </a:moveTo>
                <a:lnTo>
                  <a:pt x="2761018" y="385032"/>
                </a:lnTo>
                <a:cubicBezTo>
                  <a:pt x="2764949" y="394332"/>
                  <a:pt x="2767122" y="404556"/>
                  <a:pt x="2767122" y="415288"/>
                </a:cubicBezTo>
                <a:cubicBezTo>
                  <a:pt x="2767122" y="458223"/>
                  <a:pt x="2732346" y="493040"/>
                  <a:pt x="2689413" y="493040"/>
                </a:cubicBezTo>
                <a:cubicBezTo>
                  <a:pt x="2646472" y="493040"/>
                  <a:pt x="2611683" y="458223"/>
                  <a:pt x="2611683" y="415288"/>
                </a:cubicBezTo>
                <a:lnTo>
                  <a:pt x="2612650" y="410501"/>
                </a:lnTo>
                <a:close/>
                <a:moveTo>
                  <a:pt x="3254065" y="337555"/>
                </a:moveTo>
                <a:cubicBezTo>
                  <a:pt x="3296990" y="337555"/>
                  <a:pt x="3331797" y="372359"/>
                  <a:pt x="3331797" y="415288"/>
                </a:cubicBezTo>
                <a:cubicBezTo>
                  <a:pt x="3331797" y="458223"/>
                  <a:pt x="3296990" y="493040"/>
                  <a:pt x="3254065" y="493040"/>
                </a:cubicBezTo>
                <a:cubicBezTo>
                  <a:pt x="3211124" y="493040"/>
                  <a:pt x="3176318" y="458223"/>
                  <a:pt x="3176318" y="415288"/>
                </a:cubicBezTo>
                <a:cubicBezTo>
                  <a:pt x="3176318" y="372359"/>
                  <a:pt x="3211124" y="337555"/>
                  <a:pt x="3254065" y="337555"/>
                </a:cubicBezTo>
                <a:close/>
                <a:moveTo>
                  <a:pt x="3061140" y="337555"/>
                </a:moveTo>
                <a:cubicBezTo>
                  <a:pt x="3104066" y="337555"/>
                  <a:pt x="3138881" y="372359"/>
                  <a:pt x="3138881" y="415288"/>
                </a:cubicBezTo>
                <a:cubicBezTo>
                  <a:pt x="3138881" y="458223"/>
                  <a:pt x="3104066" y="493040"/>
                  <a:pt x="3061140" y="493040"/>
                </a:cubicBezTo>
                <a:cubicBezTo>
                  <a:pt x="3018189" y="493040"/>
                  <a:pt x="2983383" y="458223"/>
                  <a:pt x="2983383" y="415288"/>
                </a:cubicBezTo>
                <a:cubicBezTo>
                  <a:pt x="2983383" y="372359"/>
                  <a:pt x="3018189" y="337555"/>
                  <a:pt x="3061140" y="337555"/>
                </a:cubicBezTo>
                <a:close/>
                <a:moveTo>
                  <a:pt x="2882313" y="337555"/>
                </a:moveTo>
                <a:cubicBezTo>
                  <a:pt x="2925249" y="337555"/>
                  <a:pt x="2960060" y="372359"/>
                  <a:pt x="2960060" y="415288"/>
                </a:cubicBezTo>
                <a:cubicBezTo>
                  <a:pt x="2960060" y="458223"/>
                  <a:pt x="2925249" y="493040"/>
                  <a:pt x="2882313" y="493040"/>
                </a:cubicBezTo>
                <a:cubicBezTo>
                  <a:pt x="2839390" y="493040"/>
                  <a:pt x="2804586" y="458223"/>
                  <a:pt x="2804586" y="415288"/>
                </a:cubicBezTo>
                <a:cubicBezTo>
                  <a:pt x="2804586" y="372359"/>
                  <a:pt x="2839390" y="337555"/>
                  <a:pt x="2882313" y="337555"/>
                </a:cubicBezTo>
                <a:close/>
                <a:moveTo>
                  <a:pt x="5870113" y="337554"/>
                </a:moveTo>
                <a:cubicBezTo>
                  <a:pt x="5913046" y="337554"/>
                  <a:pt x="5947850" y="372359"/>
                  <a:pt x="5947850" y="415288"/>
                </a:cubicBezTo>
                <a:cubicBezTo>
                  <a:pt x="5947850" y="458223"/>
                  <a:pt x="5913046" y="493040"/>
                  <a:pt x="5870113" y="493040"/>
                </a:cubicBezTo>
                <a:cubicBezTo>
                  <a:pt x="5827181" y="493040"/>
                  <a:pt x="5792376" y="458223"/>
                  <a:pt x="5792376" y="415288"/>
                </a:cubicBezTo>
                <a:cubicBezTo>
                  <a:pt x="5792376" y="372359"/>
                  <a:pt x="5827181" y="337554"/>
                  <a:pt x="5870113" y="337554"/>
                </a:cubicBezTo>
                <a:close/>
                <a:moveTo>
                  <a:pt x="4373793" y="337554"/>
                </a:moveTo>
                <a:cubicBezTo>
                  <a:pt x="4416737" y="337554"/>
                  <a:pt x="4451526" y="372359"/>
                  <a:pt x="4451526" y="415288"/>
                </a:cubicBezTo>
                <a:cubicBezTo>
                  <a:pt x="4451526" y="458223"/>
                  <a:pt x="4416737" y="493040"/>
                  <a:pt x="4373793" y="493040"/>
                </a:cubicBezTo>
                <a:cubicBezTo>
                  <a:pt x="4330869" y="493040"/>
                  <a:pt x="4296066" y="458223"/>
                  <a:pt x="4296066" y="415288"/>
                </a:cubicBezTo>
                <a:cubicBezTo>
                  <a:pt x="4296066" y="372359"/>
                  <a:pt x="4330869" y="337554"/>
                  <a:pt x="4373793" y="337554"/>
                </a:cubicBezTo>
                <a:close/>
                <a:moveTo>
                  <a:pt x="4185562" y="337554"/>
                </a:moveTo>
                <a:cubicBezTo>
                  <a:pt x="4228504" y="337554"/>
                  <a:pt x="4263323" y="372359"/>
                  <a:pt x="4263323" y="415288"/>
                </a:cubicBezTo>
                <a:cubicBezTo>
                  <a:pt x="4263323" y="458223"/>
                  <a:pt x="4228504" y="493040"/>
                  <a:pt x="4185562" y="493040"/>
                </a:cubicBezTo>
                <a:cubicBezTo>
                  <a:pt x="4142612" y="493040"/>
                  <a:pt x="4107803" y="458223"/>
                  <a:pt x="4107803" y="415288"/>
                </a:cubicBezTo>
                <a:cubicBezTo>
                  <a:pt x="4107803" y="372359"/>
                  <a:pt x="4142612" y="337554"/>
                  <a:pt x="4185562" y="337554"/>
                </a:cubicBezTo>
                <a:close/>
                <a:moveTo>
                  <a:pt x="3997354" y="337554"/>
                </a:moveTo>
                <a:cubicBezTo>
                  <a:pt x="4040268" y="337554"/>
                  <a:pt x="4075062" y="372359"/>
                  <a:pt x="4075062" y="415288"/>
                </a:cubicBezTo>
                <a:cubicBezTo>
                  <a:pt x="4075062" y="458223"/>
                  <a:pt x="4040268" y="493040"/>
                  <a:pt x="3997354" y="493040"/>
                </a:cubicBezTo>
                <a:cubicBezTo>
                  <a:pt x="3954440" y="493040"/>
                  <a:pt x="3919622" y="458223"/>
                  <a:pt x="3919622" y="415288"/>
                </a:cubicBezTo>
                <a:cubicBezTo>
                  <a:pt x="3919622" y="372359"/>
                  <a:pt x="3954440" y="337554"/>
                  <a:pt x="3997354" y="337554"/>
                </a:cubicBezTo>
                <a:close/>
                <a:moveTo>
                  <a:pt x="3813851" y="337554"/>
                </a:moveTo>
                <a:cubicBezTo>
                  <a:pt x="3856791" y="337554"/>
                  <a:pt x="3891567" y="372359"/>
                  <a:pt x="3891567" y="415288"/>
                </a:cubicBezTo>
                <a:cubicBezTo>
                  <a:pt x="3891567" y="458223"/>
                  <a:pt x="3856791" y="493040"/>
                  <a:pt x="3813851" y="493040"/>
                </a:cubicBezTo>
                <a:cubicBezTo>
                  <a:pt x="3770914" y="493040"/>
                  <a:pt x="3736077" y="458223"/>
                  <a:pt x="3736077" y="415288"/>
                </a:cubicBezTo>
                <a:cubicBezTo>
                  <a:pt x="3736077" y="372359"/>
                  <a:pt x="3770914" y="337554"/>
                  <a:pt x="3813851" y="337554"/>
                </a:cubicBezTo>
                <a:close/>
                <a:moveTo>
                  <a:pt x="3625636" y="337554"/>
                </a:moveTo>
                <a:cubicBezTo>
                  <a:pt x="3668555" y="337554"/>
                  <a:pt x="3703376" y="372359"/>
                  <a:pt x="3703376" y="415288"/>
                </a:cubicBezTo>
                <a:cubicBezTo>
                  <a:pt x="3703376" y="458223"/>
                  <a:pt x="3668555" y="493040"/>
                  <a:pt x="3625636" y="493040"/>
                </a:cubicBezTo>
                <a:cubicBezTo>
                  <a:pt x="3582688" y="493040"/>
                  <a:pt x="3547906" y="458223"/>
                  <a:pt x="3547906" y="415288"/>
                </a:cubicBezTo>
                <a:cubicBezTo>
                  <a:pt x="3547906" y="372359"/>
                  <a:pt x="3582688" y="337554"/>
                  <a:pt x="3625636" y="337554"/>
                </a:cubicBezTo>
                <a:close/>
                <a:moveTo>
                  <a:pt x="3442100" y="337554"/>
                </a:moveTo>
                <a:cubicBezTo>
                  <a:pt x="3485038" y="337554"/>
                  <a:pt x="3519851" y="372359"/>
                  <a:pt x="3519851" y="415288"/>
                </a:cubicBezTo>
                <a:cubicBezTo>
                  <a:pt x="3519851" y="458223"/>
                  <a:pt x="3485038" y="493040"/>
                  <a:pt x="3442100" y="493040"/>
                </a:cubicBezTo>
                <a:cubicBezTo>
                  <a:pt x="3399350" y="493040"/>
                  <a:pt x="3364551" y="458223"/>
                  <a:pt x="3364551" y="415288"/>
                </a:cubicBezTo>
                <a:cubicBezTo>
                  <a:pt x="3364551" y="372359"/>
                  <a:pt x="3399350" y="337554"/>
                  <a:pt x="3442100" y="337554"/>
                </a:cubicBezTo>
                <a:close/>
                <a:moveTo>
                  <a:pt x="3135600" y="252734"/>
                </a:moveTo>
                <a:lnTo>
                  <a:pt x="3132770" y="266748"/>
                </a:lnTo>
                <a:cubicBezTo>
                  <a:pt x="3120966" y="294647"/>
                  <a:pt x="3093334" y="314222"/>
                  <a:pt x="3061140" y="314222"/>
                </a:cubicBezTo>
                <a:cubicBezTo>
                  <a:pt x="3039665" y="314222"/>
                  <a:pt x="3020226" y="305522"/>
                  <a:pt x="3006157" y="291456"/>
                </a:cubicBezTo>
                <a:lnTo>
                  <a:pt x="3003640" y="287723"/>
                </a:lnTo>
                <a:close/>
                <a:moveTo>
                  <a:pt x="3323461" y="202923"/>
                </a:moveTo>
                <a:lnTo>
                  <a:pt x="3325693" y="206233"/>
                </a:lnTo>
                <a:cubicBezTo>
                  <a:pt x="3329628" y="215533"/>
                  <a:pt x="3331804" y="225758"/>
                  <a:pt x="3331804" y="236490"/>
                </a:cubicBezTo>
                <a:cubicBezTo>
                  <a:pt x="3331804" y="279423"/>
                  <a:pt x="3296990" y="314222"/>
                  <a:pt x="3254069" y="314222"/>
                </a:cubicBezTo>
                <a:cubicBezTo>
                  <a:pt x="3221861" y="314222"/>
                  <a:pt x="3194230" y="294647"/>
                  <a:pt x="3182428" y="266748"/>
                </a:cubicBezTo>
                <a:lnTo>
                  <a:pt x="3177362" y="241661"/>
                </a:lnTo>
                <a:close/>
                <a:moveTo>
                  <a:pt x="3479450" y="169640"/>
                </a:moveTo>
                <a:lnTo>
                  <a:pt x="3497078" y="181523"/>
                </a:lnTo>
                <a:cubicBezTo>
                  <a:pt x="3511148" y="195591"/>
                  <a:pt x="3519851" y="215025"/>
                  <a:pt x="3519851" y="236490"/>
                </a:cubicBezTo>
                <a:cubicBezTo>
                  <a:pt x="3519851" y="279423"/>
                  <a:pt x="3485038" y="314222"/>
                  <a:pt x="3442100" y="314222"/>
                </a:cubicBezTo>
                <a:cubicBezTo>
                  <a:pt x="3399351" y="314222"/>
                  <a:pt x="3364554" y="279423"/>
                  <a:pt x="3364554" y="236490"/>
                </a:cubicBezTo>
                <a:cubicBezTo>
                  <a:pt x="3364554" y="225758"/>
                  <a:pt x="3366729" y="215533"/>
                  <a:pt x="3370660" y="206233"/>
                </a:cubicBezTo>
                <a:lnTo>
                  <a:pt x="3381860" y="189598"/>
                </a:lnTo>
                <a:close/>
                <a:moveTo>
                  <a:pt x="6053633" y="158753"/>
                </a:moveTo>
                <a:cubicBezTo>
                  <a:pt x="6096566" y="158753"/>
                  <a:pt x="6131370" y="193559"/>
                  <a:pt x="6131370" y="236488"/>
                </a:cubicBezTo>
                <a:cubicBezTo>
                  <a:pt x="6131370" y="279422"/>
                  <a:pt x="6096566" y="314222"/>
                  <a:pt x="6053633" y="314222"/>
                </a:cubicBezTo>
                <a:cubicBezTo>
                  <a:pt x="6010700" y="314222"/>
                  <a:pt x="5975896" y="279422"/>
                  <a:pt x="5975896" y="236488"/>
                </a:cubicBezTo>
                <a:cubicBezTo>
                  <a:pt x="5975896" y="193559"/>
                  <a:pt x="6010700" y="158753"/>
                  <a:pt x="6053633" y="158753"/>
                </a:cubicBezTo>
                <a:close/>
                <a:moveTo>
                  <a:pt x="5870113" y="158753"/>
                </a:moveTo>
                <a:cubicBezTo>
                  <a:pt x="5913046" y="158753"/>
                  <a:pt x="5947850" y="193559"/>
                  <a:pt x="5947850" y="236488"/>
                </a:cubicBezTo>
                <a:cubicBezTo>
                  <a:pt x="5947850" y="279423"/>
                  <a:pt x="5913046" y="314222"/>
                  <a:pt x="5870113" y="314222"/>
                </a:cubicBezTo>
                <a:cubicBezTo>
                  <a:pt x="5827181" y="314222"/>
                  <a:pt x="5792376" y="279423"/>
                  <a:pt x="5792376" y="236488"/>
                </a:cubicBezTo>
                <a:cubicBezTo>
                  <a:pt x="5792376" y="193559"/>
                  <a:pt x="5827181" y="158753"/>
                  <a:pt x="5870113" y="158753"/>
                </a:cubicBezTo>
                <a:close/>
                <a:moveTo>
                  <a:pt x="4557299" y="158753"/>
                </a:moveTo>
                <a:cubicBezTo>
                  <a:pt x="4600237" y="158753"/>
                  <a:pt x="4635049" y="193559"/>
                  <a:pt x="4635049" y="236488"/>
                </a:cubicBezTo>
                <a:cubicBezTo>
                  <a:pt x="4635049" y="279423"/>
                  <a:pt x="4600237" y="314222"/>
                  <a:pt x="4557299" y="314222"/>
                </a:cubicBezTo>
                <a:cubicBezTo>
                  <a:pt x="4514356" y="314222"/>
                  <a:pt x="4479562" y="279423"/>
                  <a:pt x="4479562" y="236488"/>
                </a:cubicBezTo>
                <a:cubicBezTo>
                  <a:pt x="4479562" y="193559"/>
                  <a:pt x="4514356" y="158753"/>
                  <a:pt x="4557299" y="158753"/>
                </a:cubicBezTo>
                <a:close/>
                <a:moveTo>
                  <a:pt x="4373793" y="158753"/>
                </a:moveTo>
                <a:cubicBezTo>
                  <a:pt x="4416737" y="158753"/>
                  <a:pt x="4451526" y="193559"/>
                  <a:pt x="4451526" y="236488"/>
                </a:cubicBezTo>
                <a:cubicBezTo>
                  <a:pt x="4451526" y="279423"/>
                  <a:pt x="4416737" y="314222"/>
                  <a:pt x="4373793" y="314222"/>
                </a:cubicBezTo>
                <a:cubicBezTo>
                  <a:pt x="4330869" y="314222"/>
                  <a:pt x="4296066" y="279423"/>
                  <a:pt x="4296066" y="236488"/>
                </a:cubicBezTo>
                <a:cubicBezTo>
                  <a:pt x="4296066" y="193559"/>
                  <a:pt x="4330869" y="158753"/>
                  <a:pt x="4373793" y="158753"/>
                </a:cubicBezTo>
                <a:close/>
                <a:moveTo>
                  <a:pt x="4185562" y="158753"/>
                </a:moveTo>
                <a:cubicBezTo>
                  <a:pt x="4228504" y="158753"/>
                  <a:pt x="4263323" y="193559"/>
                  <a:pt x="4263323" y="236490"/>
                </a:cubicBezTo>
                <a:cubicBezTo>
                  <a:pt x="4263323" y="279423"/>
                  <a:pt x="4228504" y="314222"/>
                  <a:pt x="4185562" y="314222"/>
                </a:cubicBezTo>
                <a:cubicBezTo>
                  <a:pt x="4142612" y="314222"/>
                  <a:pt x="4107803" y="279423"/>
                  <a:pt x="4107803" y="236490"/>
                </a:cubicBezTo>
                <a:cubicBezTo>
                  <a:pt x="4107803" y="193559"/>
                  <a:pt x="4142612" y="158753"/>
                  <a:pt x="4185562" y="158753"/>
                </a:cubicBezTo>
                <a:close/>
                <a:moveTo>
                  <a:pt x="3997354" y="158753"/>
                </a:moveTo>
                <a:cubicBezTo>
                  <a:pt x="4040268" y="158753"/>
                  <a:pt x="4075062" y="193559"/>
                  <a:pt x="4075062" y="236490"/>
                </a:cubicBezTo>
                <a:cubicBezTo>
                  <a:pt x="4075062" y="279423"/>
                  <a:pt x="4040268" y="314222"/>
                  <a:pt x="3997354" y="314222"/>
                </a:cubicBezTo>
                <a:cubicBezTo>
                  <a:pt x="3954440" y="314222"/>
                  <a:pt x="3919622" y="279423"/>
                  <a:pt x="3919622" y="236490"/>
                </a:cubicBezTo>
                <a:cubicBezTo>
                  <a:pt x="3919622" y="193559"/>
                  <a:pt x="3954440" y="158753"/>
                  <a:pt x="3997354" y="158753"/>
                </a:cubicBezTo>
                <a:close/>
                <a:moveTo>
                  <a:pt x="3813851" y="158753"/>
                </a:moveTo>
                <a:cubicBezTo>
                  <a:pt x="3856791" y="158753"/>
                  <a:pt x="3891567" y="193559"/>
                  <a:pt x="3891567" y="236490"/>
                </a:cubicBezTo>
                <a:cubicBezTo>
                  <a:pt x="3891567" y="279423"/>
                  <a:pt x="3856791" y="314222"/>
                  <a:pt x="3813851" y="314222"/>
                </a:cubicBezTo>
                <a:cubicBezTo>
                  <a:pt x="3770914" y="314222"/>
                  <a:pt x="3736077" y="279423"/>
                  <a:pt x="3736077" y="236490"/>
                </a:cubicBezTo>
                <a:cubicBezTo>
                  <a:pt x="3736077" y="193559"/>
                  <a:pt x="3770914" y="158753"/>
                  <a:pt x="3813851" y="158753"/>
                </a:cubicBezTo>
                <a:close/>
                <a:moveTo>
                  <a:pt x="3625636" y="158753"/>
                </a:moveTo>
                <a:cubicBezTo>
                  <a:pt x="3668555" y="158753"/>
                  <a:pt x="3703376" y="193559"/>
                  <a:pt x="3703376" y="236490"/>
                </a:cubicBezTo>
                <a:cubicBezTo>
                  <a:pt x="3703376" y="279423"/>
                  <a:pt x="3668555" y="314222"/>
                  <a:pt x="3625636" y="314222"/>
                </a:cubicBezTo>
                <a:cubicBezTo>
                  <a:pt x="3582688" y="314222"/>
                  <a:pt x="3547906" y="279423"/>
                  <a:pt x="3547906" y="236490"/>
                </a:cubicBezTo>
                <a:cubicBezTo>
                  <a:pt x="3547906" y="193559"/>
                  <a:pt x="3582688" y="158753"/>
                  <a:pt x="3625636" y="158753"/>
                </a:cubicBezTo>
                <a:close/>
                <a:moveTo>
                  <a:pt x="3666858" y="131312"/>
                </a:moveTo>
                <a:lnTo>
                  <a:pt x="3655889" y="138707"/>
                </a:lnTo>
                <a:cubicBezTo>
                  <a:pt x="3646590" y="142640"/>
                  <a:pt x="3636366" y="144816"/>
                  <a:pt x="3625636" y="144816"/>
                </a:cubicBezTo>
                <a:lnTo>
                  <a:pt x="3613152" y="142296"/>
                </a:lnTo>
                <a:close/>
                <a:moveTo>
                  <a:pt x="3886446" y="92463"/>
                </a:moveTo>
                <a:lnTo>
                  <a:pt x="3885462" y="97338"/>
                </a:lnTo>
                <a:cubicBezTo>
                  <a:pt x="3873669" y="125238"/>
                  <a:pt x="3846056" y="144816"/>
                  <a:pt x="3813851" y="144816"/>
                </a:cubicBezTo>
                <a:cubicBezTo>
                  <a:pt x="3792383" y="144816"/>
                  <a:pt x="3772939" y="136115"/>
                  <a:pt x="3758862" y="122047"/>
                </a:cubicBezTo>
                <a:lnTo>
                  <a:pt x="3753199" y="113654"/>
                </a:lnTo>
                <a:lnTo>
                  <a:pt x="3784279" y="107297"/>
                </a:lnTo>
                <a:close/>
                <a:moveTo>
                  <a:pt x="4074670" y="65135"/>
                </a:moveTo>
                <a:lnTo>
                  <a:pt x="4075062" y="67080"/>
                </a:lnTo>
                <a:cubicBezTo>
                  <a:pt x="4075062" y="110011"/>
                  <a:pt x="4040268" y="144814"/>
                  <a:pt x="3997354" y="144814"/>
                </a:cubicBezTo>
                <a:cubicBezTo>
                  <a:pt x="3965168" y="144814"/>
                  <a:pt x="3937537" y="125238"/>
                  <a:pt x="3925733" y="97338"/>
                </a:cubicBezTo>
                <a:lnTo>
                  <a:pt x="3923657" y="87061"/>
                </a:lnTo>
                <a:close/>
                <a:moveTo>
                  <a:pt x="4257864" y="40054"/>
                </a:moveTo>
                <a:lnTo>
                  <a:pt x="4263323" y="67080"/>
                </a:lnTo>
                <a:cubicBezTo>
                  <a:pt x="4263323" y="110011"/>
                  <a:pt x="4228504" y="144814"/>
                  <a:pt x="4185562" y="144814"/>
                </a:cubicBezTo>
                <a:cubicBezTo>
                  <a:pt x="4142612" y="144814"/>
                  <a:pt x="4107803" y="110011"/>
                  <a:pt x="4107803" y="67080"/>
                </a:cubicBezTo>
                <a:lnTo>
                  <a:pt x="4109209" y="60120"/>
                </a:lnTo>
                <a:lnTo>
                  <a:pt x="4231894" y="42307"/>
                </a:lnTo>
                <a:close/>
                <a:moveTo>
                  <a:pt x="4437115" y="24502"/>
                </a:moveTo>
                <a:lnTo>
                  <a:pt x="4445419" y="36821"/>
                </a:lnTo>
                <a:cubicBezTo>
                  <a:pt x="4449352" y="46122"/>
                  <a:pt x="4451526" y="56347"/>
                  <a:pt x="4451526" y="67080"/>
                </a:cubicBezTo>
                <a:cubicBezTo>
                  <a:pt x="4451526" y="110011"/>
                  <a:pt x="4416737" y="144814"/>
                  <a:pt x="4373793" y="144814"/>
                </a:cubicBezTo>
                <a:cubicBezTo>
                  <a:pt x="4330869" y="144814"/>
                  <a:pt x="4296066" y="110011"/>
                  <a:pt x="4296066" y="67080"/>
                </a:cubicBezTo>
                <a:cubicBezTo>
                  <a:pt x="4296066" y="56347"/>
                  <a:pt x="4298242" y="46122"/>
                  <a:pt x="4302175" y="36821"/>
                </a:cubicBezTo>
                <a:lnTo>
                  <a:pt x="4302613" y="36171"/>
                </a:lnTo>
                <a:close/>
                <a:moveTo>
                  <a:pt x="4608587" y="9626"/>
                </a:moveTo>
                <a:lnTo>
                  <a:pt x="4612276" y="12112"/>
                </a:lnTo>
                <a:cubicBezTo>
                  <a:pt x="4626346" y="26180"/>
                  <a:pt x="4635049" y="45614"/>
                  <a:pt x="4635049" y="67080"/>
                </a:cubicBezTo>
                <a:cubicBezTo>
                  <a:pt x="4635049" y="110011"/>
                  <a:pt x="4600237" y="144814"/>
                  <a:pt x="4557299" y="144814"/>
                </a:cubicBezTo>
                <a:cubicBezTo>
                  <a:pt x="4514356" y="144814"/>
                  <a:pt x="4479562" y="110011"/>
                  <a:pt x="4479562" y="67080"/>
                </a:cubicBezTo>
                <a:cubicBezTo>
                  <a:pt x="4479562" y="56347"/>
                  <a:pt x="4481737" y="46122"/>
                  <a:pt x="4485670" y="36821"/>
                </a:cubicBezTo>
                <a:lnTo>
                  <a:pt x="4497506" y="19263"/>
                </a:lnTo>
                <a:close/>
                <a:moveTo>
                  <a:pt x="4782535" y="0"/>
                </a:moveTo>
                <a:lnTo>
                  <a:pt x="4800498" y="12112"/>
                </a:lnTo>
                <a:cubicBezTo>
                  <a:pt x="4814565" y="26180"/>
                  <a:pt x="4823266" y="45614"/>
                  <a:pt x="4823266" y="67080"/>
                </a:cubicBezTo>
                <a:cubicBezTo>
                  <a:pt x="4823266" y="110011"/>
                  <a:pt x="4788459" y="144814"/>
                  <a:pt x="4745539" y="144814"/>
                </a:cubicBezTo>
                <a:cubicBezTo>
                  <a:pt x="4702579" y="144814"/>
                  <a:pt x="4667788" y="110011"/>
                  <a:pt x="4667788" y="67080"/>
                </a:cubicBezTo>
                <a:cubicBezTo>
                  <a:pt x="4667788" y="45614"/>
                  <a:pt x="4676486" y="26180"/>
                  <a:pt x="4690554" y="12112"/>
                </a:cubicBezTo>
                <a:lnTo>
                  <a:pt x="4705216" y="22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81" name="Rectangle 680"/>
          <p:cNvSpPr/>
          <p:nvPr/>
        </p:nvSpPr>
        <p:spPr>
          <a:xfrm>
            <a:off x="0" y="2811780"/>
            <a:ext cx="9144000" cy="2331721"/>
          </a:xfrm>
          <a:prstGeom prst="rect">
            <a:avLst/>
          </a:prstGeom>
          <a:solidFill>
            <a:srgbClr val="3999C6">
              <a:alpha val="15000"/>
            </a:srgb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5" name="Group 4"/>
          <p:cNvGrpSpPr/>
          <p:nvPr/>
        </p:nvGrpSpPr>
        <p:grpSpPr>
          <a:xfrm>
            <a:off x="747311" y="3394196"/>
            <a:ext cx="1170383" cy="1170383"/>
            <a:chOff x="-4594157" y="2516834"/>
            <a:chExt cx="1070585" cy="1070585"/>
          </a:xfrm>
        </p:grpSpPr>
        <p:sp>
          <p:nvSpPr>
            <p:cNvPr id="693"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grpSp>
          <p:nvGrpSpPr>
            <p:cNvPr id="694" name="Group 693"/>
            <p:cNvGrpSpPr/>
            <p:nvPr/>
          </p:nvGrpSpPr>
          <p:grpSpPr>
            <a:xfrm>
              <a:off x="-4594157" y="2516834"/>
              <a:ext cx="1070585" cy="1070585"/>
              <a:chOff x="10232415" y="2527090"/>
              <a:chExt cx="1070585" cy="1070585"/>
            </a:xfrm>
          </p:grpSpPr>
          <p:sp>
            <p:nvSpPr>
              <p:cNvPr id="703" name="Oval 702"/>
              <p:cNvSpPr/>
              <p:nvPr/>
            </p:nvSpPr>
            <p:spPr>
              <a:xfrm>
                <a:off x="10627604" y="2770027"/>
                <a:ext cx="274303" cy="2743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pic>
            <p:nvPicPr>
              <p:cNvPr id="704" name="Graphic 703" descr="Marke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708" name="Group 707"/>
          <p:cNvGrpSpPr/>
          <p:nvPr/>
        </p:nvGrpSpPr>
        <p:grpSpPr>
          <a:xfrm>
            <a:off x="4251126" y="3515764"/>
            <a:ext cx="1170383" cy="1170383"/>
            <a:chOff x="-4594157" y="2516834"/>
            <a:chExt cx="1070585" cy="1070585"/>
          </a:xfrm>
        </p:grpSpPr>
        <p:sp>
          <p:nvSpPr>
            <p:cNvPr id="709"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grpSp>
          <p:nvGrpSpPr>
            <p:cNvPr id="710" name="Group 709"/>
            <p:cNvGrpSpPr/>
            <p:nvPr/>
          </p:nvGrpSpPr>
          <p:grpSpPr>
            <a:xfrm>
              <a:off x="-4594157" y="2516834"/>
              <a:ext cx="1070585" cy="1070585"/>
              <a:chOff x="10232415" y="2527090"/>
              <a:chExt cx="1070585" cy="1070585"/>
            </a:xfrm>
          </p:grpSpPr>
          <p:sp>
            <p:nvSpPr>
              <p:cNvPr id="711" name="Oval 710"/>
              <p:cNvSpPr/>
              <p:nvPr/>
            </p:nvSpPr>
            <p:spPr>
              <a:xfrm>
                <a:off x="10627604" y="2770027"/>
                <a:ext cx="274303" cy="2743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pic>
            <p:nvPicPr>
              <p:cNvPr id="712" name="Graphic 711" descr="Marke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713" name="Group 712"/>
          <p:cNvGrpSpPr/>
          <p:nvPr/>
        </p:nvGrpSpPr>
        <p:grpSpPr>
          <a:xfrm>
            <a:off x="6065379" y="2873606"/>
            <a:ext cx="1170383" cy="1170383"/>
            <a:chOff x="-4594157" y="2516834"/>
            <a:chExt cx="1070585" cy="1070585"/>
          </a:xfrm>
        </p:grpSpPr>
        <p:sp>
          <p:nvSpPr>
            <p:cNvPr id="714"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grpSp>
          <p:nvGrpSpPr>
            <p:cNvPr id="715" name="Group 714"/>
            <p:cNvGrpSpPr/>
            <p:nvPr/>
          </p:nvGrpSpPr>
          <p:grpSpPr>
            <a:xfrm>
              <a:off x="-4594157" y="2516834"/>
              <a:ext cx="1070585" cy="1070585"/>
              <a:chOff x="10232415" y="2527090"/>
              <a:chExt cx="1070585" cy="1070585"/>
            </a:xfrm>
          </p:grpSpPr>
          <p:sp>
            <p:nvSpPr>
              <p:cNvPr id="716" name="Oval 715"/>
              <p:cNvSpPr/>
              <p:nvPr/>
            </p:nvSpPr>
            <p:spPr>
              <a:xfrm>
                <a:off x="10627604" y="2770027"/>
                <a:ext cx="274303" cy="2743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pic>
            <p:nvPicPr>
              <p:cNvPr id="717" name="Graphic 716" descr="Marke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718" name="Group 717"/>
          <p:cNvGrpSpPr/>
          <p:nvPr/>
        </p:nvGrpSpPr>
        <p:grpSpPr>
          <a:xfrm>
            <a:off x="1875550" y="3897377"/>
            <a:ext cx="1170383" cy="1170383"/>
            <a:chOff x="-4594157" y="2516834"/>
            <a:chExt cx="1070585" cy="1070585"/>
          </a:xfrm>
        </p:grpSpPr>
        <p:sp>
          <p:nvSpPr>
            <p:cNvPr id="719"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grpSp>
          <p:nvGrpSpPr>
            <p:cNvPr id="720" name="Group 719"/>
            <p:cNvGrpSpPr/>
            <p:nvPr/>
          </p:nvGrpSpPr>
          <p:grpSpPr>
            <a:xfrm>
              <a:off x="-4594157" y="2516834"/>
              <a:ext cx="1070585" cy="1070585"/>
              <a:chOff x="10232415" y="2527090"/>
              <a:chExt cx="1070585" cy="1070585"/>
            </a:xfrm>
          </p:grpSpPr>
          <p:sp>
            <p:nvSpPr>
              <p:cNvPr id="721" name="Oval 720"/>
              <p:cNvSpPr/>
              <p:nvPr/>
            </p:nvSpPr>
            <p:spPr>
              <a:xfrm>
                <a:off x="10627604" y="2770027"/>
                <a:ext cx="274303" cy="2743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pic>
            <p:nvPicPr>
              <p:cNvPr id="722" name="Graphic 721" descr="Marke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spTree>
    <p:extLst>
      <p:ext uri="{BB962C8B-B14F-4D97-AF65-F5344CB8AC3E}">
        <p14:creationId xmlns:p14="http://schemas.microsoft.com/office/powerpoint/2010/main" val="57661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8102" y="1494388"/>
            <a:ext cx="3628348" cy="3654878"/>
          </a:xfrm>
          <a:prstGeom prst="rect">
            <a:avLst/>
          </a:prstGeom>
          <a:solidFill>
            <a:srgbClr val="3999C6"/>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18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08617" y="1738313"/>
            <a:ext cx="2001441" cy="300082"/>
          </a:xfrm>
        </p:spPr>
        <p:txBody>
          <a:bodyPr wrap="square">
            <a:spAutoFit/>
          </a:bodyPr>
          <a:lstStyle/>
          <a:p>
            <a:pPr marL="0" indent="0">
              <a:buNone/>
            </a:pPr>
            <a:r>
              <a:rPr lang="en-US" sz="1500" b="1" dirty="0">
                <a:solidFill>
                  <a:schemeClr val="bg1"/>
                </a:solidFill>
                <a:latin typeface="Segoe UI" charset="0"/>
                <a:ea typeface="Segoe UI" charset="0"/>
                <a:cs typeface="Segoe UI" charset="0"/>
              </a:rPr>
              <a:t>Global distribution</a:t>
            </a:r>
          </a:p>
        </p:txBody>
      </p:sp>
      <p:grpSp>
        <p:nvGrpSpPr>
          <p:cNvPr id="323" name="Group 322"/>
          <p:cNvGrpSpPr/>
          <p:nvPr/>
        </p:nvGrpSpPr>
        <p:grpSpPr>
          <a:xfrm>
            <a:off x="47456" y="1756243"/>
            <a:ext cx="331510" cy="224533"/>
            <a:chOff x="6082249" y="5559189"/>
            <a:chExt cx="564210" cy="382141"/>
          </a:xfrm>
          <a:solidFill>
            <a:srgbClr val="BAD80A"/>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sp>
        <p:nvSpPr>
          <p:cNvPr id="184" name="Content Placeholder 2"/>
          <p:cNvSpPr txBox="1">
            <a:spLocks/>
          </p:cNvSpPr>
          <p:nvPr/>
        </p:nvSpPr>
        <p:spPr>
          <a:xfrm>
            <a:off x="408617" y="4599357"/>
            <a:ext cx="2496741" cy="587340"/>
          </a:xfrm>
          <a:prstGeom prst="rect">
            <a:avLst/>
          </a:prstGeom>
        </p:spPr>
        <p:txBody>
          <a:bodyPr vert="horz" wrap="square" lIns="68580" tIns="34290" rIns="68580" bIns="3429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srgbClr val="FFFFFF"/>
                </a:solidFill>
                <a:effectLst/>
                <a:uLnTx/>
                <a:uFillTx/>
                <a:latin typeface="Segoe UI" charset="0"/>
                <a:ea typeface="Segoe UI" charset="0"/>
                <a:cs typeface="Segoe UI" charset="0"/>
              </a:rPr>
              <a:t>Multi-model + multi API</a:t>
            </a:r>
          </a:p>
          <a:p>
            <a:pPr marL="171450" marR="0" lvl="0" indent="-17145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a:pPr>
            <a:endParaRPr kumimoji="0" lang="en-US" sz="1500" b="1" i="0" u="none" strike="noStrike" kern="1200" cap="none" spc="0" normalizeH="0" baseline="0" noProof="0" dirty="0">
              <a:ln>
                <a:noFill/>
              </a:ln>
              <a:solidFill>
                <a:srgbClr val="FFFFFF"/>
              </a:solidFill>
              <a:effectLst/>
              <a:uLnTx/>
              <a:uFillTx/>
              <a:latin typeface="Segoe UI" charset="0"/>
              <a:ea typeface="Segoe UI" charset="0"/>
              <a:cs typeface="Segoe UI" charset="0"/>
            </a:endParaRPr>
          </a:p>
        </p:txBody>
      </p:sp>
      <p:grpSp>
        <p:nvGrpSpPr>
          <p:cNvPr id="185" name="Group 184"/>
          <p:cNvGrpSpPr/>
          <p:nvPr/>
        </p:nvGrpSpPr>
        <p:grpSpPr>
          <a:xfrm>
            <a:off x="41337" y="4623622"/>
            <a:ext cx="331510" cy="224533"/>
            <a:chOff x="6082249" y="5559189"/>
            <a:chExt cx="564210" cy="382141"/>
          </a:xfrm>
          <a:solidFill>
            <a:schemeClr val="accent2"/>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6" name="Content Placeholder 2">
            <a:extLst>
              <a:ext uri="{FF2B5EF4-FFF2-40B4-BE49-F238E27FC236}">
                <a16:creationId xmlns:a16="http://schemas.microsoft.com/office/drawing/2014/main" id="{2512957E-7455-4FA5-98A2-F656EC6B038E}"/>
              </a:ext>
            </a:extLst>
          </p:cNvPr>
          <p:cNvSpPr txBox="1">
            <a:spLocks/>
          </p:cNvSpPr>
          <p:nvPr/>
        </p:nvSpPr>
        <p:spPr>
          <a:xfrm>
            <a:off x="418188" y="2913035"/>
            <a:ext cx="3018235" cy="276999"/>
          </a:xfrm>
          <a:prstGeom prst="rect">
            <a:avLst/>
          </a:prstGeom>
        </p:spPr>
        <p:txBody>
          <a:bodyPr vert="horz" wrap="square" lIns="68580" tIns="34290" rIns="68580" bIns="3429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srgbClr val="FFFFFF"/>
                </a:solidFill>
                <a:effectLst/>
                <a:uLnTx/>
                <a:uFillTx/>
                <a:latin typeface="Segoe UI" charset="0"/>
                <a:ea typeface="Segoe UI" charset="0"/>
                <a:cs typeface="Segoe UI" charset="0"/>
              </a:rPr>
              <a:t>Guaranteed single-digit latency</a:t>
            </a:r>
          </a:p>
        </p:txBody>
      </p:sp>
      <p:sp>
        <p:nvSpPr>
          <p:cNvPr id="58" name="Content Placeholder 2">
            <a:extLst>
              <a:ext uri="{FF2B5EF4-FFF2-40B4-BE49-F238E27FC236}">
                <a16:creationId xmlns:a16="http://schemas.microsoft.com/office/drawing/2014/main" id="{AA43F1EF-A2F5-4CC4-9108-8C7833B2ADEE}"/>
              </a:ext>
            </a:extLst>
          </p:cNvPr>
          <p:cNvSpPr txBox="1">
            <a:spLocks/>
          </p:cNvSpPr>
          <p:nvPr/>
        </p:nvSpPr>
        <p:spPr>
          <a:xfrm>
            <a:off x="408618" y="2310998"/>
            <a:ext cx="1778794" cy="276999"/>
          </a:xfrm>
          <a:prstGeom prst="rect">
            <a:avLst/>
          </a:prstGeom>
        </p:spPr>
        <p:txBody>
          <a:bodyPr vert="horz" wrap="square" lIns="68580" tIns="34290" rIns="68580" bIns="3429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srgbClr val="FFFFFF"/>
                </a:solidFill>
                <a:effectLst/>
                <a:uLnTx/>
                <a:uFillTx/>
                <a:latin typeface="Segoe UI" charset="0"/>
                <a:ea typeface="Segoe UI" charset="0"/>
                <a:cs typeface="Segoe UI" charset="0"/>
              </a:rPr>
              <a:t>Elastic scale-out</a:t>
            </a:r>
          </a:p>
        </p:txBody>
      </p:sp>
      <p:sp>
        <p:nvSpPr>
          <p:cNvPr id="59" name="Content Placeholder 2">
            <a:extLst>
              <a:ext uri="{FF2B5EF4-FFF2-40B4-BE49-F238E27FC236}">
                <a16:creationId xmlns:a16="http://schemas.microsoft.com/office/drawing/2014/main" id="{F99CA964-ADBB-4A3F-A4B6-C5E2F651FF1B}"/>
              </a:ext>
            </a:extLst>
          </p:cNvPr>
          <p:cNvSpPr txBox="1">
            <a:spLocks/>
          </p:cNvSpPr>
          <p:nvPr/>
        </p:nvSpPr>
        <p:spPr>
          <a:xfrm>
            <a:off x="448343" y="3454120"/>
            <a:ext cx="2241947" cy="276999"/>
          </a:xfrm>
          <a:prstGeom prst="rect">
            <a:avLst/>
          </a:prstGeom>
        </p:spPr>
        <p:txBody>
          <a:bodyPr vert="horz" wrap="square" lIns="68580" tIns="34290" rIns="68580" bIns="3429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srgbClr val="FFFFFF"/>
                </a:solidFill>
                <a:effectLst/>
                <a:uLnTx/>
                <a:uFillTx/>
                <a:latin typeface="Segoe UI" charset="0"/>
                <a:ea typeface="Segoe UI" charset="0"/>
                <a:cs typeface="Segoe UI" charset="0"/>
              </a:rPr>
              <a:t>Choice of consistency</a:t>
            </a:r>
          </a:p>
        </p:txBody>
      </p:sp>
      <p:sp>
        <p:nvSpPr>
          <p:cNvPr id="60" name="Content Placeholder 2">
            <a:extLst>
              <a:ext uri="{FF2B5EF4-FFF2-40B4-BE49-F238E27FC236}">
                <a16:creationId xmlns:a16="http://schemas.microsoft.com/office/drawing/2014/main" id="{FB19895F-E6A0-4B44-B33F-C920BCD9EE27}"/>
              </a:ext>
            </a:extLst>
          </p:cNvPr>
          <p:cNvSpPr txBox="1">
            <a:spLocks/>
          </p:cNvSpPr>
          <p:nvPr/>
        </p:nvSpPr>
        <p:spPr>
          <a:xfrm>
            <a:off x="408617" y="4027861"/>
            <a:ext cx="2168129" cy="276999"/>
          </a:xfrm>
          <a:prstGeom prst="rect">
            <a:avLst/>
          </a:prstGeom>
        </p:spPr>
        <p:txBody>
          <a:bodyPr vert="horz" wrap="square" lIns="68580" tIns="34290" rIns="68580" bIns="3429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srgbClr val="FFFFFF"/>
                </a:solidFill>
                <a:effectLst/>
                <a:uLnTx/>
                <a:uFillTx/>
                <a:latin typeface="Segoe UI" charset="0"/>
                <a:ea typeface="Segoe UI" charset="0"/>
                <a:cs typeface="Segoe UI" charset="0"/>
              </a:rPr>
              <a:t>Enterprise-level SLAs</a:t>
            </a:r>
          </a:p>
        </p:txBody>
      </p:sp>
      <p:grpSp>
        <p:nvGrpSpPr>
          <p:cNvPr id="61" name="Group 60">
            <a:extLst>
              <a:ext uri="{FF2B5EF4-FFF2-40B4-BE49-F238E27FC236}">
                <a16:creationId xmlns:a16="http://schemas.microsoft.com/office/drawing/2014/main" id="{72CDC2B7-3E22-4DA3-B5F7-F1D012B49B72}"/>
              </a:ext>
            </a:extLst>
          </p:cNvPr>
          <p:cNvGrpSpPr/>
          <p:nvPr/>
        </p:nvGrpSpPr>
        <p:grpSpPr>
          <a:xfrm>
            <a:off x="36958" y="2909529"/>
            <a:ext cx="331510" cy="224533"/>
            <a:chOff x="6082249" y="5559189"/>
            <a:chExt cx="564210" cy="382141"/>
          </a:xfrm>
          <a:solidFill>
            <a:srgbClr val="B8D432"/>
          </a:solidFill>
        </p:grpSpPr>
        <p:sp>
          <p:nvSpPr>
            <p:cNvPr id="62" name="Isosceles Triangle 31">
              <a:extLst>
                <a:ext uri="{FF2B5EF4-FFF2-40B4-BE49-F238E27FC236}">
                  <a16:creationId xmlns:a16="http://schemas.microsoft.com/office/drawing/2014/main" id="{0B4F7C44-E0BC-4C01-8AEC-91D812E0B540}"/>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69F49C36-9DDA-4F3A-AA07-06E621201E26}"/>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92C025B7-7392-4905-BD4D-CD4751EA66C4}"/>
              </a:ext>
            </a:extLst>
          </p:cNvPr>
          <p:cNvGrpSpPr/>
          <p:nvPr/>
        </p:nvGrpSpPr>
        <p:grpSpPr>
          <a:xfrm>
            <a:off x="36958" y="4082577"/>
            <a:ext cx="331510" cy="224533"/>
            <a:chOff x="6082249" y="5559189"/>
            <a:chExt cx="564210" cy="382141"/>
          </a:xfrm>
          <a:solidFill>
            <a:schemeClr val="accent6"/>
          </a:solidFill>
        </p:grpSpPr>
        <p:sp>
          <p:nvSpPr>
            <p:cNvPr id="65" name="Isosceles Triangle 31">
              <a:extLst>
                <a:ext uri="{FF2B5EF4-FFF2-40B4-BE49-F238E27FC236}">
                  <a16:creationId xmlns:a16="http://schemas.microsoft.com/office/drawing/2014/main" id="{0F762D8E-9289-4737-8C4C-543C01B8EEB1}"/>
                </a:ext>
              </a:extLst>
            </p:cNvPr>
            <p:cNvSpPr/>
            <p:nvPr/>
          </p:nvSpPr>
          <p:spPr bwMode="auto">
            <a:xfrm rot="5400000">
              <a:off x="6359855" y="5654725"/>
              <a:ext cx="382140" cy="191069"/>
            </a:xfrm>
            <a:prstGeom prst="triangle">
              <a:avLst>
                <a:gd name="adj" fmla="val 49896"/>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A77123BA-2C6A-41CE-9E0B-E169EA7F06A1}"/>
                </a:ext>
              </a:extLst>
            </p:cNvPr>
            <p:cNvSpPr/>
            <p:nvPr/>
          </p:nvSpPr>
          <p:spPr bwMode="auto">
            <a:xfrm>
              <a:off x="6082249" y="5559189"/>
              <a:ext cx="373140" cy="382141"/>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E9C785D3-1183-4F82-B545-3EF3236FE937}"/>
              </a:ext>
            </a:extLst>
          </p:cNvPr>
          <p:cNvGrpSpPr/>
          <p:nvPr/>
        </p:nvGrpSpPr>
        <p:grpSpPr>
          <a:xfrm>
            <a:off x="47499" y="3481618"/>
            <a:ext cx="331510" cy="224533"/>
            <a:chOff x="6082249" y="5559189"/>
            <a:chExt cx="564210" cy="382141"/>
          </a:xfrm>
          <a:solidFill>
            <a:srgbClr val="BAD80A"/>
          </a:solidFill>
        </p:grpSpPr>
        <p:sp>
          <p:nvSpPr>
            <p:cNvPr id="68" name="Isosceles Triangle 31">
              <a:extLst>
                <a:ext uri="{FF2B5EF4-FFF2-40B4-BE49-F238E27FC236}">
                  <a16:creationId xmlns:a16="http://schemas.microsoft.com/office/drawing/2014/main" id="{F8D76492-99DB-4F58-9BBF-BB1851FD3838}"/>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095B2118-BF7D-4417-84C5-54A2C8C83086}"/>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7D3DF0F7-1E81-4CAB-BCE2-660CBDFD19CA}"/>
              </a:ext>
            </a:extLst>
          </p:cNvPr>
          <p:cNvGrpSpPr/>
          <p:nvPr/>
        </p:nvGrpSpPr>
        <p:grpSpPr>
          <a:xfrm>
            <a:off x="47456" y="2332886"/>
            <a:ext cx="331510" cy="224533"/>
            <a:chOff x="6082249" y="5559189"/>
            <a:chExt cx="564210" cy="382141"/>
          </a:xfrm>
          <a:solidFill>
            <a:srgbClr val="B8D432"/>
          </a:solidFill>
        </p:grpSpPr>
        <p:sp>
          <p:nvSpPr>
            <p:cNvPr id="71" name="Isosceles Triangle 31">
              <a:extLst>
                <a:ext uri="{FF2B5EF4-FFF2-40B4-BE49-F238E27FC236}">
                  <a16:creationId xmlns:a16="http://schemas.microsoft.com/office/drawing/2014/main" id="{ECDF6137-34A0-492B-980F-724C17A4B8B4}"/>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2B9C6DEB-1808-47E7-8488-47AEDB288F18}"/>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73" name="Group 72">
            <a:extLst>
              <a:ext uri="{FF2B5EF4-FFF2-40B4-BE49-F238E27FC236}">
                <a16:creationId xmlns:a16="http://schemas.microsoft.com/office/drawing/2014/main" id="{92B3DE4F-1CF5-4829-9C73-2B7E546CDC74}"/>
              </a:ext>
            </a:extLst>
          </p:cNvPr>
          <p:cNvGrpSpPr/>
          <p:nvPr/>
        </p:nvGrpSpPr>
        <p:grpSpPr>
          <a:xfrm>
            <a:off x="5536854" y="3319721"/>
            <a:ext cx="738533" cy="526783"/>
            <a:chOff x="4366437" y="4600790"/>
            <a:chExt cx="1552587" cy="958801"/>
          </a:xfrm>
        </p:grpSpPr>
        <p:sp>
          <p:nvSpPr>
            <p:cNvPr id="74" name="Freeform 586">
              <a:extLst>
                <a:ext uri="{FF2B5EF4-FFF2-40B4-BE49-F238E27FC236}">
                  <a16:creationId xmlns:a16="http://schemas.microsoft.com/office/drawing/2014/main" id="{0E0EC6BD-B8F5-4B99-9E1B-1B5909A65EB0}"/>
                </a:ext>
              </a:extLst>
            </p:cNvPr>
            <p:cNvSpPr>
              <a:spLocks/>
            </p:cNvSpPr>
            <p:nvPr/>
          </p:nvSpPr>
          <p:spPr bwMode="auto">
            <a:xfrm>
              <a:off x="4745415" y="4785912"/>
              <a:ext cx="268951" cy="214813"/>
            </a:xfrm>
            <a:custGeom>
              <a:avLst/>
              <a:gdLst>
                <a:gd name="T0" fmla="*/ 2 w 65"/>
                <a:gd name="T1" fmla="*/ 44 h 52"/>
                <a:gd name="T2" fmla="*/ 3 w 65"/>
                <a:gd name="T3" fmla="*/ 12 h 52"/>
                <a:gd name="T4" fmla="*/ 65 w 65"/>
                <a:gd name="T5" fmla="*/ 18 h 52"/>
                <a:gd name="T6" fmla="*/ 59 w 65"/>
                <a:gd name="T7" fmla="*/ 52 h 52"/>
                <a:gd name="T8" fmla="*/ 2 w 65"/>
                <a:gd name="T9" fmla="*/ 44 h 52"/>
              </a:gdLst>
              <a:ahLst/>
              <a:cxnLst>
                <a:cxn ang="0">
                  <a:pos x="T0" y="T1"/>
                </a:cxn>
                <a:cxn ang="0">
                  <a:pos x="T2" y="T3"/>
                </a:cxn>
                <a:cxn ang="0">
                  <a:pos x="T4" y="T5"/>
                </a:cxn>
                <a:cxn ang="0">
                  <a:pos x="T6" y="T7"/>
                </a:cxn>
                <a:cxn ang="0">
                  <a:pos x="T8" y="T9"/>
                </a:cxn>
              </a:cxnLst>
              <a:rect l="0" t="0" r="r" b="b"/>
              <a:pathLst>
                <a:path w="65" h="52">
                  <a:moveTo>
                    <a:pt x="2" y="44"/>
                  </a:moveTo>
                  <a:cubicBezTo>
                    <a:pt x="3" y="12"/>
                    <a:pt x="3" y="12"/>
                    <a:pt x="3" y="12"/>
                  </a:cubicBezTo>
                  <a:cubicBezTo>
                    <a:pt x="3" y="12"/>
                    <a:pt x="31" y="0"/>
                    <a:pt x="65" y="18"/>
                  </a:cubicBezTo>
                  <a:cubicBezTo>
                    <a:pt x="59" y="52"/>
                    <a:pt x="59" y="52"/>
                    <a:pt x="59" y="52"/>
                  </a:cubicBezTo>
                  <a:cubicBezTo>
                    <a:pt x="59" y="52"/>
                    <a:pt x="0" y="44"/>
                    <a:pt x="2" y="44"/>
                  </a:cubicBez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5" name="Freeform 587">
              <a:extLst>
                <a:ext uri="{FF2B5EF4-FFF2-40B4-BE49-F238E27FC236}">
                  <a16:creationId xmlns:a16="http://schemas.microsoft.com/office/drawing/2014/main" id="{3CFED8E5-9F73-46DF-99B5-A9814FAD70D3}"/>
                </a:ext>
              </a:extLst>
            </p:cNvPr>
            <p:cNvSpPr>
              <a:spLocks/>
            </p:cNvSpPr>
            <p:nvPr/>
          </p:nvSpPr>
          <p:spPr bwMode="auto">
            <a:xfrm>
              <a:off x="4750655" y="4810363"/>
              <a:ext cx="148449" cy="174644"/>
            </a:xfrm>
            <a:custGeom>
              <a:avLst/>
              <a:gdLst>
                <a:gd name="T0" fmla="*/ 30 w 36"/>
                <a:gd name="T1" fmla="*/ 42 h 42"/>
                <a:gd name="T2" fmla="*/ 1 w 36"/>
                <a:gd name="T3" fmla="*/ 38 h 42"/>
                <a:gd name="T4" fmla="*/ 2 w 36"/>
                <a:gd name="T5" fmla="*/ 6 h 42"/>
                <a:gd name="T6" fmla="*/ 36 w 36"/>
                <a:gd name="T7" fmla="*/ 3 h 42"/>
              </a:gdLst>
              <a:ahLst/>
              <a:cxnLst>
                <a:cxn ang="0">
                  <a:pos x="T0" y="T1"/>
                </a:cxn>
                <a:cxn ang="0">
                  <a:pos x="T2" y="T3"/>
                </a:cxn>
                <a:cxn ang="0">
                  <a:pos x="T4" y="T5"/>
                </a:cxn>
                <a:cxn ang="0">
                  <a:pos x="T6" y="T7"/>
                </a:cxn>
              </a:cxnLst>
              <a:rect l="0" t="0" r="r" b="b"/>
              <a:pathLst>
                <a:path w="36" h="42">
                  <a:moveTo>
                    <a:pt x="30" y="42"/>
                  </a:moveTo>
                  <a:cubicBezTo>
                    <a:pt x="15" y="40"/>
                    <a:pt x="0" y="38"/>
                    <a:pt x="1" y="38"/>
                  </a:cubicBezTo>
                  <a:cubicBezTo>
                    <a:pt x="2" y="6"/>
                    <a:pt x="2" y="6"/>
                    <a:pt x="2" y="6"/>
                  </a:cubicBezTo>
                  <a:cubicBezTo>
                    <a:pt x="2" y="6"/>
                    <a:pt x="16" y="0"/>
                    <a:pt x="36" y="3"/>
                  </a:cubicBezTo>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 name="Freeform 588">
              <a:extLst>
                <a:ext uri="{FF2B5EF4-FFF2-40B4-BE49-F238E27FC236}">
                  <a16:creationId xmlns:a16="http://schemas.microsoft.com/office/drawing/2014/main" id="{51DB4561-9177-4478-A56E-190AADBD8C91}"/>
                </a:ext>
              </a:extLst>
            </p:cNvPr>
            <p:cNvSpPr>
              <a:spLocks/>
            </p:cNvSpPr>
            <p:nvPr/>
          </p:nvSpPr>
          <p:spPr bwMode="auto">
            <a:xfrm>
              <a:off x="5405571" y="4604284"/>
              <a:ext cx="244503" cy="165912"/>
            </a:xfrm>
            <a:custGeom>
              <a:avLst/>
              <a:gdLst>
                <a:gd name="T0" fmla="*/ 1 w 59"/>
                <a:gd name="T1" fmla="*/ 33 h 40"/>
                <a:gd name="T2" fmla="*/ 3 w 59"/>
                <a:gd name="T3" fmla="*/ 8 h 40"/>
                <a:gd name="T4" fmla="*/ 59 w 59"/>
                <a:gd name="T5" fmla="*/ 17 h 40"/>
                <a:gd name="T6" fmla="*/ 55 w 59"/>
                <a:gd name="T7" fmla="*/ 40 h 40"/>
                <a:gd name="T8" fmla="*/ 1 w 59"/>
                <a:gd name="T9" fmla="*/ 33 h 40"/>
              </a:gdLst>
              <a:ahLst/>
              <a:cxnLst>
                <a:cxn ang="0">
                  <a:pos x="T0" y="T1"/>
                </a:cxn>
                <a:cxn ang="0">
                  <a:pos x="T2" y="T3"/>
                </a:cxn>
                <a:cxn ang="0">
                  <a:pos x="T4" y="T5"/>
                </a:cxn>
                <a:cxn ang="0">
                  <a:pos x="T6" y="T7"/>
                </a:cxn>
                <a:cxn ang="0">
                  <a:pos x="T8" y="T9"/>
                </a:cxn>
              </a:cxnLst>
              <a:rect l="0" t="0" r="r" b="b"/>
              <a:pathLst>
                <a:path w="59" h="40">
                  <a:moveTo>
                    <a:pt x="1" y="33"/>
                  </a:moveTo>
                  <a:cubicBezTo>
                    <a:pt x="3" y="8"/>
                    <a:pt x="3" y="8"/>
                    <a:pt x="3" y="8"/>
                  </a:cubicBezTo>
                  <a:cubicBezTo>
                    <a:pt x="3" y="8"/>
                    <a:pt x="34" y="0"/>
                    <a:pt x="59" y="17"/>
                  </a:cubicBezTo>
                  <a:cubicBezTo>
                    <a:pt x="55" y="40"/>
                    <a:pt x="55" y="40"/>
                    <a:pt x="55" y="40"/>
                  </a:cubicBezTo>
                  <a:cubicBezTo>
                    <a:pt x="55" y="40"/>
                    <a:pt x="0" y="33"/>
                    <a:pt x="1" y="33"/>
                  </a:cubicBez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 name="Freeform 589">
              <a:extLst>
                <a:ext uri="{FF2B5EF4-FFF2-40B4-BE49-F238E27FC236}">
                  <a16:creationId xmlns:a16="http://schemas.microsoft.com/office/drawing/2014/main" id="{0506236B-A453-421A-B6A6-22A16095404E}"/>
                </a:ext>
              </a:extLst>
            </p:cNvPr>
            <p:cNvSpPr>
              <a:spLocks/>
            </p:cNvSpPr>
            <p:nvPr/>
          </p:nvSpPr>
          <p:spPr bwMode="auto">
            <a:xfrm>
              <a:off x="5646581" y="4724788"/>
              <a:ext cx="221799" cy="181630"/>
            </a:xfrm>
            <a:custGeom>
              <a:avLst/>
              <a:gdLst>
                <a:gd name="T0" fmla="*/ 5 w 54"/>
                <a:gd name="T1" fmla="*/ 38 h 44"/>
                <a:gd name="T2" fmla="*/ 7 w 54"/>
                <a:gd name="T3" fmla="*/ 10 h 44"/>
                <a:gd name="T4" fmla="*/ 54 w 54"/>
                <a:gd name="T5" fmla="*/ 21 h 44"/>
                <a:gd name="T6" fmla="*/ 49 w 54"/>
                <a:gd name="T7" fmla="*/ 44 h 44"/>
                <a:gd name="T8" fmla="*/ 5 w 54"/>
                <a:gd name="T9" fmla="*/ 38 h 44"/>
              </a:gdLst>
              <a:ahLst/>
              <a:cxnLst>
                <a:cxn ang="0">
                  <a:pos x="T0" y="T1"/>
                </a:cxn>
                <a:cxn ang="0">
                  <a:pos x="T2" y="T3"/>
                </a:cxn>
                <a:cxn ang="0">
                  <a:pos x="T4" y="T5"/>
                </a:cxn>
                <a:cxn ang="0">
                  <a:pos x="T6" y="T7"/>
                </a:cxn>
                <a:cxn ang="0">
                  <a:pos x="T8" y="T9"/>
                </a:cxn>
              </a:cxnLst>
              <a:rect l="0" t="0" r="r" b="b"/>
              <a:pathLst>
                <a:path w="54" h="44">
                  <a:moveTo>
                    <a:pt x="5" y="38"/>
                  </a:moveTo>
                  <a:cubicBezTo>
                    <a:pt x="7" y="10"/>
                    <a:pt x="7" y="10"/>
                    <a:pt x="7" y="10"/>
                  </a:cubicBezTo>
                  <a:cubicBezTo>
                    <a:pt x="7" y="10"/>
                    <a:pt x="34" y="0"/>
                    <a:pt x="54" y="21"/>
                  </a:cubicBezTo>
                  <a:cubicBezTo>
                    <a:pt x="49" y="44"/>
                    <a:pt x="49" y="44"/>
                    <a:pt x="49" y="44"/>
                  </a:cubicBezTo>
                  <a:cubicBezTo>
                    <a:pt x="49" y="44"/>
                    <a:pt x="0" y="37"/>
                    <a:pt x="5" y="38"/>
                  </a:cubicBez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 name="Freeform 590">
              <a:extLst>
                <a:ext uri="{FF2B5EF4-FFF2-40B4-BE49-F238E27FC236}">
                  <a16:creationId xmlns:a16="http://schemas.microsoft.com/office/drawing/2014/main" id="{D4EDB915-B86F-4D2F-A065-DD4E75B7306E}"/>
                </a:ext>
              </a:extLst>
            </p:cNvPr>
            <p:cNvSpPr>
              <a:spLocks/>
            </p:cNvSpPr>
            <p:nvPr/>
          </p:nvSpPr>
          <p:spPr bwMode="auto">
            <a:xfrm>
              <a:off x="5147097" y="4600790"/>
              <a:ext cx="213065" cy="151941"/>
            </a:xfrm>
            <a:custGeom>
              <a:avLst/>
              <a:gdLst>
                <a:gd name="T0" fmla="*/ 1 w 52"/>
                <a:gd name="T1" fmla="*/ 37 h 37"/>
                <a:gd name="T2" fmla="*/ 2 w 52"/>
                <a:gd name="T3" fmla="*/ 10 h 37"/>
                <a:gd name="T4" fmla="*/ 52 w 52"/>
                <a:gd name="T5" fmla="*/ 14 h 37"/>
                <a:gd name="T6" fmla="*/ 50 w 52"/>
                <a:gd name="T7" fmla="*/ 37 h 37"/>
                <a:gd name="T8" fmla="*/ 1 w 52"/>
                <a:gd name="T9" fmla="*/ 37 h 37"/>
              </a:gdLst>
              <a:ahLst/>
              <a:cxnLst>
                <a:cxn ang="0">
                  <a:pos x="T0" y="T1"/>
                </a:cxn>
                <a:cxn ang="0">
                  <a:pos x="T2" y="T3"/>
                </a:cxn>
                <a:cxn ang="0">
                  <a:pos x="T4" y="T5"/>
                </a:cxn>
                <a:cxn ang="0">
                  <a:pos x="T6" y="T7"/>
                </a:cxn>
                <a:cxn ang="0">
                  <a:pos x="T8" y="T9"/>
                </a:cxn>
              </a:cxnLst>
              <a:rect l="0" t="0" r="r" b="b"/>
              <a:pathLst>
                <a:path w="52" h="37">
                  <a:moveTo>
                    <a:pt x="1" y="37"/>
                  </a:moveTo>
                  <a:cubicBezTo>
                    <a:pt x="2" y="10"/>
                    <a:pt x="2" y="10"/>
                    <a:pt x="2" y="10"/>
                  </a:cubicBezTo>
                  <a:cubicBezTo>
                    <a:pt x="2" y="10"/>
                    <a:pt x="25" y="0"/>
                    <a:pt x="52" y="14"/>
                  </a:cubicBezTo>
                  <a:cubicBezTo>
                    <a:pt x="50" y="37"/>
                    <a:pt x="50" y="37"/>
                    <a:pt x="50" y="37"/>
                  </a:cubicBezTo>
                  <a:cubicBezTo>
                    <a:pt x="50" y="37"/>
                    <a:pt x="0" y="37"/>
                    <a:pt x="1" y="37"/>
                  </a:cubicBez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 name="Freeform 591">
              <a:extLst>
                <a:ext uri="{FF2B5EF4-FFF2-40B4-BE49-F238E27FC236}">
                  <a16:creationId xmlns:a16="http://schemas.microsoft.com/office/drawing/2014/main" id="{27F6AFDD-CFB4-47D5-ABE6-BE2EBBCDF6F4}"/>
                </a:ext>
              </a:extLst>
            </p:cNvPr>
            <p:cNvSpPr>
              <a:spLocks/>
            </p:cNvSpPr>
            <p:nvPr/>
          </p:nvSpPr>
          <p:spPr bwMode="auto">
            <a:xfrm>
              <a:off x="5047550" y="4654932"/>
              <a:ext cx="424386" cy="415654"/>
            </a:xfrm>
            <a:custGeom>
              <a:avLst/>
              <a:gdLst>
                <a:gd name="T0" fmla="*/ 0 w 243"/>
                <a:gd name="T1" fmla="*/ 168 h 238"/>
                <a:gd name="T2" fmla="*/ 12 w 243"/>
                <a:gd name="T3" fmla="*/ 21 h 238"/>
                <a:gd name="T4" fmla="*/ 243 w 243"/>
                <a:gd name="T5" fmla="*/ 0 h 238"/>
                <a:gd name="T6" fmla="*/ 224 w 243"/>
                <a:gd name="T7" fmla="*/ 238 h 238"/>
                <a:gd name="T8" fmla="*/ 0 w 243"/>
                <a:gd name="T9" fmla="*/ 168 h 238"/>
              </a:gdLst>
              <a:ahLst/>
              <a:cxnLst>
                <a:cxn ang="0">
                  <a:pos x="T0" y="T1"/>
                </a:cxn>
                <a:cxn ang="0">
                  <a:pos x="T2" y="T3"/>
                </a:cxn>
                <a:cxn ang="0">
                  <a:pos x="T4" y="T5"/>
                </a:cxn>
                <a:cxn ang="0">
                  <a:pos x="T6" y="T7"/>
                </a:cxn>
                <a:cxn ang="0">
                  <a:pos x="T8" y="T9"/>
                </a:cxn>
              </a:cxnLst>
              <a:rect l="0" t="0" r="r" b="b"/>
              <a:pathLst>
                <a:path w="243" h="238">
                  <a:moveTo>
                    <a:pt x="0" y="168"/>
                  </a:moveTo>
                  <a:lnTo>
                    <a:pt x="12" y="21"/>
                  </a:lnTo>
                  <a:lnTo>
                    <a:pt x="243" y="0"/>
                  </a:lnTo>
                  <a:lnTo>
                    <a:pt x="224" y="238"/>
                  </a:lnTo>
                  <a:lnTo>
                    <a:pt x="0" y="168"/>
                  </a:lnTo>
                  <a:close/>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 name="Freeform 592">
              <a:extLst>
                <a:ext uri="{FF2B5EF4-FFF2-40B4-BE49-F238E27FC236}">
                  <a16:creationId xmlns:a16="http://schemas.microsoft.com/office/drawing/2014/main" id="{5C6BCAC6-9C6D-4035-A68C-E362F7823830}"/>
                </a:ext>
              </a:extLst>
            </p:cNvPr>
            <p:cNvSpPr>
              <a:spLocks/>
            </p:cNvSpPr>
            <p:nvPr/>
          </p:nvSpPr>
          <p:spPr bwMode="auto">
            <a:xfrm>
              <a:off x="4457252" y="4827828"/>
              <a:ext cx="242756" cy="178138"/>
            </a:xfrm>
            <a:custGeom>
              <a:avLst/>
              <a:gdLst>
                <a:gd name="T0" fmla="*/ 1 w 59"/>
                <a:gd name="T1" fmla="*/ 43 h 43"/>
                <a:gd name="T2" fmla="*/ 2 w 59"/>
                <a:gd name="T3" fmla="*/ 12 h 43"/>
                <a:gd name="T4" fmla="*/ 59 w 59"/>
                <a:gd name="T5" fmla="*/ 15 h 43"/>
                <a:gd name="T6" fmla="*/ 58 w 59"/>
                <a:gd name="T7" fmla="*/ 43 h 43"/>
                <a:gd name="T8" fmla="*/ 1 w 59"/>
                <a:gd name="T9" fmla="*/ 43 h 43"/>
              </a:gdLst>
              <a:ahLst/>
              <a:cxnLst>
                <a:cxn ang="0">
                  <a:pos x="T0" y="T1"/>
                </a:cxn>
                <a:cxn ang="0">
                  <a:pos x="T2" y="T3"/>
                </a:cxn>
                <a:cxn ang="0">
                  <a:pos x="T4" y="T5"/>
                </a:cxn>
                <a:cxn ang="0">
                  <a:pos x="T6" y="T7"/>
                </a:cxn>
                <a:cxn ang="0">
                  <a:pos x="T8" y="T9"/>
                </a:cxn>
              </a:cxnLst>
              <a:rect l="0" t="0" r="r" b="b"/>
              <a:pathLst>
                <a:path w="59" h="43">
                  <a:moveTo>
                    <a:pt x="1" y="43"/>
                  </a:moveTo>
                  <a:cubicBezTo>
                    <a:pt x="2" y="12"/>
                    <a:pt x="2" y="12"/>
                    <a:pt x="2" y="12"/>
                  </a:cubicBezTo>
                  <a:cubicBezTo>
                    <a:pt x="2" y="12"/>
                    <a:pt x="28" y="0"/>
                    <a:pt x="59" y="15"/>
                  </a:cubicBezTo>
                  <a:cubicBezTo>
                    <a:pt x="58" y="43"/>
                    <a:pt x="58" y="43"/>
                    <a:pt x="58" y="43"/>
                  </a:cubicBezTo>
                  <a:cubicBezTo>
                    <a:pt x="58" y="43"/>
                    <a:pt x="0" y="43"/>
                    <a:pt x="1" y="43"/>
                  </a:cubicBez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 name="Freeform 593">
              <a:extLst>
                <a:ext uri="{FF2B5EF4-FFF2-40B4-BE49-F238E27FC236}">
                  <a16:creationId xmlns:a16="http://schemas.microsoft.com/office/drawing/2014/main" id="{3B315265-F471-4352-A420-8EEA560694D5}"/>
                </a:ext>
              </a:extLst>
            </p:cNvPr>
            <p:cNvSpPr>
              <a:spLocks/>
            </p:cNvSpPr>
            <p:nvPr/>
          </p:nvSpPr>
          <p:spPr bwMode="auto">
            <a:xfrm>
              <a:off x="5080733" y="4881970"/>
              <a:ext cx="218305" cy="176392"/>
            </a:xfrm>
            <a:custGeom>
              <a:avLst/>
              <a:gdLst>
                <a:gd name="T0" fmla="*/ 1 w 53"/>
                <a:gd name="T1" fmla="*/ 34 h 43"/>
                <a:gd name="T2" fmla="*/ 3 w 53"/>
                <a:gd name="T3" fmla="*/ 10 h 43"/>
                <a:gd name="T4" fmla="*/ 53 w 53"/>
                <a:gd name="T5" fmla="*/ 17 h 43"/>
                <a:gd name="T6" fmla="*/ 48 w 53"/>
                <a:gd name="T7" fmla="*/ 43 h 43"/>
                <a:gd name="T8" fmla="*/ 1 w 53"/>
                <a:gd name="T9" fmla="*/ 34 h 43"/>
              </a:gdLst>
              <a:ahLst/>
              <a:cxnLst>
                <a:cxn ang="0">
                  <a:pos x="T0" y="T1"/>
                </a:cxn>
                <a:cxn ang="0">
                  <a:pos x="T2" y="T3"/>
                </a:cxn>
                <a:cxn ang="0">
                  <a:pos x="T4" y="T5"/>
                </a:cxn>
                <a:cxn ang="0">
                  <a:pos x="T6" y="T7"/>
                </a:cxn>
                <a:cxn ang="0">
                  <a:pos x="T8" y="T9"/>
                </a:cxn>
              </a:cxnLst>
              <a:rect l="0" t="0" r="r" b="b"/>
              <a:pathLst>
                <a:path w="53" h="43">
                  <a:moveTo>
                    <a:pt x="1" y="34"/>
                  </a:moveTo>
                  <a:cubicBezTo>
                    <a:pt x="3" y="10"/>
                    <a:pt x="3" y="10"/>
                    <a:pt x="3" y="10"/>
                  </a:cubicBezTo>
                  <a:cubicBezTo>
                    <a:pt x="3" y="10"/>
                    <a:pt x="31" y="0"/>
                    <a:pt x="53" y="17"/>
                  </a:cubicBezTo>
                  <a:cubicBezTo>
                    <a:pt x="48" y="43"/>
                    <a:pt x="48" y="43"/>
                    <a:pt x="48" y="43"/>
                  </a:cubicBezTo>
                  <a:cubicBezTo>
                    <a:pt x="48" y="43"/>
                    <a:pt x="0" y="34"/>
                    <a:pt x="1" y="34"/>
                  </a:cubicBez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Freeform 594">
              <a:extLst>
                <a:ext uri="{FF2B5EF4-FFF2-40B4-BE49-F238E27FC236}">
                  <a16:creationId xmlns:a16="http://schemas.microsoft.com/office/drawing/2014/main" id="{EBBD9D81-4B39-4EA6-ADCC-3BE7F8462D02}"/>
                </a:ext>
              </a:extLst>
            </p:cNvPr>
            <p:cNvSpPr>
              <a:spLocks/>
            </p:cNvSpPr>
            <p:nvPr/>
          </p:nvSpPr>
          <p:spPr bwMode="auto">
            <a:xfrm>
              <a:off x="4366437" y="4881970"/>
              <a:ext cx="482020" cy="626973"/>
            </a:xfrm>
            <a:custGeom>
              <a:avLst/>
              <a:gdLst>
                <a:gd name="T0" fmla="*/ 0 w 276"/>
                <a:gd name="T1" fmla="*/ 302 h 359"/>
                <a:gd name="T2" fmla="*/ 2 w 276"/>
                <a:gd name="T3" fmla="*/ 49 h 359"/>
                <a:gd name="T4" fmla="*/ 276 w 276"/>
                <a:gd name="T5" fmla="*/ 0 h 359"/>
                <a:gd name="T6" fmla="*/ 236 w 276"/>
                <a:gd name="T7" fmla="*/ 359 h 359"/>
                <a:gd name="T8" fmla="*/ 0 w 276"/>
                <a:gd name="T9" fmla="*/ 302 h 359"/>
              </a:gdLst>
              <a:ahLst/>
              <a:cxnLst>
                <a:cxn ang="0">
                  <a:pos x="T0" y="T1"/>
                </a:cxn>
                <a:cxn ang="0">
                  <a:pos x="T2" y="T3"/>
                </a:cxn>
                <a:cxn ang="0">
                  <a:pos x="T4" y="T5"/>
                </a:cxn>
                <a:cxn ang="0">
                  <a:pos x="T6" y="T7"/>
                </a:cxn>
                <a:cxn ang="0">
                  <a:pos x="T8" y="T9"/>
                </a:cxn>
              </a:cxnLst>
              <a:rect l="0" t="0" r="r" b="b"/>
              <a:pathLst>
                <a:path w="276" h="359">
                  <a:moveTo>
                    <a:pt x="0" y="302"/>
                  </a:moveTo>
                  <a:lnTo>
                    <a:pt x="2" y="49"/>
                  </a:lnTo>
                  <a:lnTo>
                    <a:pt x="276" y="0"/>
                  </a:lnTo>
                  <a:lnTo>
                    <a:pt x="236" y="359"/>
                  </a:lnTo>
                  <a:lnTo>
                    <a:pt x="0" y="302"/>
                  </a:lnTo>
                  <a:close/>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Freeform 595">
              <a:extLst>
                <a:ext uri="{FF2B5EF4-FFF2-40B4-BE49-F238E27FC236}">
                  <a16:creationId xmlns:a16="http://schemas.microsoft.com/office/drawing/2014/main" id="{20A9232E-68EA-4E16-A021-8E03CC6DFF8C}"/>
                </a:ext>
              </a:extLst>
            </p:cNvPr>
            <p:cNvSpPr>
              <a:spLocks/>
            </p:cNvSpPr>
            <p:nvPr/>
          </p:nvSpPr>
          <p:spPr bwMode="auto">
            <a:xfrm>
              <a:off x="4460744" y="4852279"/>
              <a:ext cx="127490" cy="153687"/>
            </a:xfrm>
            <a:custGeom>
              <a:avLst/>
              <a:gdLst>
                <a:gd name="T0" fmla="*/ 29 w 31"/>
                <a:gd name="T1" fmla="*/ 37 h 37"/>
                <a:gd name="T2" fmla="*/ 0 w 31"/>
                <a:gd name="T3" fmla="*/ 37 h 37"/>
                <a:gd name="T4" fmla="*/ 1 w 31"/>
                <a:gd name="T5" fmla="*/ 6 h 37"/>
                <a:gd name="T6" fmla="*/ 31 w 31"/>
                <a:gd name="T7" fmla="*/ 2 h 37"/>
              </a:gdLst>
              <a:ahLst/>
              <a:cxnLst>
                <a:cxn ang="0">
                  <a:pos x="T0" y="T1"/>
                </a:cxn>
                <a:cxn ang="0">
                  <a:pos x="T2" y="T3"/>
                </a:cxn>
                <a:cxn ang="0">
                  <a:pos x="T4" y="T5"/>
                </a:cxn>
                <a:cxn ang="0">
                  <a:pos x="T6" y="T7"/>
                </a:cxn>
              </a:cxnLst>
              <a:rect l="0" t="0" r="r" b="b"/>
              <a:pathLst>
                <a:path w="31" h="37">
                  <a:moveTo>
                    <a:pt x="29" y="37"/>
                  </a:moveTo>
                  <a:cubicBezTo>
                    <a:pt x="14" y="37"/>
                    <a:pt x="0" y="37"/>
                    <a:pt x="0" y="37"/>
                  </a:cubicBezTo>
                  <a:cubicBezTo>
                    <a:pt x="1" y="6"/>
                    <a:pt x="1" y="6"/>
                    <a:pt x="1" y="6"/>
                  </a:cubicBezTo>
                  <a:cubicBezTo>
                    <a:pt x="1" y="6"/>
                    <a:pt x="13" y="0"/>
                    <a:pt x="31" y="2"/>
                  </a:cubicBezTo>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Freeform 600">
              <a:extLst>
                <a:ext uri="{FF2B5EF4-FFF2-40B4-BE49-F238E27FC236}">
                  <a16:creationId xmlns:a16="http://schemas.microsoft.com/office/drawing/2014/main" id="{2F6C936E-EA1E-483B-A3E0-B4904BC8C39C}"/>
                </a:ext>
              </a:extLst>
            </p:cNvPr>
            <p:cNvSpPr>
              <a:spLocks/>
            </p:cNvSpPr>
            <p:nvPr/>
          </p:nvSpPr>
          <p:spPr bwMode="auto">
            <a:xfrm>
              <a:off x="5056282" y="4918643"/>
              <a:ext cx="106534" cy="136222"/>
            </a:xfrm>
            <a:custGeom>
              <a:avLst/>
              <a:gdLst>
                <a:gd name="T0" fmla="*/ 22 w 26"/>
                <a:gd name="T1" fmla="*/ 33 h 33"/>
                <a:gd name="T2" fmla="*/ 1 w 26"/>
                <a:gd name="T3" fmla="*/ 29 h 33"/>
                <a:gd name="T4" fmla="*/ 3 w 26"/>
                <a:gd name="T5" fmla="*/ 2 h 33"/>
                <a:gd name="T6" fmla="*/ 26 w 26"/>
                <a:gd name="T7" fmla="*/ 2 h 33"/>
              </a:gdLst>
              <a:ahLst/>
              <a:cxnLst>
                <a:cxn ang="0">
                  <a:pos x="T0" y="T1"/>
                </a:cxn>
                <a:cxn ang="0">
                  <a:pos x="T2" y="T3"/>
                </a:cxn>
                <a:cxn ang="0">
                  <a:pos x="T4" y="T5"/>
                </a:cxn>
                <a:cxn ang="0">
                  <a:pos x="T6" y="T7"/>
                </a:cxn>
              </a:cxnLst>
              <a:rect l="0" t="0" r="r" b="b"/>
              <a:pathLst>
                <a:path w="26" h="33">
                  <a:moveTo>
                    <a:pt x="22" y="33"/>
                  </a:moveTo>
                  <a:cubicBezTo>
                    <a:pt x="10" y="31"/>
                    <a:pt x="0" y="29"/>
                    <a:pt x="1" y="29"/>
                  </a:cubicBezTo>
                  <a:cubicBezTo>
                    <a:pt x="3" y="2"/>
                    <a:pt x="3" y="2"/>
                    <a:pt x="3" y="2"/>
                  </a:cubicBezTo>
                  <a:cubicBezTo>
                    <a:pt x="3" y="2"/>
                    <a:pt x="17" y="0"/>
                    <a:pt x="26" y="2"/>
                  </a:cubicBezTo>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Freeform 601">
              <a:extLst>
                <a:ext uri="{FF2B5EF4-FFF2-40B4-BE49-F238E27FC236}">
                  <a16:creationId xmlns:a16="http://schemas.microsoft.com/office/drawing/2014/main" id="{710DC3E7-DEE6-45AD-8209-9DAF52C5BFF5}"/>
                </a:ext>
              </a:extLst>
            </p:cNvPr>
            <p:cNvSpPr>
              <a:spLocks/>
            </p:cNvSpPr>
            <p:nvPr/>
          </p:nvSpPr>
          <p:spPr bwMode="auto">
            <a:xfrm>
              <a:off x="4769866" y="4881970"/>
              <a:ext cx="1086289" cy="677621"/>
            </a:xfrm>
            <a:custGeom>
              <a:avLst/>
              <a:gdLst>
                <a:gd name="T0" fmla="*/ 45 w 622"/>
                <a:gd name="T1" fmla="*/ 0 h 388"/>
                <a:gd name="T2" fmla="*/ 622 w 622"/>
                <a:gd name="T3" fmla="*/ 184 h 388"/>
                <a:gd name="T4" fmla="*/ 589 w 622"/>
                <a:gd name="T5" fmla="*/ 388 h 388"/>
                <a:gd name="T6" fmla="*/ 0 w 622"/>
                <a:gd name="T7" fmla="*/ 359 h 388"/>
                <a:gd name="T8" fmla="*/ 45 w 622"/>
                <a:gd name="T9" fmla="*/ 0 h 388"/>
              </a:gdLst>
              <a:ahLst/>
              <a:cxnLst>
                <a:cxn ang="0">
                  <a:pos x="T0" y="T1"/>
                </a:cxn>
                <a:cxn ang="0">
                  <a:pos x="T2" y="T3"/>
                </a:cxn>
                <a:cxn ang="0">
                  <a:pos x="T4" y="T5"/>
                </a:cxn>
                <a:cxn ang="0">
                  <a:pos x="T6" y="T7"/>
                </a:cxn>
                <a:cxn ang="0">
                  <a:pos x="T8" y="T9"/>
                </a:cxn>
              </a:cxnLst>
              <a:rect l="0" t="0" r="r" b="b"/>
              <a:pathLst>
                <a:path w="622" h="388">
                  <a:moveTo>
                    <a:pt x="45" y="0"/>
                  </a:moveTo>
                  <a:lnTo>
                    <a:pt x="622" y="184"/>
                  </a:lnTo>
                  <a:lnTo>
                    <a:pt x="589" y="388"/>
                  </a:lnTo>
                  <a:lnTo>
                    <a:pt x="0" y="359"/>
                  </a:lnTo>
                  <a:lnTo>
                    <a:pt x="45" y="0"/>
                  </a:ln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602">
              <a:extLst>
                <a:ext uri="{FF2B5EF4-FFF2-40B4-BE49-F238E27FC236}">
                  <a16:creationId xmlns:a16="http://schemas.microsoft.com/office/drawing/2014/main" id="{9DC0B862-3C43-47CD-B9B0-7FDC8F12BCC7}"/>
                </a:ext>
              </a:extLst>
            </p:cNvPr>
            <p:cNvSpPr>
              <a:spLocks/>
            </p:cNvSpPr>
            <p:nvPr/>
          </p:nvSpPr>
          <p:spPr bwMode="auto">
            <a:xfrm>
              <a:off x="5150589" y="4625241"/>
              <a:ext cx="103040" cy="127490"/>
            </a:xfrm>
            <a:custGeom>
              <a:avLst/>
              <a:gdLst>
                <a:gd name="T0" fmla="*/ 23 w 25"/>
                <a:gd name="T1" fmla="*/ 31 h 31"/>
                <a:gd name="T2" fmla="*/ 0 w 25"/>
                <a:gd name="T3" fmla="*/ 31 h 31"/>
                <a:gd name="T4" fmla="*/ 1 w 25"/>
                <a:gd name="T5" fmla="*/ 4 h 31"/>
                <a:gd name="T6" fmla="*/ 25 w 25"/>
                <a:gd name="T7" fmla="*/ 1 h 31"/>
              </a:gdLst>
              <a:ahLst/>
              <a:cxnLst>
                <a:cxn ang="0">
                  <a:pos x="T0" y="T1"/>
                </a:cxn>
                <a:cxn ang="0">
                  <a:pos x="T2" y="T3"/>
                </a:cxn>
                <a:cxn ang="0">
                  <a:pos x="T4" y="T5"/>
                </a:cxn>
                <a:cxn ang="0">
                  <a:pos x="T6" y="T7"/>
                </a:cxn>
              </a:cxnLst>
              <a:rect l="0" t="0" r="r" b="b"/>
              <a:pathLst>
                <a:path w="25" h="31">
                  <a:moveTo>
                    <a:pt x="23" y="31"/>
                  </a:moveTo>
                  <a:cubicBezTo>
                    <a:pt x="11" y="31"/>
                    <a:pt x="0" y="31"/>
                    <a:pt x="0" y="31"/>
                  </a:cubicBezTo>
                  <a:cubicBezTo>
                    <a:pt x="1" y="4"/>
                    <a:pt x="1" y="4"/>
                    <a:pt x="1" y="4"/>
                  </a:cubicBezTo>
                  <a:cubicBezTo>
                    <a:pt x="1" y="4"/>
                    <a:pt x="10" y="0"/>
                    <a:pt x="25" y="1"/>
                  </a:cubicBezTo>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Freeform 603">
              <a:extLst>
                <a:ext uri="{FF2B5EF4-FFF2-40B4-BE49-F238E27FC236}">
                  <a16:creationId xmlns:a16="http://schemas.microsoft.com/office/drawing/2014/main" id="{311365BC-539F-4972-B0DF-3C9C6090D156}"/>
                </a:ext>
              </a:extLst>
            </p:cNvPr>
            <p:cNvSpPr>
              <a:spLocks/>
            </p:cNvSpPr>
            <p:nvPr/>
          </p:nvSpPr>
          <p:spPr bwMode="auto">
            <a:xfrm>
              <a:off x="5653566" y="4752732"/>
              <a:ext cx="108279" cy="136222"/>
            </a:xfrm>
            <a:custGeom>
              <a:avLst/>
              <a:gdLst>
                <a:gd name="T0" fmla="*/ 22 w 26"/>
                <a:gd name="T1" fmla="*/ 33 h 33"/>
                <a:gd name="T2" fmla="*/ 3 w 26"/>
                <a:gd name="T3" fmla="*/ 31 h 33"/>
                <a:gd name="T4" fmla="*/ 5 w 26"/>
                <a:gd name="T5" fmla="*/ 3 h 33"/>
                <a:gd name="T6" fmla="*/ 26 w 26"/>
                <a:gd name="T7" fmla="*/ 1 h 33"/>
              </a:gdLst>
              <a:ahLst/>
              <a:cxnLst>
                <a:cxn ang="0">
                  <a:pos x="T0" y="T1"/>
                </a:cxn>
                <a:cxn ang="0">
                  <a:pos x="T2" y="T3"/>
                </a:cxn>
                <a:cxn ang="0">
                  <a:pos x="T4" y="T5"/>
                </a:cxn>
                <a:cxn ang="0">
                  <a:pos x="T6" y="T7"/>
                </a:cxn>
              </a:cxnLst>
              <a:rect l="0" t="0" r="r" b="b"/>
              <a:pathLst>
                <a:path w="26" h="33">
                  <a:moveTo>
                    <a:pt x="22" y="33"/>
                  </a:moveTo>
                  <a:cubicBezTo>
                    <a:pt x="11" y="32"/>
                    <a:pt x="0" y="30"/>
                    <a:pt x="3" y="31"/>
                  </a:cubicBezTo>
                  <a:cubicBezTo>
                    <a:pt x="5" y="3"/>
                    <a:pt x="5" y="3"/>
                    <a:pt x="5" y="3"/>
                  </a:cubicBezTo>
                  <a:cubicBezTo>
                    <a:pt x="5" y="3"/>
                    <a:pt x="14" y="0"/>
                    <a:pt x="26" y="1"/>
                  </a:cubicBezTo>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Freeform 606">
              <a:extLst>
                <a:ext uri="{FF2B5EF4-FFF2-40B4-BE49-F238E27FC236}">
                  <a16:creationId xmlns:a16="http://schemas.microsoft.com/office/drawing/2014/main" id="{62878CF5-D920-4674-AA34-A27997561774}"/>
                </a:ext>
              </a:extLst>
            </p:cNvPr>
            <p:cNvSpPr>
              <a:spLocks/>
            </p:cNvSpPr>
            <p:nvPr/>
          </p:nvSpPr>
          <p:spPr bwMode="auto">
            <a:xfrm>
              <a:off x="5410810" y="4625241"/>
              <a:ext cx="111774" cy="132730"/>
            </a:xfrm>
            <a:custGeom>
              <a:avLst/>
              <a:gdLst>
                <a:gd name="T0" fmla="*/ 26 w 27"/>
                <a:gd name="T1" fmla="*/ 32 h 32"/>
                <a:gd name="T2" fmla="*/ 0 w 27"/>
                <a:gd name="T3" fmla="*/ 28 h 32"/>
                <a:gd name="T4" fmla="*/ 2 w 27"/>
                <a:gd name="T5" fmla="*/ 3 h 32"/>
                <a:gd name="T6" fmla="*/ 27 w 27"/>
                <a:gd name="T7" fmla="*/ 2 h 32"/>
              </a:gdLst>
              <a:ahLst/>
              <a:cxnLst>
                <a:cxn ang="0">
                  <a:pos x="T0" y="T1"/>
                </a:cxn>
                <a:cxn ang="0">
                  <a:pos x="T2" y="T3"/>
                </a:cxn>
                <a:cxn ang="0">
                  <a:pos x="T4" y="T5"/>
                </a:cxn>
                <a:cxn ang="0">
                  <a:pos x="T6" y="T7"/>
                </a:cxn>
              </a:cxnLst>
              <a:rect l="0" t="0" r="r" b="b"/>
              <a:pathLst>
                <a:path w="27" h="32">
                  <a:moveTo>
                    <a:pt x="26" y="32"/>
                  </a:moveTo>
                  <a:cubicBezTo>
                    <a:pt x="12" y="30"/>
                    <a:pt x="0" y="28"/>
                    <a:pt x="0" y="28"/>
                  </a:cubicBezTo>
                  <a:cubicBezTo>
                    <a:pt x="2" y="3"/>
                    <a:pt x="2" y="3"/>
                    <a:pt x="2" y="3"/>
                  </a:cubicBezTo>
                  <a:cubicBezTo>
                    <a:pt x="2" y="3"/>
                    <a:pt x="13" y="0"/>
                    <a:pt x="27" y="2"/>
                  </a:cubicBezTo>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Freeform 607">
              <a:extLst>
                <a:ext uri="{FF2B5EF4-FFF2-40B4-BE49-F238E27FC236}">
                  <a16:creationId xmlns:a16="http://schemas.microsoft.com/office/drawing/2014/main" id="{B2763726-8770-41BD-9564-3AEE285FBE5B}"/>
                </a:ext>
              </a:extLst>
            </p:cNvPr>
            <p:cNvSpPr>
              <a:spLocks/>
            </p:cNvSpPr>
            <p:nvPr/>
          </p:nvSpPr>
          <p:spPr bwMode="auto">
            <a:xfrm>
              <a:off x="5435260" y="4654932"/>
              <a:ext cx="483764" cy="548384"/>
            </a:xfrm>
            <a:custGeom>
              <a:avLst/>
              <a:gdLst>
                <a:gd name="T0" fmla="*/ 21 w 277"/>
                <a:gd name="T1" fmla="*/ 0 h 314"/>
                <a:gd name="T2" fmla="*/ 277 w 277"/>
                <a:gd name="T3" fmla="*/ 146 h 314"/>
                <a:gd name="T4" fmla="*/ 241 w 277"/>
                <a:gd name="T5" fmla="*/ 314 h 314"/>
                <a:gd name="T6" fmla="*/ 0 w 277"/>
                <a:gd name="T7" fmla="*/ 238 h 314"/>
                <a:gd name="T8" fmla="*/ 21 w 277"/>
                <a:gd name="T9" fmla="*/ 0 h 314"/>
              </a:gdLst>
              <a:ahLst/>
              <a:cxnLst>
                <a:cxn ang="0">
                  <a:pos x="T0" y="T1"/>
                </a:cxn>
                <a:cxn ang="0">
                  <a:pos x="T2" y="T3"/>
                </a:cxn>
                <a:cxn ang="0">
                  <a:pos x="T4" y="T5"/>
                </a:cxn>
                <a:cxn ang="0">
                  <a:pos x="T6" y="T7"/>
                </a:cxn>
                <a:cxn ang="0">
                  <a:pos x="T8" y="T9"/>
                </a:cxn>
              </a:cxnLst>
              <a:rect l="0" t="0" r="r" b="b"/>
              <a:pathLst>
                <a:path w="277" h="314">
                  <a:moveTo>
                    <a:pt x="21" y="0"/>
                  </a:moveTo>
                  <a:lnTo>
                    <a:pt x="277" y="146"/>
                  </a:lnTo>
                  <a:lnTo>
                    <a:pt x="241" y="314"/>
                  </a:lnTo>
                  <a:lnTo>
                    <a:pt x="0" y="238"/>
                  </a:lnTo>
                  <a:lnTo>
                    <a:pt x="21" y="0"/>
                  </a:ln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0" name="Group 89">
            <a:extLst>
              <a:ext uri="{FF2B5EF4-FFF2-40B4-BE49-F238E27FC236}">
                <a16:creationId xmlns:a16="http://schemas.microsoft.com/office/drawing/2014/main" id="{D9D071B3-98FA-4D1B-9324-DE16E6A254E9}"/>
              </a:ext>
            </a:extLst>
          </p:cNvPr>
          <p:cNvGrpSpPr/>
          <p:nvPr/>
        </p:nvGrpSpPr>
        <p:grpSpPr>
          <a:xfrm>
            <a:off x="3511843" y="3035664"/>
            <a:ext cx="5683964" cy="2387594"/>
            <a:chOff x="-608435" y="4060268"/>
            <a:chExt cx="11949156" cy="4345678"/>
          </a:xfrm>
        </p:grpSpPr>
        <p:sp>
          <p:nvSpPr>
            <p:cNvPr id="91" name="Freeform 611">
              <a:extLst>
                <a:ext uri="{FF2B5EF4-FFF2-40B4-BE49-F238E27FC236}">
                  <a16:creationId xmlns:a16="http://schemas.microsoft.com/office/drawing/2014/main" id="{E30A9B21-B16B-4C7E-AE48-757D505515E7}"/>
                </a:ext>
              </a:extLst>
            </p:cNvPr>
            <p:cNvSpPr>
              <a:spLocks/>
            </p:cNvSpPr>
            <p:nvPr/>
          </p:nvSpPr>
          <p:spPr bwMode="auto">
            <a:xfrm>
              <a:off x="-353974" y="4060268"/>
              <a:ext cx="11694695" cy="3876444"/>
            </a:xfrm>
            <a:custGeom>
              <a:avLst/>
              <a:gdLst>
                <a:gd name="T0" fmla="*/ 0 w 4239"/>
                <a:gd name="T1" fmla="*/ 587 h 1404"/>
                <a:gd name="T2" fmla="*/ 4228 w 4239"/>
                <a:gd name="T3" fmla="*/ 1374 h 1404"/>
                <a:gd name="T4" fmla="*/ 4239 w 4239"/>
                <a:gd name="T5" fmla="*/ 1404 h 1404"/>
                <a:gd name="T6" fmla="*/ 3673 w 4239"/>
                <a:gd name="T7" fmla="*/ 1381 h 1404"/>
                <a:gd name="T8" fmla="*/ 4 w 4239"/>
                <a:gd name="T9" fmla="*/ 1389 h 1404"/>
                <a:gd name="T10" fmla="*/ 0 w 4239"/>
                <a:gd name="T11" fmla="*/ 587 h 1404"/>
              </a:gdLst>
              <a:ahLst/>
              <a:cxnLst>
                <a:cxn ang="0">
                  <a:pos x="T0" y="T1"/>
                </a:cxn>
                <a:cxn ang="0">
                  <a:pos x="T2" y="T3"/>
                </a:cxn>
                <a:cxn ang="0">
                  <a:pos x="T4" y="T5"/>
                </a:cxn>
                <a:cxn ang="0">
                  <a:pos x="T6" y="T7"/>
                </a:cxn>
                <a:cxn ang="0">
                  <a:pos x="T8" y="T9"/>
                </a:cxn>
                <a:cxn ang="0">
                  <a:pos x="T10" y="T11"/>
                </a:cxn>
              </a:cxnLst>
              <a:rect l="0" t="0" r="r" b="b"/>
              <a:pathLst>
                <a:path w="4239" h="1404">
                  <a:moveTo>
                    <a:pt x="0" y="587"/>
                  </a:moveTo>
                  <a:cubicBezTo>
                    <a:pt x="0" y="587"/>
                    <a:pt x="2987" y="0"/>
                    <a:pt x="4228" y="1374"/>
                  </a:cubicBezTo>
                  <a:cubicBezTo>
                    <a:pt x="4228" y="1374"/>
                    <a:pt x="4236" y="1341"/>
                    <a:pt x="4239" y="1404"/>
                  </a:cubicBezTo>
                  <a:cubicBezTo>
                    <a:pt x="4032" y="1382"/>
                    <a:pt x="3673" y="1381"/>
                    <a:pt x="3673" y="1381"/>
                  </a:cubicBezTo>
                  <a:cubicBezTo>
                    <a:pt x="4" y="1389"/>
                    <a:pt x="4" y="1389"/>
                    <a:pt x="4" y="1389"/>
                  </a:cubicBezTo>
                  <a:cubicBezTo>
                    <a:pt x="0" y="587"/>
                    <a:pt x="0" y="587"/>
                    <a:pt x="0" y="587"/>
                  </a:cubicBezTo>
                </a:path>
              </a:pathLst>
            </a:custGeom>
            <a:solidFill>
              <a:schemeClr val="tx2">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 name="Freeform 614">
              <a:extLst>
                <a:ext uri="{FF2B5EF4-FFF2-40B4-BE49-F238E27FC236}">
                  <a16:creationId xmlns:a16="http://schemas.microsoft.com/office/drawing/2014/main" id="{AB72D4DC-226B-4703-8515-39325485B714}"/>
                </a:ext>
              </a:extLst>
            </p:cNvPr>
            <p:cNvSpPr>
              <a:spLocks noEditPoints="1"/>
            </p:cNvSpPr>
            <p:nvPr/>
          </p:nvSpPr>
          <p:spPr bwMode="auto">
            <a:xfrm>
              <a:off x="1000038" y="5471475"/>
              <a:ext cx="5905127" cy="2368353"/>
            </a:xfrm>
            <a:custGeom>
              <a:avLst/>
              <a:gdLst>
                <a:gd name="T0" fmla="*/ 16 w 2140"/>
                <a:gd name="T1" fmla="*/ 7 h 858"/>
                <a:gd name="T2" fmla="*/ 82 w 2140"/>
                <a:gd name="T3" fmla="*/ 4 h 858"/>
                <a:gd name="T4" fmla="*/ 113 w 2140"/>
                <a:gd name="T5" fmla="*/ 3 h 858"/>
                <a:gd name="T6" fmla="*/ 148 w 2140"/>
                <a:gd name="T7" fmla="*/ 0 h 858"/>
                <a:gd name="T8" fmla="*/ 214 w 2140"/>
                <a:gd name="T9" fmla="*/ 9 h 858"/>
                <a:gd name="T10" fmla="*/ 178 w 2140"/>
                <a:gd name="T11" fmla="*/ 4 h 858"/>
                <a:gd name="T12" fmla="*/ 284 w 2140"/>
                <a:gd name="T13" fmla="*/ 8 h 858"/>
                <a:gd name="T14" fmla="*/ 312 w 2140"/>
                <a:gd name="T15" fmla="*/ 15 h 858"/>
                <a:gd name="T16" fmla="*/ 313 w 2140"/>
                <a:gd name="T17" fmla="*/ 6 h 858"/>
                <a:gd name="T18" fmla="*/ 410 w 2140"/>
                <a:gd name="T19" fmla="*/ 26 h 858"/>
                <a:gd name="T20" fmla="*/ 437 w 2140"/>
                <a:gd name="T21" fmla="*/ 23 h 858"/>
                <a:gd name="T22" fmla="*/ 477 w 2140"/>
                <a:gd name="T23" fmla="*/ 22 h 858"/>
                <a:gd name="T24" fmla="*/ 540 w 2140"/>
                <a:gd name="T25" fmla="*/ 45 h 858"/>
                <a:gd name="T26" fmla="*/ 502 w 2140"/>
                <a:gd name="T27" fmla="*/ 32 h 858"/>
                <a:gd name="T28" fmla="*/ 613 w 2140"/>
                <a:gd name="T29" fmla="*/ 50 h 858"/>
                <a:gd name="T30" fmla="*/ 637 w 2140"/>
                <a:gd name="T31" fmla="*/ 63 h 858"/>
                <a:gd name="T32" fmla="*/ 640 w 2140"/>
                <a:gd name="T33" fmla="*/ 48 h 858"/>
                <a:gd name="T34" fmla="*/ 733 w 2140"/>
                <a:gd name="T35" fmla="*/ 84 h 858"/>
                <a:gd name="T36" fmla="*/ 759 w 2140"/>
                <a:gd name="T37" fmla="*/ 81 h 858"/>
                <a:gd name="T38" fmla="*/ 801 w 2140"/>
                <a:gd name="T39" fmla="*/ 83 h 858"/>
                <a:gd name="T40" fmla="*/ 860 w 2140"/>
                <a:gd name="T41" fmla="*/ 117 h 858"/>
                <a:gd name="T42" fmla="*/ 822 w 2140"/>
                <a:gd name="T43" fmla="*/ 97 h 858"/>
                <a:gd name="T44" fmla="*/ 935 w 2140"/>
                <a:gd name="T45" fmla="*/ 129 h 858"/>
                <a:gd name="T46" fmla="*/ 954 w 2140"/>
                <a:gd name="T47" fmla="*/ 145 h 858"/>
                <a:gd name="T48" fmla="*/ 960 w 2140"/>
                <a:gd name="T49" fmla="*/ 127 h 858"/>
                <a:gd name="T50" fmla="*/ 1048 w 2140"/>
                <a:gd name="T51" fmla="*/ 176 h 858"/>
                <a:gd name="T52" fmla="*/ 1073 w 2140"/>
                <a:gd name="T53" fmla="*/ 175 h 858"/>
                <a:gd name="T54" fmla="*/ 1116 w 2140"/>
                <a:gd name="T55" fmla="*/ 181 h 858"/>
                <a:gd name="T56" fmla="*/ 1170 w 2140"/>
                <a:gd name="T57" fmla="*/ 222 h 858"/>
                <a:gd name="T58" fmla="*/ 1135 w 2140"/>
                <a:gd name="T59" fmla="*/ 198 h 858"/>
                <a:gd name="T60" fmla="*/ 1243 w 2140"/>
                <a:gd name="T61" fmla="*/ 243 h 858"/>
                <a:gd name="T62" fmla="*/ 1256 w 2140"/>
                <a:gd name="T63" fmla="*/ 249 h 858"/>
                <a:gd name="T64" fmla="*/ 1269 w 2140"/>
                <a:gd name="T65" fmla="*/ 244 h 858"/>
                <a:gd name="T66" fmla="*/ 1350 w 2140"/>
                <a:gd name="T67" fmla="*/ 302 h 858"/>
                <a:gd name="T68" fmla="*/ 1388 w 2140"/>
                <a:gd name="T69" fmla="*/ 301 h 858"/>
                <a:gd name="T70" fmla="*/ 1417 w 2140"/>
                <a:gd name="T71" fmla="*/ 316 h 858"/>
                <a:gd name="T72" fmla="*/ 1438 w 2140"/>
                <a:gd name="T73" fmla="*/ 347 h 858"/>
                <a:gd name="T74" fmla="*/ 1447 w 2140"/>
                <a:gd name="T75" fmla="*/ 331 h 858"/>
                <a:gd name="T76" fmla="*/ 1536 w 2140"/>
                <a:gd name="T77" fmla="*/ 391 h 858"/>
                <a:gd name="T78" fmla="*/ 1550 w 2140"/>
                <a:gd name="T79" fmla="*/ 399 h 858"/>
                <a:gd name="T80" fmla="*/ 1562 w 2140"/>
                <a:gd name="T81" fmla="*/ 396 h 858"/>
                <a:gd name="T82" fmla="*/ 1637 w 2140"/>
                <a:gd name="T83" fmla="*/ 461 h 858"/>
                <a:gd name="T84" fmla="*/ 1673 w 2140"/>
                <a:gd name="T85" fmla="*/ 466 h 858"/>
                <a:gd name="T86" fmla="*/ 1701 w 2140"/>
                <a:gd name="T87" fmla="*/ 485 h 858"/>
                <a:gd name="T88" fmla="*/ 1720 w 2140"/>
                <a:gd name="T89" fmla="*/ 515 h 858"/>
                <a:gd name="T90" fmla="*/ 1728 w 2140"/>
                <a:gd name="T91" fmla="*/ 504 h 858"/>
                <a:gd name="T92" fmla="*/ 1809 w 2140"/>
                <a:gd name="T93" fmla="*/ 570 h 858"/>
                <a:gd name="T94" fmla="*/ 1826 w 2140"/>
                <a:gd name="T95" fmla="*/ 583 h 858"/>
                <a:gd name="T96" fmla="*/ 1834 w 2140"/>
                <a:gd name="T97" fmla="*/ 582 h 858"/>
                <a:gd name="T98" fmla="*/ 1905 w 2140"/>
                <a:gd name="T99" fmla="*/ 651 h 858"/>
                <a:gd name="T100" fmla="*/ 1937 w 2140"/>
                <a:gd name="T101" fmla="*/ 665 h 858"/>
                <a:gd name="T102" fmla="*/ 1962 w 2140"/>
                <a:gd name="T103" fmla="*/ 687 h 858"/>
                <a:gd name="T104" fmla="*/ 1982 w 2140"/>
                <a:gd name="T105" fmla="*/ 714 h 858"/>
                <a:gd name="T106" fmla="*/ 1986 w 2140"/>
                <a:gd name="T107" fmla="*/ 708 h 858"/>
                <a:gd name="T108" fmla="*/ 2059 w 2140"/>
                <a:gd name="T109" fmla="*/ 778 h 858"/>
                <a:gd name="T110" fmla="*/ 2080 w 2140"/>
                <a:gd name="T111" fmla="*/ 799 h 858"/>
                <a:gd name="T112" fmla="*/ 2082 w 2140"/>
                <a:gd name="T113" fmla="*/ 799 h 858"/>
                <a:gd name="T114" fmla="*/ 2140 w 2140"/>
                <a:gd name="T115"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0" h="858">
                  <a:moveTo>
                    <a:pt x="0" y="7"/>
                  </a:moveTo>
                  <a:cubicBezTo>
                    <a:pt x="16" y="6"/>
                    <a:pt x="16" y="6"/>
                    <a:pt x="16" y="6"/>
                  </a:cubicBezTo>
                  <a:cubicBezTo>
                    <a:pt x="17" y="6"/>
                    <a:pt x="17" y="6"/>
                    <a:pt x="17" y="6"/>
                  </a:cubicBezTo>
                  <a:cubicBezTo>
                    <a:pt x="16" y="7"/>
                    <a:pt x="16" y="7"/>
                    <a:pt x="16" y="7"/>
                  </a:cubicBezTo>
                  <a:cubicBezTo>
                    <a:pt x="16" y="7"/>
                    <a:pt x="16" y="7"/>
                    <a:pt x="16" y="7"/>
                  </a:cubicBezTo>
                  <a:cubicBezTo>
                    <a:pt x="0" y="7"/>
                    <a:pt x="0" y="7"/>
                    <a:pt x="0" y="7"/>
                  </a:cubicBezTo>
                  <a:moveTo>
                    <a:pt x="48" y="4"/>
                  </a:moveTo>
                  <a:cubicBezTo>
                    <a:pt x="48" y="4"/>
                    <a:pt x="49" y="5"/>
                    <a:pt x="49" y="5"/>
                  </a:cubicBezTo>
                  <a:cubicBezTo>
                    <a:pt x="82" y="4"/>
                    <a:pt x="82" y="4"/>
                    <a:pt x="82" y="4"/>
                  </a:cubicBezTo>
                  <a:cubicBezTo>
                    <a:pt x="82" y="4"/>
                    <a:pt x="82" y="4"/>
                    <a:pt x="82" y="4"/>
                  </a:cubicBezTo>
                  <a:cubicBezTo>
                    <a:pt x="83" y="4"/>
                    <a:pt x="84" y="3"/>
                    <a:pt x="84" y="3"/>
                  </a:cubicBezTo>
                  <a:cubicBezTo>
                    <a:pt x="84" y="2"/>
                    <a:pt x="83" y="1"/>
                    <a:pt x="82" y="1"/>
                  </a:cubicBezTo>
                  <a:cubicBezTo>
                    <a:pt x="49" y="3"/>
                    <a:pt x="49" y="3"/>
                    <a:pt x="49" y="3"/>
                  </a:cubicBezTo>
                  <a:cubicBezTo>
                    <a:pt x="49" y="3"/>
                    <a:pt x="48" y="3"/>
                    <a:pt x="48" y="4"/>
                  </a:cubicBezTo>
                  <a:moveTo>
                    <a:pt x="113" y="3"/>
                  </a:moveTo>
                  <a:cubicBezTo>
                    <a:pt x="113" y="4"/>
                    <a:pt x="114" y="5"/>
                    <a:pt x="115" y="5"/>
                  </a:cubicBezTo>
                  <a:cubicBezTo>
                    <a:pt x="148" y="7"/>
                    <a:pt x="148" y="7"/>
                    <a:pt x="148" y="7"/>
                  </a:cubicBezTo>
                  <a:cubicBezTo>
                    <a:pt x="148" y="7"/>
                    <a:pt x="148" y="7"/>
                    <a:pt x="148" y="7"/>
                  </a:cubicBezTo>
                  <a:cubicBezTo>
                    <a:pt x="149" y="7"/>
                    <a:pt x="151" y="5"/>
                    <a:pt x="150" y="3"/>
                  </a:cubicBezTo>
                  <a:cubicBezTo>
                    <a:pt x="150" y="2"/>
                    <a:pt x="149" y="0"/>
                    <a:pt x="148" y="0"/>
                  </a:cubicBezTo>
                  <a:cubicBezTo>
                    <a:pt x="115" y="1"/>
                    <a:pt x="115" y="1"/>
                    <a:pt x="115" y="1"/>
                  </a:cubicBezTo>
                  <a:cubicBezTo>
                    <a:pt x="114" y="1"/>
                    <a:pt x="113" y="2"/>
                    <a:pt x="113" y="3"/>
                  </a:cubicBezTo>
                  <a:moveTo>
                    <a:pt x="178" y="4"/>
                  </a:moveTo>
                  <a:cubicBezTo>
                    <a:pt x="178" y="5"/>
                    <a:pt x="179" y="7"/>
                    <a:pt x="181" y="7"/>
                  </a:cubicBezTo>
                  <a:cubicBezTo>
                    <a:pt x="214" y="9"/>
                    <a:pt x="214" y="9"/>
                    <a:pt x="214" y="9"/>
                  </a:cubicBezTo>
                  <a:cubicBezTo>
                    <a:pt x="214" y="9"/>
                    <a:pt x="214" y="9"/>
                    <a:pt x="214" y="9"/>
                  </a:cubicBezTo>
                  <a:cubicBezTo>
                    <a:pt x="216" y="9"/>
                    <a:pt x="217" y="7"/>
                    <a:pt x="217" y="5"/>
                  </a:cubicBezTo>
                  <a:cubicBezTo>
                    <a:pt x="217" y="3"/>
                    <a:pt x="216" y="1"/>
                    <a:pt x="214" y="1"/>
                  </a:cubicBezTo>
                  <a:cubicBezTo>
                    <a:pt x="181" y="0"/>
                    <a:pt x="181" y="0"/>
                    <a:pt x="181" y="0"/>
                  </a:cubicBezTo>
                  <a:cubicBezTo>
                    <a:pt x="179" y="0"/>
                    <a:pt x="178" y="2"/>
                    <a:pt x="178" y="4"/>
                  </a:cubicBezTo>
                  <a:moveTo>
                    <a:pt x="243" y="6"/>
                  </a:moveTo>
                  <a:cubicBezTo>
                    <a:pt x="243" y="8"/>
                    <a:pt x="244" y="10"/>
                    <a:pt x="246" y="10"/>
                  </a:cubicBezTo>
                  <a:cubicBezTo>
                    <a:pt x="279" y="12"/>
                    <a:pt x="279" y="12"/>
                    <a:pt x="279" y="12"/>
                  </a:cubicBezTo>
                  <a:cubicBezTo>
                    <a:pt x="279" y="12"/>
                    <a:pt x="279" y="12"/>
                    <a:pt x="279" y="12"/>
                  </a:cubicBezTo>
                  <a:cubicBezTo>
                    <a:pt x="282" y="13"/>
                    <a:pt x="284" y="11"/>
                    <a:pt x="284" y="8"/>
                  </a:cubicBezTo>
                  <a:cubicBezTo>
                    <a:pt x="284" y="6"/>
                    <a:pt x="282" y="4"/>
                    <a:pt x="280" y="4"/>
                  </a:cubicBezTo>
                  <a:cubicBezTo>
                    <a:pt x="247" y="2"/>
                    <a:pt x="247" y="2"/>
                    <a:pt x="247" y="2"/>
                  </a:cubicBezTo>
                  <a:cubicBezTo>
                    <a:pt x="245" y="2"/>
                    <a:pt x="243" y="4"/>
                    <a:pt x="243" y="6"/>
                  </a:cubicBezTo>
                  <a:moveTo>
                    <a:pt x="308" y="10"/>
                  </a:moveTo>
                  <a:cubicBezTo>
                    <a:pt x="307" y="13"/>
                    <a:pt x="309" y="15"/>
                    <a:pt x="312" y="15"/>
                  </a:cubicBezTo>
                  <a:cubicBezTo>
                    <a:pt x="345" y="18"/>
                    <a:pt x="345" y="18"/>
                    <a:pt x="345" y="18"/>
                  </a:cubicBezTo>
                  <a:cubicBezTo>
                    <a:pt x="345" y="18"/>
                    <a:pt x="345" y="18"/>
                    <a:pt x="345" y="18"/>
                  </a:cubicBezTo>
                  <a:cubicBezTo>
                    <a:pt x="348" y="19"/>
                    <a:pt x="350" y="16"/>
                    <a:pt x="350" y="14"/>
                  </a:cubicBezTo>
                  <a:cubicBezTo>
                    <a:pt x="351" y="11"/>
                    <a:pt x="348" y="8"/>
                    <a:pt x="346" y="8"/>
                  </a:cubicBezTo>
                  <a:cubicBezTo>
                    <a:pt x="313" y="6"/>
                    <a:pt x="313" y="6"/>
                    <a:pt x="313" y="6"/>
                  </a:cubicBezTo>
                  <a:cubicBezTo>
                    <a:pt x="310" y="5"/>
                    <a:pt x="308" y="7"/>
                    <a:pt x="308" y="10"/>
                  </a:cubicBezTo>
                  <a:moveTo>
                    <a:pt x="372" y="16"/>
                  </a:moveTo>
                  <a:cubicBezTo>
                    <a:pt x="372" y="19"/>
                    <a:pt x="374" y="22"/>
                    <a:pt x="377" y="22"/>
                  </a:cubicBezTo>
                  <a:cubicBezTo>
                    <a:pt x="410" y="26"/>
                    <a:pt x="410" y="26"/>
                    <a:pt x="410" y="26"/>
                  </a:cubicBezTo>
                  <a:cubicBezTo>
                    <a:pt x="410" y="26"/>
                    <a:pt x="410" y="26"/>
                    <a:pt x="410" y="26"/>
                  </a:cubicBezTo>
                  <a:cubicBezTo>
                    <a:pt x="413" y="26"/>
                    <a:pt x="416" y="24"/>
                    <a:pt x="417" y="20"/>
                  </a:cubicBezTo>
                  <a:cubicBezTo>
                    <a:pt x="417" y="17"/>
                    <a:pt x="414" y="14"/>
                    <a:pt x="411" y="14"/>
                  </a:cubicBezTo>
                  <a:cubicBezTo>
                    <a:pt x="378" y="11"/>
                    <a:pt x="378" y="11"/>
                    <a:pt x="378" y="11"/>
                  </a:cubicBezTo>
                  <a:cubicBezTo>
                    <a:pt x="375" y="11"/>
                    <a:pt x="373" y="13"/>
                    <a:pt x="372" y="16"/>
                  </a:cubicBezTo>
                  <a:moveTo>
                    <a:pt x="437" y="23"/>
                  </a:moveTo>
                  <a:cubicBezTo>
                    <a:pt x="437" y="26"/>
                    <a:pt x="439" y="30"/>
                    <a:pt x="442" y="30"/>
                  </a:cubicBezTo>
                  <a:cubicBezTo>
                    <a:pt x="475" y="35"/>
                    <a:pt x="475" y="35"/>
                    <a:pt x="475" y="35"/>
                  </a:cubicBezTo>
                  <a:cubicBezTo>
                    <a:pt x="475" y="35"/>
                    <a:pt x="475" y="35"/>
                    <a:pt x="475" y="35"/>
                  </a:cubicBezTo>
                  <a:cubicBezTo>
                    <a:pt x="479" y="35"/>
                    <a:pt x="482" y="33"/>
                    <a:pt x="483" y="29"/>
                  </a:cubicBezTo>
                  <a:cubicBezTo>
                    <a:pt x="483" y="25"/>
                    <a:pt x="480" y="22"/>
                    <a:pt x="477" y="22"/>
                  </a:cubicBezTo>
                  <a:cubicBezTo>
                    <a:pt x="444" y="18"/>
                    <a:pt x="444" y="18"/>
                    <a:pt x="444" y="18"/>
                  </a:cubicBezTo>
                  <a:cubicBezTo>
                    <a:pt x="441" y="17"/>
                    <a:pt x="438" y="20"/>
                    <a:pt x="437" y="23"/>
                  </a:cubicBezTo>
                  <a:moveTo>
                    <a:pt x="502" y="32"/>
                  </a:moveTo>
                  <a:cubicBezTo>
                    <a:pt x="501" y="35"/>
                    <a:pt x="504" y="39"/>
                    <a:pt x="507" y="40"/>
                  </a:cubicBezTo>
                  <a:cubicBezTo>
                    <a:pt x="540" y="45"/>
                    <a:pt x="540" y="45"/>
                    <a:pt x="540" y="45"/>
                  </a:cubicBezTo>
                  <a:cubicBezTo>
                    <a:pt x="540" y="45"/>
                    <a:pt x="540" y="45"/>
                    <a:pt x="540" y="45"/>
                  </a:cubicBezTo>
                  <a:cubicBezTo>
                    <a:pt x="544" y="45"/>
                    <a:pt x="548" y="43"/>
                    <a:pt x="548" y="39"/>
                  </a:cubicBezTo>
                  <a:cubicBezTo>
                    <a:pt x="549" y="35"/>
                    <a:pt x="546" y="31"/>
                    <a:pt x="542" y="31"/>
                  </a:cubicBezTo>
                  <a:cubicBezTo>
                    <a:pt x="510" y="26"/>
                    <a:pt x="510" y="26"/>
                    <a:pt x="510" y="26"/>
                  </a:cubicBezTo>
                  <a:cubicBezTo>
                    <a:pt x="506" y="26"/>
                    <a:pt x="502" y="28"/>
                    <a:pt x="502" y="32"/>
                  </a:cubicBezTo>
                  <a:moveTo>
                    <a:pt x="566" y="42"/>
                  </a:moveTo>
                  <a:cubicBezTo>
                    <a:pt x="566" y="46"/>
                    <a:pt x="568" y="50"/>
                    <a:pt x="572" y="50"/>
                  </a:cubicBezTo>
                  <a:cubicBezTo>
                    <a:pt x="605" y="56"/>
                    <a:pt x="605" y="56"/>
                    <a:pt x="605" y="56"/>
                  </a:cubicBezTo>
                  <a:cubicBezTo>
                    <a:pt x="605" y="56"/>
                    <a:pt x="605" y="56"/>
                    <a:pt x="605" y="56"/>
                  </a:cubicBezTo>
                  <a:cubicBezTo>
                    <a:pt x="609" y="57"/>
                    <a:pt x="613" y="54"/>
                    <a:pt x="613" y="50"/>
                  </a:cubicBezTo>
                  <a:cubicBezTo>
                    <a:pt x="614" y="46"/>
                    <a:pt x="611" y="42"/>
                    <a:pt x="607" y="42"/>
                  </a:cubicBezTo>
                  <a:cubicBezTo>
                    <a:pt x="575" y="36"/>
                    <a:pt x="575" y="36"/>
                    <a:pt x="575" y="36"/>
                  </a:cubicBezTo>
                  <a:cubicBezTo>
                    <a:pt x="571" y="35"/>
                    <a:pt x="567" y="38"/>
                    <a:pt x="566" y="42"/>
                  </a:cubicBezTo>
                  <a:moveTo>
                    <a:pt x="631" y="54"/>
                  </a:moveTo>
                  <a:cubicBezTo>
                    <a:pt x="630" y="58"/>
                    <a:pt x="633" y="62"/>
                    <a:pt x="637" y="63"/>
                  </a:cubicBezTo>
                  <a:cubicBezTo>
                    <a:pt x="669" y="70"/>
                    <a:pt x="669" y="70"/>
                    <a:pt x="669" y="70"/>
                  </a:cubicBezTo>
                  <a:cubicBezTo>
                    <a:pt x="669" y="70"/>
                    <a:pt x="669" y="70"/>
                    <a:pt x="669" y="70"/>
                  </a:cubicBezTo>
                  <a:cubicBezTo>
                    <a:pt x="673" y="70"/>
                    <a:pt x="678" y="68"/>
                    <a:pt x="678" y="63"/>
                  </a:cubicBezTo>
                  <a:cubicBezTo>
                    <a:pt x="679" y="59"/>
                    <a:pt x="676" y="55"/>
                    <a:pt x="672" y="54"/>
                  </a:cubicBezTo>
                  <a:cubicBezTo>
                    <a:pt x="640" y="48"/>
                    <a:pt x="640" y="48"/>
                    <a:pt x="640" y="48"/>
                  </a:cubicBezTo>
                  <a:cubicBezTo>
                    <a:pt x="636" y="47"/>
                    <a:pt x="632" y="49"/>
                    <a:pt x="631" y="54"/>
                  </a:cubicBezTo>
                  <a:moveTo>
                    <a:pt x="695" y="67"/>
                  </a:moveTo>
                  <a:cubicBezTo>
                    <a:pt x="694" y="71"/>
                    <a:pt x="697" y="76"/>
                    <a:pt x="701" y="77"/>
                  </a:cubicBezTo>
                  <a:cubicBezTo>
                    <a:pt x="733" y="84"/>
                    <a:pt x="733" y="84"/>
                    <a:pt x="733" y="84"/>
                  </a:cubicBezTo>
                  <a:cubicBezTo>
                    <a:pt x="733" y="84"/>
                    <a:pt x="733" y="84"/>
                    <a:pt x="733" y="84"/>
                  </a:cubicBezTo>
                  <a:cubicBezTo>
                    <a:pt x="738" y="85"/>
                    <a:pt x="742" y="82"/>
                    <a:pt x="743" y="78"/>
                  </a:cubicBezTo>
                  <a:cubicBezTo>
                    <a:pt x="744" y="73"/>
                    <a:pt x="741" y="69"/>
                    <a:pt x="737" y="68"/>
                  </a:cubicBezTo>
                  <a:cubicBezTo>
                    <a:pt x="705" y="61"/>
                    <a:pt x="705" y="61"/>
                    <a:pt x="705" y="61"/>
                  </a:cubicBezTo>
                  <a:cubicBezTo>
                    <a:pt x="700" y="60"/>
                    <a:pt x="696" y="62"/>
                    <a:pt x="695" y="67"/>
                  </a:cubicBezTo>
                  <a:moveTo>
                    <a:pt x="759" y="81"/>
                  </a:moveTo>
                  <a:cubicBezTo>
                    <a:pt x="758" y="86"/>
                    <a:pt x="760" y="90"/>
                    <a:pt x="765" y="92"/>
                  </a:cubicBezTo>
                  <a:cubicBezTo>
                    <a:pt x="797" y="100"/>
                    <a:pt x="797" y="100"/>
                    <a:pt x="797" y="100"/>
                  </a:cubicBezTo>
                  <a:cubicBezTo>
                    <a:pt x="797" y="100"/>
                    <a:pt x="797" y="100"/>
                    <a:pt x="797" y="100"/>
                  </a:cubicBezTo>
                  <a:cubicBezTo>
                    <a:pt x="801" y="101"/>
                    <a:pt x="806" y="98"/>
                    <a:pt x="807" y="93"/>
                  </a:cubicBezTo>
                  <a:cubicBezTo>
                    <a:pt x="808" y="89"/>
                    <a:pt x="806" y="84"/>
                    <a:pt x="801" y="83"/>
                  </a:cubicBezTo>
                  <a:cubicBezTo>
                    <a:pt x="769" y="75"/>
                    <a:pt x="769" y="75"/>
                    <a:pt x="769" y="75"/>
                  </a:cubicBezTo>
                  <a:cubicBezTo>
                    <a:pt x="764" y="74"/>
                    <a:pt x="760" y="77"/>
                    <a:pt x="759" y="81"/>
                  </a:cubicBezTo>
                  <a:moveTo>
                    <a:pt x="822" y="97"/>
                  </a:moveTo>
                  <a:cubicBezTo>
                    <a:pt x="821" y="102"/>
                    <a:pt x="824" y="107"/>
                    <a:pt x="828" y="108"/>
                  </a:cubicBezTo>
                  <a:cubicBezTo>
                    <a:pt x="860" y="117"/>
                    <a:pt x="860" y="117"/>
                    <a:pt x="860" y="117"/>
                  </a:cubicBezTo>
                  <a:cubicBezTo>
                    <a:pt x="860" y="117"/>
                    <a:pt x="860" y="117"/>
                    <a:pt x="860" y="117"/>
                  </a:cubicBezTo>
                  <a:cubicBezTo>
                    <a:pt x="865" y="118"/>
                    <a:pt x="870" y="115"/>
                    <a:pt x="871" y="110"/>
                  </a:cubicBezTo>
                  <a:cubicBezTo>
                    <a:pt x="872" y="106"/>
                    <a:pt x="870" y="101"/>
                    <a:pt x="865" y="100"/>
                  </a:cubicBezTo>
                  <a:cubicBezTo>
                    <a:pt x="833" y="91"/>
                    <a:pt x="833" y="91"/>
                    <a:pt x="833" y="91"/>
                  </a:cubicBezTo>
                  <a:cubicBezTo>
                    <a:pt x="828" y="90"/>
                    <a:pt x="824" y="93"/>
                    <a:pt x="822" y="97"/>
                  </a:cubicBezTo>
                  <a:moveTo>
                    <a:pt x="885" y="115"/>
                  </a:moveTo>
                  <a:cubicBezTo>
                    <a:pt x="884" y="119"/>
                    <a:pt x="887" y="124"/>
                    <a:pt x="892" y="126"/>
                  </a:cubicBezTo>
                  <a:cubicBezTo>
                    <a:pt x="923" y="135"/>
                    <a:pt x="923" y="135"/>
                    <a:pt x="923" y="135"/>
                  </a:cubicBezTo>
                  <a:cubicBezTo>
                    <a:pt x="923" y="135"/>
                    <a:pt x="923" y="135"/>
                    <a:pt x="923" y="135"/>
                  </a:cubicBezTo>
                  <a:cubicBezTo>
                    <a:pt x="928" y="137"/>
                    <a:pt x="933" y="134"/>
                    <a:pt x="935" y="129"/>
                  </a:cubicBezTo>
                  <a:cubicBezTo>
                    <a:pt x="936" y="124"/>
                    <a:pt x="933" y="119"/>
                    <a:pt x="928" y="118"/>
                  </a:cubicBezTo>
                  <a:cubicBezTo>
                    <a:pt x="897" y="108"/>
                    <a:pt x="897" y="108"/>
                    <a:pt x="897" y="108"/>
                  </a:cubicBezTo>
                  <a:cubicBezTo>
                    <a:pt x="892" y="107"/>
                    <a:pt x="887" y="110"/>
                    <a:pt x="885" y="115"/>
                  </a:cubicBezTo>
                  <a:moveTo>
                    <a:pt x="948" y="133"/>
                  </a:moveTo>
                  <a:cubicBezTo>
                    <a:pt x="947" y="138"/>
                    <a:pt x="949" y="143"/>
                    <a:pt x="954" y="145"/>
                  </a:cubicBezTo>
                  <a:cubicBezTo>
                    <a:pt x="986" y="155"/>
                    <a:pt x="986" y="155"/>
                    <a:pt x="986" y="155"/>
                  </a:cubicBezTo>
                  <a:cubicBezTo>
                    <a:pt x="986" y="155"/>
                    <a:pt x="986" y="155"/>
                    <a:pt x="986" y="155"/>
                  </a:cubicBezTo>
                  <a:cubicBezTo>
                    <a:pt x="991" y="157"/>
                    <a:pt x="996" y="154"/>
                    <a:pt x="997" y="149"/>
                  </a:cubicBezTo>
                  <a:cubicBezTo>
                    <a:pt x="999" y="144"/>
                    <a:pt x="996" y="139"/>
                    <a:pt x="991" y="137"/>
                  </a:cubicBezTo>
                  <a:cubicBezTo>
                    <a:pt x="960" y="127"/>
                    <a:pt x="960" y="127"/>
                    <a:pt x="960" y="127"/>
                  </a:cubicBezTo>
                  <a:cubicBezTo>
                    <a:pt x="955" y="126"/>
                    <a:pt x="950" y="129"/>
                    <a:pt x="948" y="133"/>
                  </a:cubicBezTo>
                  <a:moveTo>
                    <a:pt x="1011" y="154"/>
                  </a:moveTo>
                  <a:cubicBezTo>
                    <a:pt x="1009" y="158"/>
                    <a:pt x="1012" y="164"/>
                    <a:pt x="1017" y="165"/>
                  </a:cubicBezTo>
                  <a:cubicBezTo>
                    <a:pt x="1048" y="176"/>
                    <a:pt x="1048" y="176"/>
                    <a:pt x="1048" y="176"/>
                  </a:cubicBezTo>
                  <a:cubicBezTo>
                    <a:pt x="1048" y="176"/>
                    <a:pt x="1048" y="176"/>
                    <a:pt x="1048" y="176"/>
                  </a:cubicBezTo>
                  <a:cubicBezTo>
                    <a:pt x="1053" y="178"/>
                    <a:pt x="1058" y="175"/>
                    <a:pt x="1060" y="171"/>
                  </a:cubicBezTo>
                  <a:cubicBezTo>
                    <a:pt x="1061" y="166"/>
                    <a:pt x="1059" y="160"/>
                    <a:pt x="1054" y="159"/>
                  </a:cubicBezTo>
                  <a:cubicBezTo>
                    <a:pt x="1023" y="148"/>
                    <a:pt x="1023" y="148"/>
                    <a:pt x="1023" y="148"/>
                  </a:cubicBezTo>
                  <a:cubicBezTo>
                    <a:pt x="1018" y="146"/>
                    <a:pt x="1013" y="149"/>
                    <a:pt x="1011" y="154"/>
                  </a:cubicBezTo>
                  <a:moveTo>
                    <a:pt x="1073" y="175"/>
                  </a:moveTo>
                  <a:cubicBezTo>
                    <a:pt x="1071" y="180"/>
                    <a:pt x="1074" y="186"/>
                    <a:pt x="1079" y="187"/>
                  </a:cubicBezTo>
                  <a:cubicBezTo>
                    <a:pt x="1109" y="199"/>
                    <a:pt x="1109" y="199"/>
                    <a:pt x="1109" y="199"/>
                  </a:cubicBezTo>
                  <a:cubicBezTo>
                    <a:pt x="1109" y="199"/>
                    <a:pt x="1109" y="199"/>
                    <a:pt x="1109" y="199"/>
                  </a:cubicBezTo>
                  <a:cubicBezTo>
                    <a:pt x="1114" y="201"/>
                    <a:pt x="1120" y="198"/>
                    <a:pt x="1122" y="193"/>
                  </a:cubicBezTo>
                  <a:cubicBezTo>
                    <a:pt x="1123" y="188"/>
                    <a:pt x="1121" y="183"/>
                    <a:pt x="1116" y="181"/>
                  </a:cubicBezTo>
                  <a:cubicBezTo>
                    <a:pt x="1085" y="170"/>
                    <a:pt x="1085" y="170"/>
                    <a:pt x="1085" y="170"/>
                  </a:cubicBezTo>
                  <a:cubicBezTo>
                    <a:pt x="1080" y="168"/>
                    <a:pt x="1075" y="170"/>
                    <a:pt x="1073" y="175"/>
                  </a:cubicBezTo>
                  <a:moveTo>
                    <a:pt x="1135" y="198"/>
                  </a:moveTo>
                  <a:cubicBezTo>
                    <a:pt x="1133" y="203"/>
                    <a:pt x="1135" y="208"/>
                    <a:pt x="1140" y="210"/>
                  </a:cubicBezTo>
                  <a:cubicBezTo>
                    <a:pt x="1170" y="222"/>
                    <a:pt x="1170" y="222"/>
                    <a:pt x="1170" y="222"/>
                  </a:cubicBezTo>
                  <a:cubicBezTo>
                    <a:pt x="1171" y="222"/>
                    <a:pt x="1171" y="222"/>
                    <a:pt x="1171" y="222"/>
                  </a:cubicBezTo>
                  <a:cubicBezTo>
                    <a:pt x="1175" y="225"/>
                    <a:pt x="1181" y="222"/>
                    <a:pt x="1183" y="217"/>
                  </a:cubicBezTo>
                  <a:cubicBezTo>
                    <a:pt x="1185" y="212"/>
                    <a:pt x="1182" y="207"/>
                    <a:pt x="1178" y="205"/>
                  </a:cubicBezTo>
                  <a:cubicBezTo>
                    <a:pt x="1147" y="193"/>
                    <a:pt x="1147" y="193"/>
                    <a:pt x="1147" y="193"/>
                  </a:cubicBezTo>
                  <a:cubicBezTo>
                    <a:pt x="1142" y="191"/>
                    <a:pt x="1137" y="193"/>
                    <a:pt x="1135" y="198"/>
                  </a:cubicBezTo>
                  <a:moveTo>
                    <a:pt x="1208" y="218"/>
                  </a:moveTo>
                  <a:cubicBezTo>
                    <a:pt x="1203" y="216"/>
                    <a:pt x="1198" y="218"/>
                    <a:pt x="1196" y="223"/>
                  </a:cubicBezTo>
                  <a:cubicBezTo>
                    <a:pt x="1194" y="228"/>
                    <a:pt x="1196" y="233"/>
                    <a:pt x="1201" y="235"/>
                  </a:cubicBezTo>
                  <a:cubicBezTo>
                    <a:pt x="1231" y="248"/>
                    <a:pt x="1231" y="248"/>
                    <a:pt x="1231" y="248"/>
                  </a:cubicBezTo>
                  <a:cubicBezTo>
                    <a:pt x="1236" y="250"/>
                    <a:pt x="1241" y="248"/>
                    <a:pt x="1243" y="243"/>
                  </a:cubicBezTo>
                  <a:cubicBezTo>
                    <a:pt x="1245" y="238"/>
                    <a:pt x="1243" y="233"/>
                    <a:pt x="1238" y="231"/>
                  </a:cubicBezTo>
                  <a:cubicBezTo>
                    <a:pt x="1208" y="218"/>
                    <a:pt x="1208" y="218"/>
                    <a:pt x="1208" y="218"/>
                  </a:cubicBezTo>
                  <a:cubicBezTo>
                    <a:pt x="1208" y="218"/>
                    <a:pt x="1208" y="218"/>
                    <a:pt x="1208" y="218"/>
                  </a:cubicBezTo>
                  <a:moveTo>
                    <a:pt x="1269" y="244"/>
                  </a:moveTo>
                  <a:cubicBezTo>
                    <a:pt x="1264" y="242"/>
                    <a:pt x="1258" y="244"/>
                    <a:pt x="1256" y="249"/>
                  </a:cubicBezTo>
                  <a:cubicBezTo>
                    <a:pt x="1254" y="253"/>
                    <a:pt x="1256" y="259"/>
                    <a:pt x="1261" y="261"/>
                  </a:cubicBezTo>
                  <a:cubicBezTo>
                    <a:pt x="1291" y="275"/>
                    <a:pt x="1291" y="275"/>
                    <a:pt x="1291" y="275"/>
                  </a:cubicBezTo>
                  <a:cubicBezTo>
                    <a:pt x="1296" y="277"/>
                    <a:pt x="1301" y="275"/>
                    <a:pt x="1303" y="270"/>
                  </a:cubicBezTo>
                  <a:cubicBezTo>
                    <a:pt x="1306" y="265"/>
                    <a:pt x="1303" y="260"/>
                    <a:pt x="1299" y="258"/>
                  </a:cubicBezTo>
                  <a:cubicBezTo>
                    <a:pt x="1269" y="244"/>
                    <a:pt x="1269" y="244"/>
                    <a:pt x="1269" y="244"/>
                  </a:cubicBezTo>
                  <a:cubicBezTo>
                    <a:pt x="1269" y="244"/>
                    <a:pt x="1269" y="244"/>
                    <a:pt x="1269" y="244"/>
                  </a:cubicBezTo>
                  <a:moveTo>
                    <a:pt x="1329" y="272"/>
                  </a:moveTo>
                  <a:cubicBezTo>
                    <a:pt x="1324" y="269"/>
                    <a:pt x="1319" y="271"/>
                    <a:pt x="1316" y="276"/>
                  </a:cubicBezTo>
                  <a:cubicBezTo>
                    <a:pt x="1314" y="281"/>
                    <a:pt x="1316" y="286"/>
                    <a:pt x="1321" y="288"/>
                  </a:cubicBezTo>
                  <a:cubicBezTo>
                    <a:pt x="1350" y="302"/>
                    <a:pt x="1350" y="302"/>
                    <a:pt x="1350" y="302"/>
                  </a:cubicBezTo>
                  <a:cubicBezTo>
                    <a:pt x="1355" y="305"/>
                    <a:pt x="1361" y="303"/>
                    <a:pt x="1363" y="298"/>
                  </a:cubicBezTo>
                  <a:cubicBezTo>
                    <a:pt x="1365" y="294"/>
                    <a:pt x="1363" y="288"/>
                    <a:pt x="1358" y="286"/>
                  </a:cubicBezTo>
                  <a:cubicBezTo>
                    <a:pt x="1329" y="272"/>
                    <a:pt x="1329" y="272"/>
                    <a:pt x="1329" y="272"/>
                  </a:cubicBezTo>
                  <a:cubicBezTo>
                    <a:pt x="1329" y="272"/>
                    <a:pt x="1329" y="272"/>
                    <a:pt x="1329" y="272"/>
                  </a:cubicBezTo>
                  <a:moveTo>
                    <a:pt x="1388" y="301"/>
                  </a:moveTo>
                  <a:cubicBezTo>
                    <a:pt x="1384" y="298"/>
                    <a:pt x="1378" y="300"/>
                    <a:pt x="1376" y="305"/>
                  </a:cubicBezTo>
                  <a:cubicBezTo>
                    <a:pt x="1374" y="309"/>
                    <a:pt x="1375" y="315"/>
                    <a:pt x="1380" y="317"/>
                  </a:cubicBezTo>
                  <a:cubicBezTo>
                    <a:pt x="1409" y="332"/>
                    <a:pt x="1409" y="332"/>
                    <a:pt x="1409" y="332"/>
                  </a:cubicBezTo>
                  <a:cubicBezTo>
                    <a:pt x="1414" y="334"/>
                    <a:pt x="1419" y="332"/>
                    <a:pt x="1421" y="328"/>
                  </a:cubicBezTo>
                  <a:cubicBezTo>
                    <a:pt x="1424" y="323"/>
                    <a:pt x="1422" y="318"/>
                    <a:pt x="1417" y="316"/>
                  </a:cubicBezTo>
                  <a:cubicBezTo>
                    <a:pt x="1388" y="301"/>
                    <a:pt x="1388" y="301"/>
                    <a:pt x="1388" y="301"/>
                  </a:cubicBezTo>
                  <a:cubicBezTo>
                    <a:pt x="1388" y="301"/>
                    <a:pt x="1388" y="301"/>
                    <a:pt x="1388" y="301"/>
                  </a:cubicBezTo>
                  <a:moveTo>
                    <a:pt x="1447" y="331"/>
                  </a:moveTo>
                  <a:cubicBezTo>
                    <a:pt x="1442" y="329"/>
                    <a:pt x="1437" y="330"/>
                    <a:pt x="1435" y="335"/>
                  </a:cubicBezTo>
                  <a:cubicBezTo>
                    <a:pt x="1432" y="339"/>
                    <a:pt x="1434" y="344"/>
                    <a:pt x="1438" y="347"/>
                  </a:cubicBezTo>
                  <a:cubicBezTo>
                    <a:pt x="1467" y="362"/>
                    <a:pt x="1467" y="362"/>
                    <a:pt x="1467" y="362"/>
                  </a:cubicBezTo>
                  <a:cubicBezTo>
                    <a:pt x="1472" y="364"/>
                    <a:pt x="1477" y="363"/>
                    <a:pt x="1479" y="359"/>
                  </a:cubicBezTo>
                  <a:cubicBezTo>
                    <a:pt x="1482" y="354"/>
                    <a:pt x="1480" y="349"/>
                    <a:pt x="1476" y="347"/>
                  </a:cubicBezTo>
                  <a:cubicBezTo>
                    <a:pt x="1447" y="331"/>
                    <a:pt x="1447" y="331"/>
                    <a:pt x="1447" y="331"/>
                  </a:cubicBezTo>
                  <a:cubicBezTo>
                    <a:pt x="1447" y="331"/>
                    <a:pt x="1447" y="331"/>
                    <a:pt x="1447" y="331"/>
                  </a:cubicBezTo>
                  <a:moveTo>
                    <a:pt x="1505" y="363"/>
                  </a:moveTo>
                  <a:cubicBezTo>
                    <a:pt x="1500" y="360"/>
                    <a:pt x="1495" y="362"/>
                    <a:pt x="1493" y="366"/>
                  </a:cubicBezTo>
                  <a:cubicBezTo>
                    <a:pt x="1490" y="370"/>
                    <a:pt x="1492" y="376"/>
                    <a:pt x="1496" y="378"/>
                  </a:cubicBezTo>
                  <a:cubicBezTo>
                    <a:pt x="1525" y="394"/>
                    <a:pt x="1525" y="394"/>
                    <a:pt x="1525" y="394"/>
                  </a:cubicBezTo>
                  <a:cubicBezTo>
                    <a:pt x="1529" y="396"/>
                    <a:pt x="1534" y="395"/>
                    <a:pt x="1536" y="391"/>
                  </a:cubicBezTo>
                  <a:cubicBezTo>
                    <a:pt x="1539" y="387"/>
                    <a:pt x="1537" y="382"/>
                    <a:pt x="1533" y="379"/>
                  </a:cubicBezTo>
                  <a:cubicBezTo>
                    <a:pt x="1505" y="363"/>
                    <a:pt x="1505" y="363"/>
                    <a:pt x="1505" y="363"/>
                  </a:cubicBezTo>
                  <a:cubicBezTo>
                    <a:pt x="1505" y="363"/>
                    <a:pt x="1505" y="363"/>
                    <a:pt x="1505" y="363"/>
                  </a:cubicBezTo>
                  <a:moveTo>
                    <a:pt x="1562" y="396"/>
                  </a:moveTo>
                  <a:cubicBezTo>
                    <a:pt x="1558" y="394"/>
                    <a:pt x="1553" y="395"/>
                    <a:pt x="1550" y="399"/>
                  </a:cubicBezTo>
                  <a:cubicBezTo>
                    <a:pt x="1548" y="403"/>
                    <a:pt x="1549" y="408"/>
                    <a:pt x="1553" y="410"/>
                  </a:cubicBezTo>
                  <a:cubicBezTo>
                    <a:pt x="1582" y="427"/>
                    <a:pt x="1582" y="427"/>
                    <a:pt x="1582" y="427"/>
                  </a:cubicBezTo>
                  <a:cubicBezTo>
                    <a:pt x="1585" y="429"/>
                    <a:pt x="1590" y="428"/>
                    <a:pt x="1593" y="424"/>
                  </a:cubicBezTo>
                  <a:cubicBezTo>
                    <a:pt x="1595" y="420"/>
                    <a:pt x="1594" y="415"/>
                    <a:pt x="1590" y="413"/>
                  </a:cubicBezTo>
                  <a:cubicBezTo>
                    <a:pt x="1562" y="396"/>
                    <a:pt x="1562" y="396"/>
                    <a:pt x="1562" y="396"/>
                  </a:cubicBezTo>
                  <a:cubicBezTo>
                    <a:pt x="1562" y="396"/>
                    <a:pt x="1562" y="396"/>
                    <a:pt x="1562" y="396"/>
                  </a:cubicBezTo>
                  <a:moveTo>
                    <a:pt x="1618" y="430"/>
                  </a:moveTo>
                  <a:cubicBezTo>
                    <a:pt x="1614" y="428"/>
                    <a:pt x="1609" y="429"/>
                    <a:pt x="1607" y="433"/>
                  </a:cubicBezTo>
                  <a:cubicBezTo>
                    <a:pt x="1605" y="437"/>
                    <a:pt x="1606" y="442"/>
                    <a:pt x="1609" y="444"/>
                  </a:cubicBezTo>
                  <a:cubicBezTo>
                    <a:pt x="1637" y="461"/>
                    <a:pt x="1637" y="461"/>
                    <a:pt x="1637" y="461"/>
                  </a:cubicBezTo>
                  <a:cubicBezTo>
                    <a:pt x="1641" y="464"/>
                    <a:pt x="1646" y="463"/>
                    <a:pt x="1648" y="459"/>
                  </a:cubicBezTo>
                  <a:cubicBezTo>
                    <a:pt x="1650" y="455"/>
                    <a:pt x="1649" y="451"/>
                    <a:pt x="1646" y="448"/>
                  </a:cubicBezTo>
                  <a:cubicBezTo>
                    <a:pt x="1618" y="430"/>
                    <a:pt x="1618" y="430"/>
                    <a:pt x="1618" y="430"/>
                  </a:cubicBezTo>
                  <a:cubicBezTo>
                    <a:pt x="1618" y="430"/>
                    <a:pt x="1618" y="430"/>
                    <a:pt x="1618" y="430"/>
                  </a:cubicBezTo>
                  <a:moveTo>
                    <a:pt x="1673" y="466"/>
                  </a:moveTo>
                  <a:cubicBezTo>
                    <a:pt x="1670" y="464"/>
                    <a:pt x="1665" y="465"/>
                    <a:pt x="1663" y="469"/>
                  </a:cubicBezTo>
                  <a:cubicBezTo>
                    <a:pt x="1661" y="472"/>
                    <a:pt x="1662" y="477"/>
                    <a:pt x="1665" y="479"/>
                  </a:cubicBezTo>
                  <a:cubicBezTo>
                    <a:pt x="1693" y="497"/>
                    <a:pt x="1693" y="497"/>
                    <a:pt x="1693" y="497"/>
                  </a:cubicBezTo>
                  <a:cubicBezTo>
                    <a:pt x="1696" y="499"/>
                    <a:pt x="1701" y="498"/>
                    <a:pt x="1703" y="495"/>
                  </a:cubicBezTo>
                  <a:cubicBezTo>
                    <a:pt x="1705" y="492"/>
                    <a:pt x="1704" y="487"/>
                    <a:pt x="1701" y="485"/>
                  </a:cubicBezTo>
                  <a:cubicBezTo>
                    <a:pt x="1673" y="466"/>
                    <a:pt x="1673" y="466"/>
                    <a:pt x="1673" y="466"/>
                  </a:cubicBezTo>
                  <a:cubicBezTo>
                    <a:pt x="1673" y="466"/>
                    <a:pt x="1673" y="466"/>
                    <a:pt x="1673" y="466"/>
                  </a:cubicBezTo>
                  <a:moveTo>
                    <a:pt x="1728" y="504"/>
                  </a:moveTo>
                  <a:cubicBezTo>
                    <a:pt x="1725" y="501"/>
                    <a:pt x="1720" y="502"/>
                    <a:pt x="1718" y="505"/>
                  </a:cubicBezTo>
                  <a:cubicBezTo>
                    <a:pt x="1716" y="509"/>
                    <a:pt x="1717" y="513"/>
                    <a:pt x="1720" y="515"/>
                  </a:cubicBezTo>
                  <a:cubicBezTo>
                    <a:pt x="1747" y="534"/>
                    <a:pt x="1747" y="534"/>
                    <a:pt x="1747" y="534"/>
                  </a:cubicBezTo>
                  <a:cubicBezTo>
                    <a:pt x="1750" y="536"/>
                    <a:pt x="1754" y="535"/>
                    <a:pt x="1757" y="532"/>
                  </a:cubicBezTo>
                  <a:cubicBezTo>
                    <a:pt x="1759" y="529"/>
                    <a:pt x="1758" y="525"/>
                    <a:pt x="1755" y="523"/>
                  </a:cubicBezTo>
                  <a:cubicBezTo>
                    <a:pt x="1728" y="504"/>
                    <a:pt x="1728" y="504"/>
                    <a:pt x="1728" y="504"/>
                  </a:cubicBezTo>
                  <a:cubicBezTo>
                    <a:pt x="1728" y="504"/>
                    <a:pt x="1728" y="504"/>
                    <a:pt x="1728" y="504"/>
                  </a:cubicBezTo>
                  <a:moveTo>
                    <a:pt x="1782" y="542"/>
                  </a:moveTo>
                  <a:cubicBezTo>
                    <a:pt x="1779" y="540"/>
                    <a:pt x="1774" y="540"/>
                    <a:pt x="1772" y="543"/>
                  </a:cubicBezTo>
                  <a:cubicBezTo>
                    <a:pt x="1770" y="546"/>
                    <a:pt x="1771" y="551"/>
                    <a:pt x="1774" y="553"/>
                  </a:cubicBezTo>
                  <a:cubicBezTo>
                    <a:pt x="1801" y="572"/>
                    <a:pt x="1801" y="572"/>
                    <a:pt x="1801" y="572"/>
                  </a:cubicBezTo>
                  <a:cubicBezTo>
                    <a:pt x="1803" y="574"/>
                    <a:pt x="1807" y="573"/>
                    <a:pt x="1809" y="570"/>
                  </a:cubicBezTo>
                  <a:cubicBezTo>
                    <a:pt x="1811" y="568"/>
                    <a:pt x="1811" y="564"/>
                    <a:pt x="1808" y="562"/>
                  </a:cubicBezTo>
                  <a:cubicBezTo>
                    <a:pt x="1782" y="542"/>
                    <a:pt x="1782" y="542"/>
                    <a:pt x="1782" y="542"/>
                  </a:cubicBezTo>
                  <a:cubicBezTo>
                    <a:pt x="1782" y="542"/>
                    <a:pt x="1782" y="542"/>
                    <a:pt x="1782" y="542"/>
                  </a:cubicBezTo>
                  <a:moveTo>
                    <a:pt x="1834" y="582"/>
                  </a:moveTo>
                  <a:cubicBezTo>
                    <a:pt x="1832" y="580"/>
                    <a:pt x="1828" y="580"/>
                    <a:pt x="1826" y="583"/>
                  </a:cubicBezTo>
                  <a:cubicBezTo>
                    <a:pt x="1824" y="585"/>
                    <a:pt x="1825" y="589"/>
                    <a:pt x="1827" y="591"/>
                  </a:cubicBezTo>
                  <a:cubicBezTo>
                    <a:pt x="1853" y="611"/>
                    <a:pt x="1853" y="611"/>
                    <a:pt x="1853" y="611"/>
                  </a:cubicBezTo>
                  <a:cubicBezTo>
                    <a:pt x="1856" y="613"/>
                    <a:pt x="1859" y="612"/>
                    <a:pt x="1861" y="610"/>
                  </a:cubicBezTo>
                  <a:cubicBezTo>
                    <a:pt x="1863" y="607"/>
                    <a:pt x="1863" y="604"/>
                    <a:pt x="1860" y="602"/>
                  </a:cubicBezTo>
                  <a:cubicBezTo>
                    <a:pt x="1834" y="582"/>
                    <a:pt x="1834" y="582"/>
                    <a:pt x="1834" y="582"/>
                  </a:cubicBezTo>
                  <a:cubicBezTo>
                    <a:pt x="1834" y="582"/>
                    <a:pt x="1834" y="582"/>
                    <a:pt x="1834" y="582"/>
                  </a:cubicBezTo>
                  <a:moveTo>
                    <a:pt x="1886" y="623"/>
                  </a:moveTo>
                  <a:cubicBezTo>
                    <a:pt x="1884" y="621"/>
                    <a:pt x="1880" y="621"/>
                    <a:pt x="1879" y="624"/>
                  </a:cubicBezTo>
                  <a:cubicBezTo>
                    <a:pt x="1877" y="626"/>
                    <a:pt x="1877" y="629"/>
                    <a:pt x="1879" y="631"/>
                  </a:cubicBezTo>
                  <a:cubicBezTo>
                    <a:pt x="1905" y="651"/>
                    <a:pt x="1905" y="651"/>
                    <a:pt x="1905" y="651"/>
                  </a:cubicBezTo>
                  <a:cubicBezTo>
                    <a:pt x="1907" y="653"/>
                    <a:pt x="1910" y="653"/>
                    <a:pt x="1912" y="651"/>
                  </a:cubicBezTo>
                  <a:cubicBezTo>
                    <a:pt x="1914" y="648"/>
                    <a:pt x="1914" y="645"/>
                    <a:pt x="1911" y="644"/>
                  </a:cubicBezTo>
                  <a:cubicBezTo>
                    <a:pt x="1886" y="623"/>
                    <a:pt x="1886" y="623"/>
                    <a:pt x="1886" y="623"/>
                  </a:cubicBezTo>
                  <a:cubicBezTo>
                    <a:pt x="1886" y="623"/>
                    <a:pt x="1886" y="623"/>
                    <a:pt x="1886" y="623"/>
                  </a:cubicBezTo>
                  <a:moveTo>
                    <a:pt x="1937" y="665"/>
                  </a:moveTo>
                  <a:cubicBezTo>
                    <a:pt x="1935" y="663"/>
                    <a:pt x="1932" y="664"/>
                    <a:pt x="1930" y="666"/>
                  </a:cubicBezTo>
                  <a:cubicBezTo>
                    <a:pt x="1929" y="667"/>
                    <a:pt x="1929" y="670"/>
                    <a:pt x="1931" y="672"/>
                  </a:cubicBezTo>
                  <a:cubicBezTo>
                    <a:pt x="1956" y="693"/>
                    <a:pt x="1956" y="693"/>
                    <a:pt x="1956" y="693"/>
                  </a:cubicBezTo>
                  <a:cubicBezTo>
                    <a:pt x="1958" y="694"/>
                    <a:pt x="1961" y="694"/>
                    <a:pt x="1962" y="692"/>
                  </a:cubicBezTo>
                  <a:cubicBezTo>
                    <a:pt x="1963" y="690"/>
                    <a:pt x="1963" y="688"/>
                    <a:pt x="1962" y="687"/>
                  </a:cubicBezTo>
                  <a:cubicBezTo>
                    <a:pt x="1937" y="665"/>
                    <a:pt x="1937" y="665"/>
                    <a:pt x="1937" y="665"/>
                  </a:cubicBezTo>
                  <a:cubicBezTo>
                    <a:pt x="1937" y="665"/>
                    <a:pt x="1937" y="665"/>
                    <a:pt x="1937" y="665"/>
                  </a:cubicBezTo>
                  <a:moveTo>
                    <a:pt x="1986" y="708"/>
                  </a:moveTo>
                  <a:cubicBezTo>
                    <a:pt x="1985" y="707"/>
                    <a:pt x="1983" y="707"/>
                    <a:pt x="1981" y="709"/>
                  </a:cubicBezTo>
                  <a:cubicBezTo>
                    <a:pt x="1980" y="710"/>
                    <a:pt x="1980" y="712"/>
                    <a:pt x="1982" y="714"/>
                  </a:cubicBezTo>
                  <a:cubicBezTo>
                    <a:pt x="2007" y="735"/>
                    <a:pt x="2007" y="735"/>
                    <a:pt x="2007" y="735"/>
                  </a:cubicBezTo>
                  <a:cubicBezTo>
                    <a:pt x="2008" y="736"/>
                    <a:pt x="2010" y="736"/>
                    <a:pt x="2011" y="735"/>
                  </a:cubicBezTo>
                  <a:cubicBezTo>
                    <a:pt x="2012" y="734"/>
                    <a:pt x="2012" y="732"/>
                    <a:pt x="2011" y="731"/>
                  </a:cubicBezTo>
                  <a:cubicBezTo>
                    <a:pt x="1986" y="708"/>
                    <a:pt x="1986" y="708"/>
                    <a:pt x="1986" y="708"/>
                  </a:cubicBezTo>
                  <a:cubicBezTo>
                    <a:pt x="1986" y="708"/>
                    <a:pt x="1986" y="708"/>
                    <a:pt x="1986" y="708"/>
                  </a:cubicBezTo>
                  <a:moveTo>
                    <a:pt x="2035" y="753"/>
                  </a:moveTo>
                  <a:cubicBezTo>
                    <a:pt x="2034" y="752"/>
                    <a:pt x="2032" y="752"/>
                    <a:pt x="2031" y="753"/>
                  </a:cubicBezTo>
                  <a:cubicBezTo>
                    <a:pt x="2030" y="754"/>
                    <a:pt x="2030" y="756"/>
                    <a:pt x="2031" y="757"/>
                  </a:cubicBezTo>
                  <a:cubicBezTo>
                    <a:pt x="2056" y="779"/>
                    <a:pt x="2056" y="779"/>
                    <a:pt x="2056" y="779"/>
                  </a:cubicBezTo>
                  <a:cubicBezTo>
                    <a:pt x="2057" y="779"/>
                    <a:pt x="2058" y="779"/>
                    <a:pt x="2059" y="778"/>
                  </a:cubicBezTo>
                  <a:cubicBezTo>
                    <a:pt x="2060" y="778"/>
                    <a:pt x="2060" y="776"/>
                    <a:pt x="2059" y="776"/>
                  </a:cubicBezTo>
                  <a:cubicBezTo>
                    <a:pt x="2035" y="753"/>
                    <a:pt x="2035" y="753"/>
                    <a:pt x="2035" y="753"/>
                  </a:cubicBezTo>
                  <a:cubicBezTo>
                    <a:pt x="2035" y="753"/>
                    <a:pt x="2035" y="753"/>
                    <a:pt x="2035" y="753"/>
                  </a:cubicBezTo>
                  <a:moveTo>
                    <a:pt x="2082" y="798"/>
                  </a:moveTo>
                  <a:cubicBezTo>
                    <a:pt x="2082" y="798"/>
                    <a:pt x="2081" y="798"/>
                    <a:pt x="2080" y="799"/>
                  </a:cubicBezTo>
                  <a:cubicBezTo>
                    <a:pt x="2080" y="799"/>
                    <a:pt x="2080" y="800"/>
                    <a:pt x="2080" y="801"/>
                  </a:cubicBezTo>
                  <a:cubicBezTo>
                    <a:pt x="2104" y="823"/>
                    <a:pt x="2104" y="823"/>
                    <a:pt x="2104" y="823"/>
                  </a:cubicBezTo>
                  <a:cubicBezTo>
                    <a:pt x="2105" y="824"/>
                    <a:pt x="2105" y="824"/>
                    <a:pt x="2106" y="823"/>
                  </a:cubicBezTo>
                  <a:cubicBezTo>
                    <a:pt x="2106" y="823"/>
                    <a:pt x="2106" y="822"/>
                    <a:pt x="2106" y="822"/>
                  </a:cubicBezTo>
                  <a:cubicBezTo>
                    <a:pt x="2082" y="799"/>
                    <a:pt x="2082" y="799"/>
                    <a:pt x="2082" y="799"/>
                  </a:cubicBezTo>
                  <a:cubicBezTo>
                    <a:pt x="2082" y="798"/>
                    <a:pt x="2082" y="798"/>
                    <a:pt x="2082" y="798"/>
                  </a:cubicBezTo>
                  <a:moveTo>
                    <a:pt x="2129" y="846"/>
                  </a:moveTo>
                  <a:cubicBezTo>
                    <a:pt x="2129" y="846"/>
                    <a:pt x="2129" y="846"/>
                    <a:pt x="2129" y="846"/>
                  </a:cubicBezTo>
                  <a:cubicBezTo>
                    <a:pt x="2129" y="846"/>
                    <a:pt x="2129" y="846"/>
                    <a:pt x="2129" y="846"/>
                  </a:cubicBezTo>
                  <a:cubicBezTo>
                    <a:pt x="2140" y="858"/>
                    <a:pt x="2140" y="858"/>
                    <a:pt x="2140" y="858"/>
                  </a:cubicBezTo>
                  <a:cubicBezTo>
                    <a:pt x="2129" y="846"/>
                    <a:pt x="2129" y="846"/>
                    <a:pt x="2129" y="846"/>
                  </a:cubicBezTo>
                  <a:cubicBezTo>
                    <a:pt x="2129" y="846"/>
                    <a:pt x="2129" y="846"/>
                    <a:pt x="2129" y="846"/>
                  </a:cubicBezTo>
                </a:path>
              </a:pathLst>
            </a:custGeom>
            <a:solidFill>
              <a:srgbClr val="FFFFFF">
                <a:alpha val="84000"/>
              </a:srgb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 name="Freeform 616">
              <a:extLst>
                <a:ext uri="{FF2B5EF4-FFF2-40B4-BE49-F238E27FC236}">
                  <a16:creationId xmlns:a16="http://schemas.microsoft.com/office/drawing/2014/main" id="{467CE06D-5FCA-481F-B076-27F41E9E2B81}"/>
                </a:ext>
              </a:extLst>
            </p:cNvPr>
            <p:cNvSpPr>
              <a:spLocks noEditPoints="1"/>
            </p:cNvSpPr>
            <p:nvPr/>
          </p:nvSpPr>
          <p:spPr bwMode="auto">
            <a:xfrm>
              <a:off x="6874815" y="5833323"/>
              <a:ext cx="4099388" cy="1840756"/>
            </a:xfrm>
            <a:custGeom>
              <a:avLst/>
              <a:gdLst>
                <a:gd name="T0" fmla="*/ 552 w 1486"/>
                <a:gd name="T1" fmla="*/ 119 h 667"/>
                <a:gd name="T2" fmla="*/ 552 w 1486"/>
                <a:gd name="T3" fmla="*/ 118 h 667"/>
                <a:gd name="T4" fmla="*/ 568 w 1486"/>
                <a:gd name="T5" fmla="*/ 121 h 667"/>
                <a:gd name="T6" fmla="*/ 519 w 1486"/>
                <a:gd name="T7" fmla="*/ 116 h 667"/>
                <a:gd name="T8" fmla="*/ 485 w 1486"/>
                <a:gd name="T9" fmla="*/ 110 h 667"/>
                <a:gd name="T10" fmla="*/ 487 w 1486"/>
                <a:gd name="T11" fmla="*/ 109 h 667"/>
                <a:gd name="T12" fmla="*/ 519 w 1486"/>
                <a:gd name="T13" fmla="*/ 113 h 667"/>
                <a:gd name="T14" fmla="*/ 519 w 1486"/>
                <a:gd name="T15" fmla="*/ 116 h 667"/>
                <a:gd name="T16" fmla="*/ 455 w 1486"/>
                <a:gd name="T17" fmla="*/ 109 h 667"/>
                <a:gd name="T18" fmla="*/ 420 w 1486"/>
                <a:gd name="T19" fmla="*/ 103 h 667"/>
                <a:gd name="T20" fmla="*/ 423 w 1486"/>
                <a:gd name="T21" fmla="*/ 100 h 667"/>
                <a:gd name="T22" fmla="*/ 455 w 1486"/>
                <a:gd name="T23" fmla="*/ 104 h 667"/>
                <a:gd name="T24" fmla="*/ 455 w 1486"/>
                <a:gd name="T25" fmla="*/ 109 h 667"/>
                <a:gd name="T26" fmla="*/ 390 w 1486"/>
                <a:gd name="T27" fmla="*/ 103 h 667"/>
                <a:gd name="T28" fmla="*/ 355 w 1486"/>
                <a:gd name="T29" fmla="*/ 96 h 667"/>
                <a:gd name="T30" fmla="*/ 359 w 1486"/>
                <a:gd name="T31" fmla="*/ 93 h 667"/>
                <a:gd name="T32" fmla="*/ 391 w 1486"/>
                <a:gd name="T33" fmla="*/ 96 h 667"/>
                <a:gd name="T34" fmla="*/ 391 w 1486"/>
                <a:gd name="T35" fmla="*/ 103 h 667"/>
                <a:gd name="T36" fmla="*/ 326 w 1486"/>
                <a:gd name="T37" fmla="*/ 99 h 667"/>
                <a:gd name="T38" fmla="*/ 289 w 1486"/>
                <a:gd name="T39" fmla="*/ 91 h 667"/>
                <a:gd name="T40" fmla="*/ 294 w 1486"/>
                <a:gd name="T41" fmla="*/ 87 h 667"/>
                <a:gd name="T42" fmla="*/ 327 w 1486"/>
                <a:gd name="T43" fmla="*/ 90 h 667"/>
                <a:gd name="T44" fmla="*/ 326 w 1486"/>
                <a:gd name="T45" fmla="*/ 99 h 667"/>
                <a:gd name="T46" fmla="*/ 262 w 1486"/>
                <a:gd name="T47" fmla="*/ 95 h 667"/>
                <a:gd name="T48" fmla="*/ 224 w 1486"/>
                <a:gd name="T49" fmla="*/ 88 h 667"/>
                <a:gd name="T50" fmla="*/ 230 w 1486"/>
                <a:gd name="T51" fmla="*/ 82 h 667"/>
                <a:gd name="T52" fmla="*/ 262 w 1486"/>
                <a:gd name="T53" fmla="*/ 84 h 667"/>
                <a:gd name="T54" fmla="*/ 262 w 1486"/>
                <a:gd name="T55" fmla="*/ 95 h 667"/>
                <a:gd name="T56" fmla="*/ 197 w 1486"/>
                <a:gd name="T57" fmla="*/ 93 h 667"/>
                <a:gd name="T58" fmla="*/ 158 w 1486"/>
                <a:gd name="T59" fmla="*/ 85 h 667"/>
                <a:gd name="T60" fmla="*/ 165 w 1486"/>
                <a:gd name="T61" fmla="*/ 79 h 667"/>
                <a:gd name="T62" fmla="*/ 197 w 1486"/>
                <a:gd name="T63" fmla="*/ 80 h 667"/>
                <a:gd name="T64" fmla="*/ 197 w 1486"/>
                <a:gd name="T65" fmla="*/ 93 h 667"/>
                <a:gd name="T66" fmla="*/ 133 w 1486"/>
                <a:gd name="T67" fmla="*/ 91 h 667"/>
                <a:gd name="T68" fmla="*/ 93 w 1486"/>
                <a:gd name="T69" fmla="*/ 84 h 667"/>
                <a:gd name="T70" fmla="*/ 100 w 1486"/>
                <a:gd name="T71" fmla="*/ 77 h 667"/>
                <a:gd name="T72" fmla="*/ 139 w 1486"/>
                <a:gd name="T73" fmla="*/ 85 h 667"/>
                <a:gd name="T74" fmla="*/ 36 w 1486"/>
                <a:gd name="T75" fmla="*/ 92 h 667"/>
                <a:gd name="T76" fmla="*/ 35 w 1486"/>
                <a:gd name="T77" fmla="*/ 77 h 667"/>
                <a:gd name="T78" fmla="*/ 68 w 1486"/>
                <a:gd name="T79" fmla="*/ 77 h 667"/>
                <a:gd name="T80" fmla="*/ 68 w 1486"/>
                <a:gd name="T81" fmla="*/ 91 h 667"/>
                <a:gd name="T82" fmla="*/ 36 w 1486"/>
                <a:gd name="T83" fmla="*/ 92 h 667"/>
                <a:gd name="T84" fmla="*/ 295 w 1486"/>
                <a:gd name="T85" fmla="*/ 19 h 667"/>
                <a:gd name="T86" fmla="*/ 701 w 1486"/>
                <a:gd name="T87" fmla="*/ 582 h 667"/>
                <a:gd name="T88" fmla="*/ 1450 w 1486"/>
                <a:gd name="T89" fmla="*/ 59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86" h="667">
                  <a:moveTo>
                    <a:pt x="568" y="121"/>
                  </a:moveTo>
                  <a:cubicBezTo>
                    <a:pt x="552" y="119"/>
                    <a:pt x="552" y="119"/>
                    <a:pt x="552" y="119"/>
                  </a:cubicBezTo>
                  <a:cubicBezTo>
                    <a:pt x="551" y="119"/>
                    <a:pt x="551" y="119"/>
                    <a:pt x="551" y="119"/>
                  </a:cubicBezTo>
                  <a:cubicBezTo>
                    <a:pt x="552" y="118"/>
                    <a:pt x="552" y="118"/>
                    <a:pt x="552" y="118"/>
                  </a:cubicBezTo>
                  <a:cubicBezTo>
                    <a:pt x="552" y="118"/>
                    <a:pt x="552" y="118"/>
                    <a:pt x="552" y="118"/>
                  </a:cubicBezTo>
                  <a:cubicBezTo>
                    <a:pt x="568" y="121"/>
                    <a:pt x="568" y="121"/>
                    <a:pt x="568" y="121"/>
                  </a:cubicBezTo>
                  <a:moveTo>
                    <a:pt x="519" y="116"/>
                  </a:moveTo>
                  <a:cubicBezTo>
                    <a:pt x="519" y="116"/>
                    <a:pt x="519" y="116"/>
                    <a:pt x="519" y="116"/>
                  </a:cubicBezTo>
                  <a:cubicBezTo>
                    <a:pt x="487" y="112"/>
                    <a:pt x="487" y="112"/>
                    <a:pt x="487" y="112"/>
                  </a:cubicBezTo>
                  <a:cubicBezTo>
                    <a:pt x="486" y="112"/>
                    <a:pt x="485" y="111"/>
                    <a:pt x="485" y="110"/>
                  </a:cubicBezTo>
                  <a:cubicBezTo>
                    <a:pt x="485" y="109"/>
                    <a:pt x="486" y="109"/>
                    <a:pt x="487" y="109"/>
                  </a:cubicBezTo>
                  <a:cubicBezTo>
                    <a:pt x="487" y="109"/>
                    <a:pt x="487" y="109"/>
                    <a:pt x="487" y="109"/>
                  </a:cubicBezTo>
                  <a:cubicBezTo>
                    <a:pt x="487" y="109"/>
                    <a:pt x="487" y="109"/>
                    <a:pt x="487" y="109"/>
                  </a:cubicBezTo>
                  <a:cubicBezTo>
                    <a:pt x="519" y="113"/>
                    <a:pt x="519" y="113"/>
                    <a:pt x="519" y="113"/>
                  </a:cubicBezTo>
                  <a:cubicBezTo>
                    <a:pt x="520" y="114"/>
                    <a:pt x="520" y="114"/>
                    <a:pt x="520" y="115"/>
                  </a:cubicBezTo>
                  <a:cubicBezTo>
                    <a:pt x="520" y="115"/>
                    <a:pt x="520" y="116"/>
                    <a:pt x="519" y="116"/>
                  </a:cubicBezTo>
                  <a:moveTo>
                    <a:pt x="455" y="109"/>
                  </a:moveTo>
                  <a:cubicBezTo>
                    <a:pt x="455" y="109"/>
                    <a:pt x="455" y="109"/>
                    <a:pt x="455" y="109"/>
                  </a:cubicBezTo>
                  <a:cubicBezTo>
                    <a:pt x="423" y="106"/>
                    <a:pt x="423" y="106"/>
                    <a:pt x="423" y="106"/>
                  </a:cubicBezTo>
                  <a:cubicBezTo>
                    <a:pt x="421" y="106"/>
                    <a:pt x="420" y="104"/>
                    <a:pt x="420" y="103"/>
                  </a:cubicBezTo>
                  <a:cubicBezTo>
                    <a:pt x="420" y="101"/>
                    <a:pt x="421" y="100"/>
                    <a:pt x="423" y="100"/>
                  </a:cubicBezTo>
                  <a:cubicBezTo>
                    <a:pt x="423" y="100"/>
                    <a:pt x="423" y="100"/>
                    <a:pt x="423" y="100"/>
                  </a:cubicBezTo>
                  <a:cubicBezTo>
                    <a:pt x="423" y="100"/>
                    <a:pt x="423" y="100"/>
                    <a:pt x="423" y="100"/>
                  </a:cubicBezTo>
                  <a:cubicBezTo>
                    <a:pt x="455" y="104"/>
                    <a:pt x="455" y="104"/>
                    <a:pt x="455" y="104"/>
                  </a:cubicBezTo>
                  <a:cubicBezTo>
                    <a:pt x="457" y="104"/>
                    <a:pt x="457" y="106"/>
                    <a:pt x="457" y="107"/>
                  </a:cubicBezTo>
                  <a:cubicBezTo>
                    <a:pt x="457" y="108"/>
                    <a:pt x="456" y="109"/>
                    <a:pt x="455" y="109"/>
                  </a:cubicBezTo>
                  <a:moveTo>
                    <a:pt x="391" y="103"/>
                  </a:moveTo>
                  <a:cubicBezTo>
                    <a:pt x="391" y="103"/>
                    <a:pt x="391" y="103"/>
                    <a:pt x="390" y="103"/>
                  </a:cubicBezTo>
                  <a:cubicBezTo>
                    <a:pt x="358" y="101"/>
                    <a:pt x="358" y="101"/>
                    <a:pt x="358" y="101"/>
                  </a:cubicBezTo>
                  <a:cubicBezTo>
                    <a:pt x="356" y="100"/>
                    <a:pt x="354" y="99"/>
                    <a:pt x="355" y="96"/>
                  </a:cubicBezTo>
                  <a:cubicBezTo>
                    <a:pt x="355" y="94"/>
                    <a:pt x="356" y="93"/>
                    <a:pt x="358" y="93"/>
                  </a:cubicBezTo>
                  <a:cubicBezTo>
                    <a:pt x="359" y="93"/>
                    <a:pt x="359" y="93"/>
                    <a:pt x="359" y="93"/>
                  </a:cubicBezTo>
                  <a:cubicBezTo>
                    <a:pt x="359" y="93"/>
                    <a:pt x="359" y="93"/>
                    <a:pt x="359" y="93"/>
                  </a:cubicBezTo>
                  <a:cubicBezTo>
                    <a:pt x="391" y="96"/>
                    <a:pt x="391" y="96"/>
                    <a:pt x="391" y="96"/>
                  </a:cubicBezTo>
                  <a:cubicBezTo>
                    <a:pt x="393" y="97"/>
                    <a:pt x="394" y="98"/>
                    <a:pt x="394" y="100"/>
                  </a:cubicBezTo>
                  <a:cubicBezTo>
                    <a:pt x="394" y="102"/>
                    <a:pt x="392" y="103"/>
                    <a:pt x="391" y="103"/>
                  </a:cubicBezTo>
                  <a:moveTo>
                    <a:pt x="326" y="99"/>
                  </a:moveTo>
                  <a:cubicBezTo>
                    <a:pt x="326" y="99"/>
                    <a:pt x="326" y="99"/>
                    <a:pt x="326" y="99"/>
                  </a:cubicBezTo>
                  <a:cubicBezTo>
                    <a:pt x="294" y="97"/>
                    <a:pt x="294" y="97"/>
                    <a:pt x="294" y="97"/>
                  </a:cubicBezTo>
                  <a:cubicBezTo>
                    <a:pt x="291" y="96"/>
                    <a:pt x="289" y="94"/>
                    <a:pt x="289" y="91"/>
                  </a:cubicBezTo>
                  <a:cubicBezTo>
                    <a:pt x="289" y="89"/>
                    <a:pt x="291" y="87"/>
                    <a:pt x="294" y="87"/>
                  </a:cubicBezTo>
                  <a:cubicBezTo>
                    <a:pt x="294" y="87"/>
                    <a:pt x="294" y="87"/>
                    <a:pt x="294" y="87"/>
                  </a:cubicBezTo>
                  <a:cubicBezTo>
                    <a:pt x="294" y="87"/>
                    <a:pt x="294" y="87"/>
                    <a:pt x="294" y="87"/>
                  </a:cubicBezTo>
                  <a:cubicBezTo>
                    <a:pt x="327" y="90"/>
                    <a:pt x="327" y="90"/>
                    <a:pt x="327" y="90"/>
                  </a:cubicBezTo>
                  <a:cubicBezTo>
                    <a:pt x="329" y="90"/>
                    <a:pt x="331" y="92"/>
                    <a:pt x="331" y="94"/>
                  </a:cubicBezTo>
                  <a:cubicBezTo>
                    <a:pt x="330" y="97"/>
                    <a:pt x="329" y="99"/>
                    <a:pt x="326" y="99"/>
                  </a:cubicBezTo>
                  <a:moveTo>
                    <a:pt x="262" y="95"/>
                  </a:moveTo>
                  <a:cubicBezTo>
                    <a:pt x="262" y="95"/>
                    <a:pt x="262" y="95"/>
                    <a:pt x="262" y="95"/>
                  </a:cubicBezTo>
                  <a:cubicBezTo>
                    <a:pt x="229" y="94"/>
                    <a:pt x="229" y="94"/>
                    <a:pt x="229" y="94"/>
                  </a:cubicBezTo>
                  <a:cubicBezTo>
                    <a:pt x="226" y="93"/>
                    <a:pt x="224" y="91"/>
                    <a:pt x="224" y="88"/>
                  </a:cubicBezTo>
                  <a:cubicBezTo>
                    <a:pt x="224" y="85"/>
                    <a:pt x="226" y="82"/>
                    <a:pt x="229" y="82"/>
                  </a:cubicBezTo>
                  <a:cubicBezTo>
                    <a:pt x="230" y="82"/>
                    <a:pt x="230" y="82"/>
                    <a:pt x="230" y="82"/>
                  </a:cubicBezTo>
                  <a:cubicBezTo>
                    <a:pt x="230" y="82"/>
                    <a:pt x="230" y="82"/>
                    <a:pt x="230" y="82"/>
                  </a:cubicBezTo>
                  <a:cubicBezTo>
                    <a:pt x="262" y="84"/>
                    <a:pt x="262" y="84"/>
                    <a:pt x="262" y="84"/>
                  </a:cubicBezTo>
                  <a:cubicBezTo>
                    <a:pt x="265" y="85"/>
                    <a:pt x="267" y="87"/>
                    <a:pt x="267" y="90"/>
                  </a:cubicBezTo>
                  <a:cubicBezTo>
                    <a:pt x="267" y="93"/>
                    <a:pt x="265" y="95"/>
                    <a:pt x="262" y="95"/>
                  </a:cubicBezTo>
                  <a:moveTo>
                    <a:pt x="197" y="93"/>
                  </a:moveTo>
                  <a:cubicBezTo>
                    <a:pt x="197" y="93"/>
                    <a:pt x="197" y="93"/>
                    <a:pt x="197" y="93"/>
                  </a:cubicBezTo>
                  <a:cubicBezTo>
                    <a:pt x="165" y="92"/>
                    <a:pt x="165" y="92"/>
                    <a:pt x="165" y="92"/>
                  </a:cubicBezTo>
                  <a:cubicBezTo>
                    <a:pt x="161" y="92"/>
                    <a:pt x="158" y="89"/>
                    <a:pt x="158" y="85"/>
                  </a:cubicBezTo>
                  <a:cubicBezTo>
                    <a:pt x="158" y="82"/>
                    <a:pt x="161" y="79"/>
                    <a:pt x="165" y="79"/>
                  </a:cubicBezTo>
                  <a:cubicBezTo>
                    <a:pt x="165" y="79"/>
                    <a:pt x="165" y="79"/>
                    <a:pt x="165" y="79"/>
                  </a:cubicBezTo>
                  <a:cubicBezTo>
                    <a:pt x="165" y="79"/>
                    <a:pt x="165" y="79"/>
                    <a:pt x="165" y="79"/>
                  </a:cubicBezTo>
                  <a:cubicBezTo>
                    <a:pt x="197" y="80"/>
                    <a:pt x="197" y="80"/>
                    <a:pt x="197" y="80"/>
                  </a:cubicBezTo>
                  <a:cubicBezTo>
                    <a:pt x="201" y="81"/>
                    <a:pt x="203" y="83"/>
                    <a:pt x="203" y="87"/>
                  </a:cubicBezTo>
                  <a:cubicBezTo>
                    <a:pt x="203" y="90"/>
                    <a:pt x="200" y="93"/>
                    <a:pt x="197" y="93"/>
                  </a:cubicBezTo>
                  <a:moveTo>
                    <a:pt x="133" y="91"/>
                  </a:moveTo>
                  <a:cubicBezTo>
                    <a:pt x="133" y="91"/>
                    <a:pt x="133" y="91"/>
                    <a:pt x="133" y="91"/>
                  </a:cubicBezTo>
                  <a:cubicBezTo>
                    <a:pt x="100" y="91"/>
                    <a:pt x="100" y="91"/>
                    <a:pt x="100" y="91"/>
                  </a:cubicBezTo>
                  <a:cubicBezTo>
                    <a:pt x="96" y="91"/>
                    <a:pt x="93" y="88"/>
                    <a:pt x="93" y="84"/>
                  </a:cubicBezTo>
                  <a:cubicBezTo>
                    <a:pt x="93" y="80"/>
                    <a:pt x="96" y="77"/>
                    <a:pt x="100" y="77"/>
                  </a:cubicBezTo>
                  <a:cubicBezTo>
                    <a:pt x="100" y="77"/>
                    <a:pt x="100" y="77"/>
                    <a:pt x="100" y="77"/>
                  </a:cubicBezTo>
                  <a:cubicBezTo>
                    <a:pt x="133" y="78"/>
                    <a:pt x="133" y="78"/>
                    <a:pt x="133" y="78"/>
                  </a:cubicBezTo>
                  <a:cubicBezTo>
                    <a:pt x="136" y="78"/>
                    <a:pt x="139" y="81"/>
                    <a:pt x="139" y="85"/>
                  </a:cubicBezTo>
                  <a:cubicBezTo>
                    <a:pt x="139" y="89"/>
                    <a:pt x="136" y="91"/>
                    <a:pt x="133" y="91"/>
                  </a:cubicBezTo>
                  <a:moveTo>
                    <a:pt x="36" y="92"/>
                  </a:moveTo>
                  <a:cubicBezTo>
                    <a:pt x="31" y="92"/>
                    <a:pt x="28" y="89"/>
                    <a:pt x="28" y="85"/>
                  </a:cubicBezTo>
                  <a:cubicBezTo>
                    <a:pt x="28" y="81"/>
                    <a:pt x="31" y="77"/>
                    <a:pt x="35" y="77"/>
                  </a:cubicBezTo>
                  <a:cubicBezTo>
                    <a:pt x="36" y="77"/>
                    <a:pt x="36" y="77"/>
                    <a:pt x="36" y="77"/>
                  </a:cubicBezTo>
                  <a:cubicBezTo>
                    <a:pt x="68" y="77"/>
                    <a:pt x="68" y="77"/>
                    <a:pt x="68" y="77"/>
                  </a:cubicBezTo>
                  <a:cubicBezTo>
                    <a:pt x="72" y="77"/>
                    <a:pt x="75" y="80"/>
                    <a:pt x="75" y="84"/>
                  </a:cubicBezTo>
                  <a:cubicBezTo>
                    <a:pt x="75" y="88"/>
                    <a:pt x="72" y="91"/>
                    <a:pt x="68" y="91"/>
                  </a:cubicBezTo>
                  <a:cubicBezTo>
                    <a:pt x="36" y="92"/>
                    <a:pt x="36" y="92"/>
                    <a:pt x="36" y="92"/>
                  </a:cubicBezTo>
                  <a:cubicBezTo>
                    <a:pt x="36" y="92"/>
                    <a:pt x="36" y="92"/>
                    <a:pt x="36" y="92"/>
                  </a:cubicBezTo>
                  <a:moveTo>
                    <a:pt x="299" y="19"/>
                  </a:moveTo>
                  <a:cubicBezTo>
                    <a:pt x="298" y="19"/>
                    <a:pt x="296" y="19"/>
                    <a:pt x="295" y="19"/>
                  </a:cubicBezTo>
                  <a:cubicBezTo>
                    <a:pt x="143" y="33"/>
                    <a:pt x="31" y="0"/>
                    <a:pt x="20" y="88"/>
                  </a:cubicBezTo>
                  <a:cubicBezTo>
                    <a:pt x="0" y="235"/>
                    <a:pt x="382" y="507"/>
                    <a:pt x="701" y="582"/>
                  </a:cubicBezTo>
                  <a:cubicBezTo>
                    <a:pt x="890" y="626"/>
                    <a:pt x="1148" y="667"/>
                    <a:pt x="1309" y="667"/>
                  </a:cubicBezTo>
                  <a:cubicBezTo>
                    <a:pt x="1420" y="667"/>
                    <a:pt x="1486" y="647"/>
                    <a:pt x="1450" y="596"/>
                  </a:cubicBezTo>
                  <a:cubicBezTo>
                    <a:pt x="1304" y="385"/>
                    <a:pt x="416" y="19"/>
                    <a:pt x="299" y="19"/>
                  </a:cubicBezTo>
                </a:path>
              </a:pathLst>
            </a:custGeom>
            <a:solidFill>
              <a:schemeClr val="tx2"/>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 name="Freeform 617">
              <a:extLst>
                <a:ext uri="{FF2B5EF4-FFF2-40B4-BE49-F238E27FC236}">
                  <a16:creationId xmlns:a16="http://schemas.microsoft.com/office/drawing/2014/main" id="{05B3EDC8-C25A-482A-88D4-F2DD67FBC518}"/>
                </a:ext>
              </a:extLst>
            </p:cNvPr>
            <p:cNvSpPr>
              <a:spLocks noEditPoints="1"/>
            </p:cNvSpPr>
            <p:nvPr/>
          </p:nvSpPr>
          <p:spPr bwMode="auto">
            <a:xfrm>
              <a:off x="3138444" y="5338409"/>
              <a:ext cx="6911297" cy="2528267"/>
            </a:xfrm>
            <a:custGeom>
              <a:avLst/>
              <a:gdLst>
                <a:gd name="T0" fmla="*/ 0 w 2505"/>
                <a:gd name="T1" fmla="*/ 3 h 916"/>
                <a:gd name="T2" fmla="*/ 81 w 2505"/>
                <a:gd name="T3" fmla="*/ 0 h 916"/>
                <a:gd name="T4" fmla="*/ 146 w 2505"/>
                <a:gd name="T5" fmla="*/ 6 h 916"/>
                <a:gd name="T6" fmla="*/ 178 w 2505"/>
                <a:gd name="T7" fmla="*/ 6 h 916"/>
                <a:gd name="T8" fmla="*/ 176 w 2505"/>
                <a:gd name="T9" fmla="*/ 3 h 916"/>
                <a:gd name="T10" fmla="*/ 276 w 2505"/>
                <a:gd name="T11" fmla="*/ 5 h 916"/>
                <a:gd name="T12" fmla="*/ 340 w 2505"/>
                <a:gd name="T13" fmla="*/ 18 h 916"/>
                <a:gd name="T14" fmla="*/ 372 w 2505"/>
                <a:gd name="T15" fmla="*/ 21 h 916"/>
                <a:gd name="T16" fmla="*/ 368 w 2505"/>
                <a:gd name="T17" fmla="*/ 15 h 916"/>
                <a:gd name="T18" fmla="*/ 470 w 2505"/>
                <a:gd name="T19" fmla="*/ 20 h 916"/>
                <a:gd name="T20" fmla="*/ 534 w 2505"/>
                <a:gd name="T21" fmla="*/ 40 h 916"/>
                <a:gd name="T22" fmla="*/ 565 w 2505"/>
                <a:gd name="T23" fmla="*/ 45 h 916"/>
                <a:gd name="T24" fmla="*/ 560 w 2505"/>
                <a:gd name="T25" fmla="*/ 37 h 916"/>
                <a:gd name="T26" fmla="*/ 664 w 2505"/>
                <a:gd name="T27" fmla="*/ 46 h 916"/>
                <a:gd name="T28" fmla="*/ 726 w 2505"/>
                <a:gd name="T29" fmla="*/ 71 h 916"/>
                <a:gd name="T30" fmla="*/ 757 w 2505"/>
                <a:gd name="T31" fmla="*/ 78 h 916"/>
                <a:gd name="T32" fmla="*/ 751 w 2505"/>
                <a:gd name="T33" fmla="*/ 68 h 916"/>
                <a:gd name="T34" fmla="*/ 856 w 2505"/>
                <a:gd name="T35" fmla="*/ 81 h 916"/>
                <a:gd name="T36" fmla="*/ 916 w 2505"/>
                <a:gd name="T37" fmla="*/ 111 h 916"/>
                <a:gd name="T38" fmla="*/ 947 w 2505"/>
                <a:gd name="T39" fmla="*/ 119 h 916"/>
                <a:gd name="T40" fmla="*/ 941 w 2505"/>
                <a:gd name="T41" fmla="*/ 108 h 916"/>
                <a:gd name="T42" fmla="*/ 1046 w 2505"/>
                <a:gd name="T43" fmla="*/ 125 h 916"/>
                <a:gd name="T44" fmla="*/ 1104 w 2505"/>
                <a:gd name="T45" fmla="*/ 160 h 916"/>
                <a:gd name="T46" fmla="*/ 1135 w 2505"/>
                <a:gd name="T47" fmla="*/ 169 h 916"/>
                <a:gd name="T48" fmla="*/ 1129 w 2505"/>
                <a:gd name="T49" fmla="*/ 158 h 916"/>
                <a:gd name="T50" fmla="*/ 1234 w 2505"/>
                <a:gd name="T51" fmla="*/ 180 h 916"/>
                <a:gd name="T52" fmla="*/ 1290 w 2505"/>
                <a:gd name="T53" fmla="*/ 218 h 916"/>
                <a:gd name="T54" fmla="*/ 1320 w 2505"/>
                <a:gd name="T55" fmla="*/ 229 h 916"/>
                <a:gd name="T56" fmla="*/ 1314 w 2505"/>
                <a:gd name="T57" fmla="*/ 217 h 916"/>
                <a:gd name="T58" fmla="*/ 1418 w 2505"/>
                <a:gd name="T59" fmla="*/ 244 h 916"/>
                <a:gd name="T60" fmla="*/ 1484 w 2505"/>
                <a:gd name="T61" fmla="*/ 280 h 916"/>
                <a:gd name="T62" fmla="*/ 1532 w 2505"/>
                <a:gd name="T63" fmla="*/ 310 h 916"/>
                <a:gd name="T64" fmla="*/ 1562 w 2505"/>
                <a:gd name="T65" fmla="*/ 322 h 916"/>
                <a:gd name="T66" fmla="*/ 1617 w 2505"/>
                <a:gd name="T67" fmla="*/ 336 h 916"/>
                <a:gd name="T68" fmla="*/ 1688 w 2505"/>
                <a:gd name="T69" fmla="*/ 359 h 916"/>
                <a:gd name="T70" fmla="*/ 1688 w 2505"/>
                <a:gd name="T71" fmla="*/ 359 h 916"/>
                <a:gd name="T72" fmla="*/ 1776 w 2505"/>
                <a:gd name="T73" fmla="*/ 402 h 916"/>
                <a:gd name="T74" fmla="*/ 1837 w 2505"/>
                <a:gd name="T75" fmla="*/ 444 h 916"/>
                <a:gd name="T76" fmla="*/ 1883 w 2505"/>
                <a:gd name="T77" fmla="*/ 478 h 916"/>
                <a:gd name="T78" fmla="*/ 1911 w 2505"/>
                <a:gd name="T79" fmla="*/ 494 h 916"/>
                <a:gd name="T80" fmla="*/ 1965 w 2505"/>
                <a:gd name="T81" fmla="*/ 516 h 916"/>
                <a:gd name="T82" fmla="*/ 2030 w 2505"/>
                <a:gd name="T83" fmla="*/ 547 h 916"/>
                <a:gd name="T84" fmla="*/ 2030 w 2505"/>
                <a:gd name="T85" fmla="*/ 547 h 916"/>
                <a:gd name="T86" fmla="*/ 2112 w 2505"/>
                <a:gd name="T87" fmla="*/ 601 h 916"/>
                <a:gd name="T88" fmla="*/ 2167 w 2505"/>
                <a:gd name="T89" fmla="*/ 646 h 916"/>
                <a:gd name="T90" fmla="*/ 2213 w 2505"/>
                <a:gd name="T91" fmla="*/ 684 h 916"/>
                <a:gd name="T92" fmla="*/ 2239 w 2505"/>
                <a:gd name="T93" fmla="*/ 703 h 916"/>
                <a:gd name="T94" fmla="*/ 2296 w 2505"/>
                <a:gd name="T95" fmla="*/ 735 h 916"/>
                <a:gd name="T96" fmla="*/ 2296 w 2505"/>
                <a:gd name="T97" fmla="*/ 735 h 916"/>
                <a:gd name="T98" fmla="*/ 2372 w 2505"/>
                <a:gd name="T99" fmla="*/ 797 h 916"/>
                <a:gd name="T100" fmla="*/ 2421 w 2505"/>
                <a:gd name="T101" fmla="*/ 842 h 916"/>
                <a:gd name="T102" fmla="*/ 2468 w 2505"/>
                <a:gd name="T103" fmla="*/ 884 h 916"/>
                <a:gd name="T104" fmla="*/ 2493 w 2505"/>
                <a:gd name="T105" fmla="*/ 90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05" h="916">
                  <a:moveTo>
                    <a:pt x="0" y="3"/>
                  </a:moveTo>
                  <a:cubicBezTo>
                    <a:pt x="16" y="2"/>
                    <a:pt x="16" y="2"/>
                    <a:pt x="16" y="2"/>
                  </a:cubicBezTo>
                  <a:cubicBezTo>
                    <a:pt x="16" y="3"/>
                    <a:pt x="16" y="3"/>
                    <a:pt x="16" y="3"/>
                  </a:cubicBezTo>
                  <a:cubicBezTo>
                    <a:pt x="16" y="3"/>
                    <a:pt x="16" y="3"/>
                    <a:pt x="16" y="3"/>
                  </a:cubicBezTo>
                  <a:cubicBezTo>
                    <a:pt x="16" y="3"/>
                    <a:pt x="16" y="3"/>
                    <a:pt x="16" y="3"/>
                  </a:cubicBezTo>
                  <a:lnTo>
                    <a:pt x="0" y="3"/>
                  </a:lnTo>
                  <a:close/>
                  <a:moveTo>
                    <a:pt x="48" y="2"/>
                  </a:moveTo>
                  <a:cubicBezTo>
                    <a:pt x="48" y="2"/>
                    <a:pt x="48" y="3"/>
                    <a:pt x="48" y="3"/>
                  </a:cubicBezTo>
                  <a:cubicBezTo>
                    <a:pt x="81" y="3"/>
                    <a:pt x="81" y="3"/>
                    <a:pt x="81" y="3"/>
                  </a:cubicBezTo>
                  <a:cubicBezTo>
                    <a:pt x="81" y="3"/>
                    <a:pt x="81" y="3"/>
                    <a:pt x="81" y="3"/>
                  </a:cubicBezTo>
                  <a:cubicBezTo>
                    <a:pt x="82" y="3"/>
                    <a:pt x="82" y="2"/>
                    <a:pt x="82" y="2"/>
                  </a:cubicBezTo>
                  <a:cubicBezTo>
                    <a:pt x="82" y="1"/>
                    <a:pt x="82" y="0"/>
                    <a:pt x="81" y="0"/>
                  </a:cubicBezTo>
                  <a:cubicBezTo>
                    <a:pt x="48" y="1"/>
                    <a:pt x="48" y="1"/>
                    <a:pt x="48" y="1"/>
                  </a:cubicBezTo>
                  <a:cubicBezTo>
                    <a:pt x="48" y="1"/>
                    <a:pt x="48" y="1"/>
                    <a:pt x="48" y="2"/>
                  </a:cubicBezTo>
                  <a:close/>
                  <a:moveTo>
                    <a:pt x="112" y="2"/>
                  </a:moveTo>
                  <a:cubicBezTo>
                    <a:pt x="111" y="3"/>
                    <a:pt x="112" y="4"/>
                    <a:pt x="113" y="4"/>
                  </a:cubicBezTo>
                  <a:cubicBezTo>
                    <a:pt x="146" y="6"/>
                    <a:pt x="146" y="6"/>
                    <a:pt x="146" y="6"/>
                  </a:cubicBezTo>
                  <a:cubicBezTo>
                    <a:pt x="146" y="6"/>
                    <a:pt x="146" y="6"/>
                    <a:pt x="146" y="6"/>
                  </a:cubicBezTo>
                  <a:cubicBezTo>
                    <a:pt x="147" y="6"/>
                    <a:pt x="148" y="4"/>
                    <a:pt x="148" y="3"/>
                  </a:cubicBezTo>
                  <a:cubicBezTo>
                    <a:pt x="148" y="2"/>
                    <a:pt x="147" y="0"/>
                    <a:pt x="146" y="0"/>
                  </a:cubicBezTo>
                  <a:cubicBezTo>
                    <a:pt x="113" y="0"/>
                    <a:pt x="113" y="0"/>
                    <a:pt x="113" y="0"/>
                  </a:cubicBezTo>
                  <a:cubicBezTo>
                    <a:pt x="112" y="0"/>
                    <a:pt x="112" y="1"/>
                    <a:pt x="112" y="2"/>
                  </a:cubicBezTo>
                  <a:close/>
                  <a:moveTo>
                    <a:pt x="176" y="3"/>
                  </a:moveTo>
                  <a:cubicBezTo>
                    <a:pt x="176" y="5"/>
                    <a:pt x="177" y="6"/>
                    <a:pt x="178" y="6"/>
                  </a:cubicBezTo>
                  <a:cubicBezTo>
                    <a:pt x="211" y="8"/>
                    <a:pt x="211" y="8"/>
                    <a:pt x="211" y="8"/>
                  </a:cubicBezTo>
                  <a:cubicBezTo>
                    <a:pt x="211" y="8"/>
                    <a:pt x="211" y="8"/>
                    <a:pt x="211" y="8"/>
                  </a:cubicBezTo>
                  <a:cubicBezTo>
                    <a:pt x="212" y="8"/>
                    <a:pt x="214" y="7"/>
                    <a:pt x="214" y="5"/>
                  </a:cubicBezTo>
                  <a:cubicBezTo>
                    <a:pt x="214" y="3"/>
                    <a:pt x="213" y="2"/>
                    <a:pt x="211" y="2"/>
                  </a:cubicBezTo>
                  <a:cubicBezTo>
                    <a:pt x="178" y="1"/>
                    <a:pt x="178" y="1"/>
                    <a:pt x="178" y="1"/>
                  </a:cubicBezTo>
                  <a:cubicBezTo>
                    <a:pt x="177" y="1"/>
                    <a:pt x="176" y="2"/>
                    <a:pt x="176" y="3"/>
                  </a:cubicBezTo>
                  <a:close/>
                  <a:moveTo>
                    <a:pt x="240" y="6"/>
                  </a:moveTo>
                  <a:cubicBezTo>
                    <a:pt x="240" y="8"/>
                    <a:pt x="241" y="10"/>
                    <a:pt x="243" y="10"/>
                  </a:cubicBezTo>
                  <a:cubicBezTo>
                    <a:pt x="275" y="12"/>
                    <a:pt x="275" y="12"/>
                    <a:pt x="275" y="12"/>
                  </a:cubicBezTo>
                  <a:cubicBezTo>
                    <a:pt x="275" y="12"/>
                    <a:pt x="275" y="12"/>
                    <a:pt x="275" y="12"/>
                  </a:cubicBezTo>
                  <a:cubicBezTo>
                    <a:pt x="278" y="12"/>
                    <a:pt x="279" y="11"/>
                    <a:pt x="279" y="9"/>
                  </a:cubicBezTo>
                  <a:cubicBezTo>
                    <a:pt x="280" y="6"/>
                    <a:pt x="278" y="5"/>
                    <a:pt x="276" y="5"/>
                  </a:cubicBezTo>
                  <a:cubicBezTo>
                    <a:pt x="243" y="3"/>
                    <a:pt x="243" y="3"/>
                    <a:pt x="243" y="3"/>
                  </a:cubicBezTo>
                  <a:cubicBezTo>
                    <a:pt x="242" y="3"/>
                    <a:pt x="240" y="4"/>
                    <a:pt x="240" y="6"/>
                  </a:cubicBezTo>
                  <a:close/>
                  <a:moveTo>
                    <a:pt x="304" y="10"/>
                  </a:moveTo>
                  <a:cubicBezTo>
                    <a:pt x="304" y="13"/>
                    <a:pt x="305" y="15"/>
                    <a:pt x="308" y="15"/>
                  </a:cubicBezTo>
                  <a:cubicBezTo>
                    <a:pt x="340" y="18"/>
                    <a:pt x="340" y="18"/>
                    <a:pt x="340" y="18"/>
                  </a:cubicBezTo>
                  <a:cubicBezTo>
                    <a:pt x="340" y="18"/>
                    <a:pt x="340" y="18"/>
                    <a:pt x="340" y="18"/>
                  </a:cubicBezTo>
                  <a:cubicBezTo>
                    <a:pt x="343" y="18"/>
                    <a:pt x="345" y="16"/>
                    <a:pt x="345" y="13"/>
                  </a:cubicBezTo>
                  <a:cubicBezTo>
                    <a:pt x="345" y="11"/>
                    <a:pt x="343" y="9"/>
                    <a:pt x="341" y="8"/>
                  </a:cubicBezTo>
                  <a:cubicBezTo>
                    <a:pt x="308" y="6"/>
                    <a:pt x="308" y="6"/>
                    <a:pt x="308" y="6"/>
                  </a:cubicBezTo>
                  <a:cubicBezTo>
                    <a:pt x="306" y="6"/>
                    <a:pt x="304" y="8"/>
                    <a:pt x="304" y="10"/>
                  </a:cubicBezTo>
                  <a:close/>
                  <a:moveTo>
                    <a:pt x="368" y="15"/>
                  </a:moveTo>
                  <a:cubicBezTo>
                    <a:pt x="368" y="18"/>
                    <a:pt x="370" y="21"/>
                    <a:pt x="372" y="21"/>
                  </a:cubicBezTo>
                  <a:cubicBezTo>
                    <a:pt x="405" y="24"/>
                    <a:pt x="405" y="24"/>
                    <a:pt x="405" y="24"/>
                  </a:cubicBezTo>
                  <a:cubicBezTo>
                    <a:pt x="405" y="24"/>
                    <a:pt x="405" y="24"/>
                    <a:pt x="405" y="24"/>
                  </a:cubicBezTo>
                  <a:cubicBezTo>
                    <a:pt x="408" y="24"/>
                    <a:pt x="410" y="22"/>
                    <a:pt x="410" y="19"/>
                  </a:cubicBezTo>
                  <a:cubicBezTo>
                    <a:pt x="411" y="16"/>
                    <a:pt x="409" y="14"/>
                    <a:pt x="406" y="14"/>
                  </a:cubicBezTo>
                  <a:cubicBezTo>
                    <a:pt x="373" y="11"/>
                    <a:pt x="373" y="11"/>
                    <a:pt x="373" y="11"/>
                  </a:cubicBezTo>
                  <a:cubicBezTo>
                    <a:pt x="371" y="11"/>
                    <a:pt x="368" y="13"/>
                    <a:pt x="368" y="15"/>
                  </a:cubicBezTo>
                  <a:close/>
                  <a:moveTo>
                    <a:pt x="432" y="22"/>
                  </a:moveTo>
                  <a:cubicBezTo>
                    <a:pt x="432" y="25"/>
                    <a:pt x="434" y="27"/>
                    <a:pt x="437" y="28"/>
                  </a:cubicBezTo>
                  <a:cubicBezTo>
                    <a:pt x="469" y="32"/>
                    <a:pt x="469" y="32"/>
                    <a:pt x="469" y="32"/>
                  </a:cubicBezTo>
                  <a:cubicBezTo>
                    <a:pt x="469" y="32"/>
                    <a:pt x="469" y="32"/>
                    <a:pt x="469" y="32"/>
                  </a:cubicBezTo>
                  <a:cubicBezTo>
                    <a:pt x="472" y="32"/>
                    <a:pt x="475" y="30"/>
                    <a:pt x="476" y="26"/>
                  </a:cubicBezTo>
                  <a:cubicBezTo>
                    <a:pt x="476" y="23"/>
                    <a:pt x="474" y="20"/>
                    <a:pt x="470" y="20"/>
                  </a:cubicBezTo>
                  <a:cubicBezTo>
                    <a:pt x="438" y="17"/>
                    <a:pt x="438" y="17"/>
                    <a:pt x="438" y="17"/>
                  </a:cubicBezTo>
                  <a:cubicBezTo>
                    <a:pt x="435" y="16"/>
                    <a:pt x="432" y="19"/>
                    <a:pt x="432" y="22"/>
                  </a:cubicBezTo>
                  <a:close/>
                  <a:moveTo>
                    <a:pt x="496" y="29"/>
                  </a:moveTo>
                  <a:cubicBezTo>
                    <a:pt x="495" y="32"/>
                    <a:pt x="498" y="35"/>
                    <a:pt x="501" y="36"/>
                  </a:cubicBezTo>
                  <a:cubicBezTo>
                    <a:pt x="533" y="40"/>
                    <a:pt x="533" y="40"/>
                    <a:pt x="533" y="40"/>
                  </a:cubicBezTo>
                  <a:cubicBezTo>
                    <a:pt x="534" y="40"/>
                    <a:pt x="534" y="40"/>
                    <a:pt x="534" y="40"/>
                  </a:cubicBezTo>
                  <a:cubicBezTo>
                    <a:pt x="537" y="41"/>
                    <a:pt x="540" y="38"/>
                    <a:pt x="541" y="35"/>
                  </a:cubicBezTo>
                  <a:cubicBezTo>
                    <a:pt x="541" y="31"/>
                    <a:pt x="539" y="28"/>
                    <a:pt x="535" y="27"/>
                  </a:cubicBezTo>
                  <a:cubicBezTo>
                    <a:pt x="503" y="24"/>
                    <a:pt x="503" y="24"/>
                    <a:pt x="503" y="24"/>
                  </a:cubicBezTo>
                  <a:cubicBezTo>
                    <a:pt x="499" y="23"/>
                    <a:pt x="496" y="25"/>
                    <a:pt x="496" y="29"/>
                  </a:cubicBezTo>
                  <a:close/>
                  <a:moveTo>
                    <a:pt x="560" y="37"/>
                  </a:moveTo>
                  <a:cubicBezTo>
                    <a:pt x="559" y="41"/>
                    <a:pt x="562" y="44"/>
                    <a:pt x="565" y="45"/>
                  </a:cubicBezTo>
                  <a:cubicBezTo>
                    <a:pt x="598" y="50"/>
                    <a:pt x="598" y="50"/>
                    <a:pt x="598" y="50"/>
                  </a:cubicBezTo>
                  <a:cubicBezTo>
                    <a:pt x="598" y="50"/>
                    <a:pt x="598" y="50"/>
                    <a:pt x="598" y="50"/>
                  </a:cubicBezTo>
                  <a:cubicBezTo>
                    <a:pt x="601" y="50"/>
                    <a:pt x="605" y="47"/>
                    <a:pt x="605" y="44"/>
                  </a:cubicBezTo>
                  <a:cubicBezTo>
                    <a:pt x="606" y="40"/>
                    <a:pt x="603" y="36"/>
                    <a:pt x="600" y="36"/>
                  </a:cubicBezTo>
                  <a:cubicBezTo>
                    <a:pt x="567" y="32"/>
                    <a:pt x="567" y="32"/>
                    <a:pt x="567" y="32"/>
                  </a:cubicBezTo>
                  <a:cubicBezTo>
                    <a:pt x="564" y="31"/>
                    <a:pt x="560" y="34"/>
                    <a:pt x="560" y="37"/>
                  </a:cubicBezTo>
                  <a:close/>
                  <a:moveTo>
                    <a:pt x="624" y="46"/>
                  </a:moveTo>
                  <a:cubicBezTo>
                    <a:pt x="623" y="50"/>
                    <a:pt x="626" y="54"/>
                    <a:pt x="630" y="55"/>
                  </a:cubicBezTo>
                  <a:cubicBezTo>
                    <a:pt x="662" y="60"/>
                    <a:pt x="662" y="60"/>
                    <a:pt x="662" y="60"/>
                  </a:cubicBezTo>
                  <a:cubicBezTo>
                    <a:pt x="662" y="60"/>
                    <a:pt x="662" y="60"/>
                    <a:pt x="662" y="60"/>
                  </a:cubicBezTo>
                  <a:cubicBezTo>
                    <a:pt x="666" y="61"/>
                    <a:pt x="669" y="58"/>
                    <a:pt x="670" y="54"/>
                  </a:cubicBezTo>
                  <a:cubicBezTo>
                    <a:pt x="671" y="50"/>
                    <a:pt x="668" y="46"/>
                    <a:pt x="664" y="46"/>
                  </a:cubicBezTo>
                  <a:cubicBezTo>
                    <a:pt x="632" y="41"/>
                    <a:pt x="632" y="41"/>
                    <a:pt x="632" y="41"/>
                  </a:cubicBezTo>
                  <a:cubicBezTo>
                    <a:pt x="628" y="40"/>
                    <a:pt x="624" y="43"/>
                    <a:pt x="624" y="46"/>
                  </a:cubicBezTo>
                  <a:close/>
                  <a:moveTo>
                    <a:pt x="687" y="57"/>
                  </a:moveTo>
                  <a:cubicBezTo>
                    <a:pt x="687" y="61"/>
                    <a:pt x="689" y="65"/>
                    <a:pt x="693" y="66"/>
                  </a:cubicBezTo>
                  <a:cubicBezTo>
                    <a:pt x="725" y="71"/>
                    <a:pt x="725" y="71"/>
                    <a:pt x="725" y="71"/>
                  </a:cubicBezTo>
                  <a:cubicBezTo>
                    <a:pt x="726" y="71"/>
                    <a:pt x="726" y="71"/>
                    <a:pt x="726" y="71"/>
                  </a:cubicBezTo>
                  <a:cubicBezTo>
                    <a:pt x="730" y="72"/>
                    <a:pt x="734" y="69"/>
                    <a:pt x="734" y="65"/>
                  </a:cubicBezTo>
                  <a:cubicBezTo>
                    <a:pt x="735" y="61"/>
                    <a:pt x="732" y="57"/>
                    <a:pt x="728" y="56"/>
                  </a:cubicBezTo>
                  <a:cubicBezTo>
                    <a:pt x="696" y="51"/>
                    <a:pt x="696" y="51"/>
                    <a:pt x="696" y="51"/>
                  </a:cubicBezTo>
                  <a:cubicBezTo>
                    <a:pt x="692" y="50"/>
                    <a:pt x="688" y="53"/>
                    <a:pt x="687" y="57"/>
                  </a:cubicBezTo>
                  <a:close/>
                  <a:moveTo>
                    <a:pt x="751" y="68"/>
                  </a:moveTo>
                  <a:cubicBezTo>
                    <a:pt x="750" y="72"/>
                    <a:pt x="753" y="77"/>
                    <a:pt x="757" y="78"/>
                  </a:cubicBezTo>
                  <a:cubicBezTo>
                    <a:pt x="789" y="84"/>
                    <a:pt x="789" y="84"/>
                    <a:pt x="789" y="84"/>
                  </a:cubicBezTo>
                  <a:cubicBezTo>
                    <a:pt x="789" y="84"/>
                    <a:pt x="789" y="84"/>
                    <a:pt x="789" y="84"/>
                  </a:cubicBezTo>
                  <a:cubicBezTo>
                    <a:pt x="794" y="85"/>
                    <a:pt x="798" y="82"/>
                    <a:pt x="799" y="77"/>
                  </a:cubicBezTo>
                  <a:cubicBezTo>
                    <a:pt x="799" y="73"/>
                    <a:pt x="797" y="69"/>
                    <a:pt x="792" y="68"/>
                  </a:cubicBezTo>
                  <a:cubicBezTo>
                    <a:pt x="760" y="62"/>
                    <a:pt x="760" y="62"/>
                    <a:pt x="760" y="62"/>
                  </a:cubicBezTo>
                  <a:cubicBezTo>
                    <a:pt x="756" y="61"/>
                    <a:pt x="752" y="64"/>
                    <a:pt x="751" y="68"/>
                  </a:cubicBezTo>
                  <a:close/>
                  <a:moveTo>
                    <a:pt x="814" y="81"/>
                  </a:moveTo>
                  <a:cubicBezTo>
                    <a:pt x="814" y="85"/>
                    <a:pt x="816" y="89"/>
                    <a:pt x="821" y="90"/>
                  </a:cubicBezTo>
                  <a:cubicBezTo>
                    <a:pt x="853" y="97"/>
                    <a:pt x="853" y="97"/>
                    <a:pt x="853" y="97"/>
                  </a:cubicBezTo>
                  <a:cubicBezTo>
                    <a:pt x="853" y="97"/>
                    <a:pt x="853" y="97"/>
                    <a:pt x="853" y="97"/>
                  </a:cubicBezTo>
                  <a:cubicBezTo>
                    <a:pt x="857" y="98"/>
                    <a:pt x="862" y="95"/>
                    <a:pt x="863" y="91"/>
                  </a:cubicBezTo>
                  <a:cubicBezTo>
                    <a:pt x="863" y="86"/>
                    <a:pt x="861" y="82"/>
                    <a:pt x="856" y="81"/>
                  </a:cubicBezTo>
                  <a:cubicBezTo>
                    <a:pt x="824" y="74"/>
                    <a:pt x="824" y="74"/>
                    <a:pt x="824" y="74"/>
                  </a:cubicBezTo>
                  <a:cubicBezTo>
                    <a:pt x="820" y="73"/>
                    <a:pt x="815" y="76"/>
                    <a:pt x="814" y="81"/>
                  </a:cubicBezTo>
                  <a:close/>
                  <a:moveTo>
                    <a:pt x="878" y="94"/>
                  </a:moveTo>
                  <a:cubicBezTo>
                    <a:pt x="877" y="99"/>
                    <a:pt x="880" y="103"/>
                    <a:pt x="884" y="104"/>
                  </a:cubicBezTo>
                  <a:cubicBezTo>
                    <a:pt x="916" y="111"/>
                    <a:pt x="916" y="111"/>
                    <a:pt x="916" y="111"/>
                  </a:cubicBezTo>
                  <a:cubicBezTo>
                    <a:pt x="916" y="111"/>
                    <a:pt x="916" y="111"/>
                    <a:pt x="916" y="111"/>
                  </a:cubicBezTo>
                  <a:cubicBezTo>
                    <a:pt x="921" y="113"/>
                    <a:pt x="925" y="110"/>
                    <a:pt x="926" y="105"/>
                  </a:cubicBezTo>
                  <a:cubicBezTo>
                    <a:pt x="927" y="100"/>
                    <a:pt x="924" y="96"/>
                    <a:pt x="920" y="95"/>
                  </a:cubicBezTo>
                  <a:cubicBezTo>
                    <a:pt x="888" y="88"/>
                    <a:pt x="888" y="88"/>
                    <a:pt x="888" y="88"/>
                  </a:cubicBezTo>
                  <a:cubicBezTo>
                    <a:pt x="883" y="87"/>
                    <a:pt x="879" y="89"/>
                    <a:pt x="878" y="94"/>
                  </a:cubicBezTo>
                  <a:close/>
                  <a:moveTo>
                    <a:pt x="941" y="108"/>
                  </a:moveTo>
                  <a:cubicBezTo>
                    <a:pt x="940" y="113"/>
                    <a:pt x="943" y="118"/>
                    <a:pt x="947" y="119"/>
                  </a:cubicBezTo>
                  <a:cubicBezTo>
                    <a:pt x="979" y="127"/>
                    <a:pt x="979" y="127"/>
                    <a:pt x="979" y="127"/>
                  </a:cubicBezTo>
                  <a:cubicBezTo>
                    <a:pt x="979" y="127"/>
                    <a:pt x="979" y="127"/>
                    <a:pt x="979" y="127"/>
                  </a:cubicBezTo>
                  <a:cubicBezTo>
                    <a:pt x="984" y="128"/>
                    <a:pt x="988" y="125"/>
                    <a:pt x="990" y="120"/>
                  </a:cubicBezTo>
                  <a:cubicBezTo>
                    <a:pt x="991" y="115"/>
                    <a:pt x="988" y="111"/>
                    <a:pt x="983" y="110"/>
                  </a:cubicBezTo>
                  <a:cubicBezTo>
                    <a:pt x="951" y="102"/>
                    <a:pt x="951" y="102"/>
                    <a:pt x="951" y="102"/>
                  </a:cubicBezTo>
                  <a:cubicBezTo>
                    <a:pt x="947" y="101"/>
                    <a:pt x="942" y="104"/>
                    <a:pt x="941" y="108"/>
                  </a:cubicBezTo>
                  <a:close/>
                  <a:moveTo>
                    <a:pt x="1004" y="124"/>
                  </a:moveTo>
                  <a:cubicBezTo>
                    <a:pt x="1002" y="129"/>
                    <a:pt x="1005" y="134"/>
                    <a:pt x="1010" y="135"/>
                  </a:cubicBezTo>
                  <a:cubicBezTo>
                    <a:pt x="1042" y="143"/>
                    <a:pt x="1042" y="143"/>
                    <a:pt x="1042" y="143"/>
                  </a:cubicBezTo>
                  <a:cubicBezTo>
                    <a:pt x="1042" y="143"/>
                    <a:pt x="1042" y="143"/>
                    <a:pt x="1042" y="143"/>
                  </a:cubicBezTo>
                  <a:cubicBezTo>
                    <a:pt x="1047" y="144"/>
                    <a:pt x="1051" y="142"/>
                    <a:pt x="1053" y="137"/>
                  </a:cubicBezTo>
                  <a:cubicBezTo>
                    <a:pt x="1054" y="132"/>
                    <a:pt x="1051" y="127"/>
                    <a:pt x="1046" y="125"/>
                  </a:cubicBezTo>
                  <a:cubicBezTo>
                    <a:pt x="1015" y="117"/>
                    <a:pt x="1015" y="117"/>
                    <a:pt x="1015" y="117"/>
                  </a:cubicBezTo>
                  <a:cubicBezTo>
                    <a:pt x="1010" y="116"/>
                    <a:pt x="1005" y="119"/>
                    <a:pt x="1004" y="124"/>
                  </a:cubicBezTo>
                  <a:close/>
                  <a:moveTo>
                    <a:pt x="1066" y="140"/>
                  </a:moveTo>
                  <a:cubicBezTo>
                    <a:pt x="1065" y="145"/>
                    <a:pt x="1068" y="150"/>
                    <a:pt x="1073" y="152"/>
                  </a:cubicBezTo>
                  <a:cubicBezTo>
                    <a:pt x="1104" y="160"/>
                    <a:pt x="1104" y="160"/>
                    <a:pt x="1104" y="160"/>
                  </a:cubicBezTo>
                  <a:cubicBezTo>
                    <a:pt x="1104" y="160"/>
                    <a:pt x="1104" y="160"/>
                    <a:pt x="1104" y="160"/>
                  </a:cubicBezTo>
                  <a:cubicBezTo>
                    <a:pt x="1109" y="162"/>
                    <a:pt x="1114" y="159"/>
                    <a:pt x="1115" y="154"/>
                  </a:cubicBezTo>
                  <a:cubicBezTo>
                    <a:pt x="1117" y="149"/>
                    <a:pt x="1114" y="144"/>
                    <a:pt x="1109" y="143"/>
                  </a:cubicBezTo>
                  <a:cubicBezTo>
                    <a:pt x="1078" y="134"/>
                    <a:pt x="1078" y="134"/>
                    <a:pt x="1078" y="134"/>
                  </a:cubicBezTo>
                  <a:cubicBezTo>
                    <a:pt x="1073" y="133"/>
                    <a:pt x="1068" y="135"/>
                    <a:pt x="1066" y="140"/>
                  </a:cubicBezTo>
                  <a:close/>
                  <a:moveTo>
                    <a:pt x="1129" y="158"/>
                  </a:moveTo>
                  <a:cubicBezTo>
                    <a:pt x="1127" y="163"/>
                    <a:pt x="1130" y="168"/>
                    <a:pt x="1135" y="169"/>
                  </a:cubicBezTo>
                  <a:cubicBezTo>
                    <a:pt x="1166" y="179"/>
                    <a:pt x="1166" y="179"/>
                    <a:pt x="1166" y="179"/>
                  </a:cubicBezTo>
                  <a:cubicBezTo>
                    <a:pt x="1166" y="179"/>
                    <a:pt x="1166" y="179"/>
                    <a:pt x="1166" y="179"/>
                  </a:cubicBezTo>
                  <a:cubicBezTo>
                    <a:pt x="1171" y="180"/>
                    <a:pt x="1176" y="177"/>
                    <a:pt x="1178" y="172"/>
                  </a:cubicBezTo>
                  <a:cubicBezTo>
                    <a:pt x="1179" y="167"/>
                    <a:pt x="1176" y="162"/>
                    <a:pt x="1172" y="161"/>
                  </a:cubicBezTo>
                  <a:cubicBezTo>
                    <a:pt x="1140" y="152"/>
                    <a:pt x="1140" y="152"/>
                    <a:pt x="1140" y="152"/>
                  </a:cubicBezTo>
                  <a:cubicBezTo>
                    <a:pt x="1135" y="150"/>
                    <a:pt x="1130" y="153"/>
                    <a:pt x="1129" y="158"/>
                  </a:cubicBezTo>
                  <a:close/>
                  <a:moveTo>
                    <a:pt x="1191" y="176"/>
                  </a:moveTo>
                  <a:cubicBezTo>
                    <a:pt x="1190" y="181"/>
                    <a:pt x="1192" y="187"/>
                    <a:pt x="1197" y="188"/>
                  </a:cubicBezTo>
                  <a:cubicBezTo>
                    <a:pt x="1228" y="198"/>
                    <a:pt x="1228" y="198"/>
                    <a:pt x="1228" y="198"/>
                  </a:cubicBezTo>
                  <a:cubicBezTo>
                    <a:pt x="1228" y="198"/>
                    <a:pt x="1228" y="198"/>
                    <a:pt x="1228" y="198"/>
                  </a:cubicBezTo>
                  <a:cubicBezTo>
                    <a:pt x="1233" y="199"/>
                    <a:pt x="1238" y="197"/>
                    <a:pt x="1240" y="192"/>
                  </a:cubicBezTo>
                  <a:cubicBezTo>
                    <a:pt x="1241" y="187"/>
                    <a:pt x="1239" y="182"/>
                    <a:pt x="1234" y="180"/>
                  </a:cubicBezTo>
                  <a:cubicBezTo>
                    <a:pt x="1203" y="170"/>
                    <a:pt x="1203" y="170"/>
                    <a:pt x="1203" y="170"/>
                  </a:cubicBezTo>
                  <a:cubicBezTo>
                    <a:pt x="1198" y="169"/>
                    <a:pt x="1193" y="171"/>
                    <a:pt x="1191" y="176"/>
                  </a:cubicBezTo>
                  <a:close/>
                  <a:moveTo>
                    <a:pt x="1253" y="196"/>
                  </a:moveTo>
                  <a:cubicBezTo>
                    <a:pt x="1251" y="201"/>
                    <a:pt x="1254" y="206"/>
                    <a:pt x="1259" y="208"/>
                  </a:cubicBezTo>
                  <a:cubicBezTo>
                    <a:pt x="1290" y="218"/>
                    <a:pt x="1290" y="218"/>
                    <a:pt x="1290" y="218"/>
                  </a:cubicBezTo>
                  <a:cubicBezTo>
                    <a:pt x="1290" y="218"/>
                    <a:pt x="1290" y="218"/>
                    <a:pt x="1290" y="218"/>
                  </a:cubicBezTo>
                  <a:cubicBezTo>
                    <a:pt x="1295" y="220"/>
                    <a:pt x="1300" y="217"/>
                    <a:pt x="1302" y="212"/>
                  </a:cubicBezTo>
                  <a:cubicBezTo>
                    <a:pt x="1303" y="207"/>
                    <a:pt x="1301" y="202"/>
                    <a:pt x="1296" y="200"/>
                  </a:cubicBezTo>
                  <a:cubicBezTo>
                    <a:pt x="1265" y="190"/>
                    <a:pt x="1265" y="190"/>
                    <a:pt x="1265" y="190"/>
                  </a:cubicBezTo>
                  <a:cubicBezTo>
                    <a:pt x="1260" y="188"/>
                    <a:pt x="1255" y="191"/>
                    <a:pt x="1253" y="196"/>
                  </a:cubicBezTo>
                  <a:close/>
                  <a:moveTo>
                    <a:pt x="1314" y="217"/>
                  </a:moveTo>
                  <a:cubicBezTo>
                    <a:pt x="1313" y="222"/>
                    <a:pt x="1315" y="227"/>
                    <a:pt x="1320" y="229"/>
                  </a:cubicBezTo>
                  <a:cubicBezTo>
                    <a:pt x="1351" y="240"/>
                    <a:pt x="1351" y="240"/>
                    <a:pt x="1351" y="240"/>
                  </a:cubicBezTo>
                  <a:cubicBezTo>
                    <a:pt x="1351" y="240"/>
                    <a:pt x="1351" y="240"/>
                    <a:pt x="1351" y="240"/>
                  </a:cubicBezTo>
                  <a:cubicBezTo>
                    <a:pt x="1356" y="240"/>
                    <a:pt x="1361" y="239"/>
                    <a:pt x="1363" y="234"/>
                  </a:cubicBezTo>
                  <a:cubicBezTo>
                    <a:pt x="1365" y="229"/>
                    <a:pt x="1362" y="223"/>
                    <a:pt x="1357" y="222"/>
                  </a:cubicBezTo>
                  <a:cubicBezTo>
                    <a:pt x="1327" y="211"/>
                    <a:pt x="1327" y="211"/>
                    <a:pt x="1327" y="211"/>
                  </a:cubicBezTo>
                  <a:cubicBezTo>
                    <a:pt x="1322" y="209"/>
                    <a:pt x="1316" y="212"/>
                    <a:pt x="1314" y="217"/>
                  </a:cubicBezTo>
                  <a:close/>
                  <a:moveTo>
                    <a:pt x="1388" y="233"/>
                  </a:moveTo>
                  <a:cubicBezTo>
                    <a:pt x="1383" y="231"/>
                    <a:pt x="1378" y="233"/>
                    <a:pt x="1376" y="238"/>
                  </a:cubicBezTo>
                  <a:cubicBezTo>
                    <a:pt x="1374" y="243"/>
                    <a:pt x="1376" y="249"/>
                    <a:pt x="1381" y="251"/>
                  </a:cubicBezTo>
                  <a:cubicBezTo>
                    <a:pt x="1412" y="262"/>
                    <a:pt x="1412" y="262"/>
                    <a:pt x="1412" y="262"/>
                  </a:cubicBezTo>
                  <a:cubicBezTo>
                    <a:pt x="1417" y="264"/>
                    <a:pt x="1422" y="261"/>
                    <a:pt x="1424" y="256"/>
                  </a:cubicBezTo>
                  <a:cubicBezTo>
                    <a:pt x="1426" y="251"/>
                    <a:pt x="1423" y="246"/>
                    <a:pt x="1418" y="244"/>
                  </a:cubicBezTo>
                  <a:cubicBezTo>
                    <a:pt x="1388" y="233"/>
                    <a:pt x="1388" y="233"/>
                    <a:pt x="1388" y="233"/>
                  </a:cubicBezTo>
                  <a:close/>
                  <a:moveTo>
                    <a:pt x="1449" y="256"/>
                  </a:moveTo>
                  <a:cubicBezTo>
                    <a:pt x="1444" y="254"/>
                    <a:pt x="1439" y="256"/>
                    <a:pt x="1437" y="261"/>
                  </a:cubicBezTo>
                  <a:cubicBezTo>
                    <a:pt x="1435" y="266"/>
                    <a:pt x="1437" y="271"/>
                    <a:pt x="1442" y="273"/>
                  </a:cubicBezTo>
                  <a:cubicBezTo>
                    <a:pt x="1472" y="285"/>
                    <a:pt x="1472" y="285"/>
                    <a:pt x="1472" y="285"/>
                  </a:cubicBezTo>
                  <a:cubicBezTo>
                    <a:pt x="1477" y="287"/>
                    <a:pt x="1482" y="285"/>
                    <a:pt x="1484" y="280"/>
                  </a:cubicBezTo>
                  <a:cubicBezTo>
                    <a:pt x="1486" y="275"/>
                    <a:pt x="1484" y="270"/>
                    <a:pt x="1479" y="268"/>
                  </a:cubicBezTo>
                  <a:cubicBezTo>
                    <a:pt x="1449" y="256"/>
                    <a:pt x="1449" y="256"/>
                    <a:pt x="1449" y="256"/>
                  </a:cubicBezTo>
                  <a:close/>
                  <a:moveTo>
                    <a:pt x="1509" y="280"/>
                  </a:moveTo>
                  <a:cubicBezTo>
                    <a:pt x="1505" y="278"/>
                    <a:pt x="1499" y="280"/>
                    <a:pt x="1497" y="285"/>
                  </a:cubicBezTo>
                  <a:cubicBezTo>
                    <a:pt x="1495" y="290"/>
                    <a:pt x="1497" y="295"/>
                    <a:pt x="1502" y="297"/>
                  </a:cubicBezTo>
                  <a:cubicBezTo>
                    <a:pt x="1532" y="310"/>
                    <a:pt x="1532" y="310"/>
                    <a:pt x="1532" y="310"/>
                  </a:cubicBezTo>
                  <a:cubicBezTo>
                    <a:pt x="1537" y="312"/>
                    <a:pt x="1542" y="309"/>
                    <a:pt x="1544" y="305"/>
                  </a:cubicBezTo>
                  <a:cubicBezTo>
                    <a:pt x="1546" y="300"/>
                    <a:pt x="1544" y="294"/>
                    <a:pt x="1539" y="292"/>
                  </a:cubicBezTo>
                  <a:cubicBezTo>
                    <a:pt x="1509" y="280"/>
                    <a:pt x="1509" y="280"/>
                    <a:pt x="1509" y="280"/>
                  </a:cubicBezTo>
                  <a:close/>
                  <a:moveTo>
                    <a:pt x="1569" y="305"/>
                  </a:moveTo>
                  <a:cubicBezTo>
                    <a:pt x="1565" y="303"/>
                    <a:pt x="1559" y="305"/>
                    <a:pt x="1557" y="310"/>
                  </a:cubicBezTo>
                  <a:cubicBezTo>
                    <a:pt x="1555" y="315"/>
                    <a:pt x="1557" y="320"/>
                    <a:pt x="1562" y="322"/>
                  </a:cubicBezTo>
                  <a:cubicBezTo>
                    <a:pt x="1592" y="335"/>
                    <a:pt x="1592" y="335"/>
                    <a:pt x="1592" y="335"/>
                  </a:cubicBezTo>
                  <a:cubicBezTo>
                    <a:pt x="1597" y="337"/>
                    <a:pt x="1602" y="335"/>
                    <a:pt x="1604" y="330"/>
                  </a:cubicBezTo>
                  <a:cubicBezTo>
                    <a:pt x="1606" y="326"/>
                    <a:pt x="1604" y="320"/>
                    <a:pt x="1599" y="318"/>
                  </a:cubicBezTo>
                  <a:cubicBezTo>
                    <a:pt x="1569" y="305"/>
                    <a:pt x="1569" y="305"/>
                    <a:pt x="1569" y="305"/>
                  </a:cubicBezTo>
                  <a:close/>
                  <a:moveTo>
                    <a:pt x="1629" y="332"/>
                  </a:moveTo>
                  <a:cubicBezTo>
                    <a:pt x="1624" y="329"/>
                    <a:pt x="1619" y="331"/>
                    <a:pt x="1617" y="336"/>
                  </a:cubicBezTo>
                  <a:cubicBezTo>
                    <a:pt x="1615" y="341"/>
                    <a:pt x="1617" y="346"/>
                    <a:pt x="1621" y="348"/>
                  </a:cubicBezTo>
                  <a:cubicBezTo>
                    <a:pt x="1651" y="362"/>
                    <a:pt x="1651" y="362"/>
                    <a:pt x="1651" y="362"/>
                  </a:cubicBezTo>
                  <a:cubicBezTo>
                    <a:pt x="1656" y="364"/>
                    <a:pt x="1661" y="362"/>
                    <a:pt x="1663" y="357"/>
                  </a:cubicBezTo>
                  <a:cubicBezTo>
                    <a:pt x="1665" y="353"/>
                    <a:pt x="1663" y="347"/>
                    <a:pt x="1659" y="345"/>
                  </a:cubicBezTo>
                  <a:cubicBezTo>
                    <a:pt x="1629" y="332"/>
                    <a:pt x="1629" y="332"/>
                    <a:pt x="1629" y="332"/>
                  </a:cubicBezTo>
                  <a:close/>
                  <a:moveTo>
                    <a:pt x="1688" y="359"/>
                  </a:moveTo>
                  <a:cubicBezTo>
                    <a:pt x="1684" y="357"/>
                    <a:pt x="1678" y="359"/>
                    <a:pt x="1676" y="363"/>
                  </a:cubicBezTo>
                  <a:cubicBezTo>
                    <a:pt x="1674" y="368"/>
                    <a:pt x="1676" y="373"/>
                    <a:pt x="1680" y="375"/>
                  </a:cubicBezTo>
                  <a:cubicBezTo>
                    <a:pt x="1710" y="389"/>
                    <a:pt x="1710" y="389"/>
                    <a:pt x="1710" y="389"/>
                  </a:cubicBezTo>
                  <a:cubicBezTo>
                    <a:pt x="1714" y="391"/>
                    <a:pt x="1719" y="389"/>
                    <a:pt x="1721" y="385"/>
                  </a:cubicBezTo>
                  <a:cubicBezTo>
                    <a:pt x="1724" y="381"/>
                    <a:pt x="1722" y="375"/>
                    <a:pt x="1717" y="373"/>
                  </a:cubicBezTo>
                  <a:cubicBezTo>
                    <a:pt x="1688" y="359"/>
                    <a:pt x="1688" y="359"/>
                    <a:pt x="1688" y="359"/>
                  </a:cubicBezTo>
                  <a:close/>
                  <a:moveTo>
                    <a:pt x="1747" y="388"/>
                  </a:moveTo>
                  <a:cubicBezTo>
                    <a:pt x="1742" y="386"/>
                    <a:pt x="1737" y="387"/>
                    <a:pt x="1735" y="392"/>
                  </a:cubicBezTo>
                  <a:cubicBezTo>
                    <a:pt x="1733" y="396"/>
                    <a:pt x="1735" y="401"/>
                    <a:pt x="1739" y="403"/>
                  </a:cubicBezTo>
                  <a:cubicBezTo>
                    <a:pt x="1768" y="418"/>
                    <a:pt x="1768" y="418"/>
                    <a:pt x="1768" y="418"/>
                  </a:cubicBezTo>
                  <a:cubicBezTo>
                    <a:pt x="1772" y="420"/>
                    <a:pt x="1777" y="418"/>
                    <a:pt x="1779" y="414"/>
                  </a:cubicBezTo>
                  <a:cubicBezTo>
                    <a:pt x="1781" y="410"/>
                    <a:pt x="1780" y="404"/>
                    <a:pt x="1776" y="402"/>
                  </a:cubicBezTo>
                  <a:cubicBezTo>
                    <a:pt x="1747" y="388"/>
                    <a:pt x="1747" y="388"/>
                    <a:pt x="1747" y="388"/>
                  </a:cubicBezTo>
                  <a:close/>
                  <a:moveTo>
                    <a:pt x="1805" y="417"/>
                  </a:moveTo>
                  <a:cubicBezTo>
                    <a:pt x="1800" y="415"/>
                    <a:pt x="1795" y="417"/>
                    <a:pt x="1793" y="421"/>
                  </a:cubicBezTo>
                  <a:cubicBezTo>
                    <a:pt x="1791" y="425"/>
                    <a:pt x="1793" y="430"/>
                    <a:pt x="1797" y="432"/>
                  </a:cubicBezTo>
                  <a:cubicBezTo>
                    <a:pt x="1826" y="447"/>
                    <a:pt x="1826" y="447"/>
                    <a:pt x="1826" y="447"/>
                  </a:cubicBezTo>
                  <a:cubicBezTo>
                    <a:pt x="1830" y="449"/>
                    <a:pt x="1835" y="448"/>
                    <a:pt x="1837" y="444"/>
                  </a:cubicBezTo>
                  <a:cubicBezTo>
                    <a:pt x="1839" y="440"/>
                    <a:pt x="1837" y="435"/>
                    <a:pt x="1833" y="433"/>
                  </a:cubicBezTo>
                  <a:cubicBezTo>
                    <a:pt x="1805" y="417"/>
                    <a:pt x="1805" y="417"/>
                    <a:pt x="1805" y="417"/>
                  </a:cubicBezTo>
                  <a:close/>
                  <a:moveTo>
                    <a:pt x="1862" y="448"/>
                  </a:moveTo>
                  <a:cubicBezTo>
                    <a:pt x="1858" y="446"/>
                    <a:pt x="1853" y="447"/>
                    <a:pt x="1851" y="451"/>
                  </a:cubicBezTo>
                  <a:cubicBezTo>
                    <a:pt x="1849" y="455"/>
                    <a:pt x="1850" y="460"/>
                    <a:pt x="1854" y="462"/>
                  </a:cubicBezTo>
                  <a:cubicBezTo>
                    <a:pt x="1883" y="478"/>
                    <a:pt x="1883" y="478"/>
                    <a:pt x="1883" y="478"/>
                  </a:cubicBezTo>
                  <a:cubicBezTo>
                    <a:pt x="1887" y="480"/>
                    <a:pt x="1891" y="479"/>
                    <a:pt x="1893" y="475"/>
                  </a:cubicBezTo>
                  <a:cubicBezTo>
                    <a:pt x="1896" y="471"/>
                    <a:pt x="1894" y="466"/>
                    <a:pt x="1890" y="464"/>
                  </a:cubicBezTo>
                  <a:cubicBezTo>
                    <a:pt x="1862" y="448"/>
                    <a:pt x="1862" y="448"/>
                    <a:pt x="1862" y="448"/>
                  </a:cubicBezTo>
                  <a:close/>
                  <a:moveTo>
                    <a:pt x="1919" y="480"/>
                  </a:moveTo>
                  <a:cubicBezTo>
                    <a:pt x="1915" y="478"/>
                    <a:pt x="1910" y="479"/>
                    <a:pt x="1908" y="483"/>
                  </a:cubicBezTo>
                  <a:cubicBezTo>
                    <a:pt x="1906" y="487"/>
                    <a:pt x="1907" y="491"/>
                    <a:pt x="1911" y="494"/>
                  </a:cubicBezTo>
                  <a:cubicBezTo>
                    <a:pt x="1939" y="510"/>
                    <a:pt x="1939" y="510"/>
                    <a:pt x="1939" y="510"/>
                  </a:cubicBezTo>
                  <a:cubicBezTo>
                    <a:pt x="1943" y="512"/>
                    <a:pt x="1947" y="510"/>
                    <a:pt x="1950" y="507"/>
                  </a:cubicBezTo>
                  <a:cubicBezTo>
                    <a:pt x="1952" y="503"/>
                    <a:pt x="1950" y="499"/>
                    <a:pt x="1947" y="497"/>
                  </a:cubicBezTo>
                  <a:cubicBezTo>
                    <a:pt x="1919" y="480"/>
                    <a:pt x="1919" y="480"/>
                    <a:pt x="1919" y="480"/>
                  </a:cubicBezTo>
                  <a:close/>
                  <a:moveTo>
                    <a:pt x="1975" y="513"/>
                  </a:moveTo>
                  <a:cubicBezTo>
                    <a:pt x="1971" y="511"/>
                    <a:pt x="1967" y="512"/>
                    <a:pt x="1965" y="516"/>
                  </a:cubicBezTo>
                  <a:cubicBezTo>
                    <a:pt x="1963" y="519"/>
                    <a:pt x="1964" y="524"/>
                    <a:pt x="1967" y="526"/>
                  </a:cubicBezTo>
                  <a:cubicBezTo>
                    <a:pt x="1995" y="542"/>
                    <a:pt x="1995" y="542"/>
                    <a:pt x="1995" y="542"/>
                  </a:cubicBezTo>
                  <a:cubicBezTo>
                    <a:pt x="1999" y="544"/>
                    <a:pt x="2003" y="543"/>
                    <a:pt x="2005" y="540"/>
                  </a:cubicBezTo>
                  <a:cubicBezTo>
                    <a:pt x="2007" y="537"/>
                    <a:pt x="2006" y="532"/>
                    <a:pt x="2003" y="530"/>
                  </a:cubicBezTo>
                  <a:cubicBezTo>
                    <a:pt x="1975" y="513"/>
                    <a:pt x="1975" y="513"/>
                    <a:pt x="1975" y="513"/>
                  </a:cubicBezTo>
                  <a:close/>
                  <a:moveTo>
                    <a:pt x="2030" y="547"/>
                  </a:moveTo>
                  <a:cubicBezTo>
                    <a:pt x="2027" y="545"/>
                    <a:pt x="2023" y="546"/>
                    <a:pt x="2021" y="550"/>
                  </a:cubicBezTo>
                  <a:cubicBezTo>
                    <a:pt x="2019" y="553"/>
                    <a:pt x="2020" y="557"/>
                    <a:pt x="2023" y="559"/>
                  </a:cubicBezTo>
                  <a:cubicBezTo>
                    <a:pt x="2051" y="576"/>
                    <a:pt x="2051" y="576"/>
                    <a:pt x="2051" y="576"/>
                  </a:cubicBezTo>
                  <a:cubicBezTo>
                    <a:pt x="2054" y="578"/>
                    <a:pt x="2058" y="577"/>
                    <a:pt x="2060" y="574"/>
                  </a:cubicBezTo>
                  <a:cubicBezTo>
                    <a:pt x="2062" y="571"/>
                    <a:pt x="2061" y="567"/>
                    <a:pt x="2058" y="565"/>
                  </a:cubicBezTo>
                  <a:cubicBezTo>
                    <a:pt x="2030" y="547"/>
                    <a:pt x="2030" y="547"/>
                    <a:pt x="2030" y="547"/>
                  </a:cubicBezTo>
                  <a:close/>
                  <a:moveTo>
                    <a:pt x="2085" y="583"/>
                  </a:moveTo>
                  <a:cubicBezTo>
                    <a:pt x="2082" y="581"/>
                    <a:pt x="2078" y="582"/>
                    <a:pt x="2076" y="585"/>
                  </a:cubicBezTo>
                  <a:cubicBezTo>
                    <a:pt x="2074" y="588"/>
                    <a:pt x="2075" y="592"/>
                    <a:pt x="2078" y="594"/>
                  </a:cubicBezTo>
                  <a:cubicBezTo>
                    <a:pt x="2105" y="611"/>
                    <a:pt x="2105" y="611"/>
                    <a:pt x="2105" y="611"/>
                  </a:cubicBezTo>
                  <a:cubicBezTo>
                    <a:pt x="2108" y="613"/>
                    <a:pt x="2112" y="612"/>
                    <a:pt x="2114" y="609"/>
                  </a:cubicBezTo>
                  <a:cubicBezTo>
                    <a:pt x="2116" y="607"/>
                    <a:pt x="2115" y="603"/>
                    <a:pt x="2112" y="601"/>
                  </a:cubicBezTo>
                  <a:cubicBezTo>
                    <a:pt x="2085" y="583"/>
                    <a:pt x="2085" y="583"/>
                    <a:pt x="2085" y="583"/>
                  </a:cubicBezTo>
                  <a:close/>
                  <a:moveTo>
                    <a:pt x="2139" y="619"/>
                  </a:moveTo>
                  <a:cubicBezTo>
                    <a:pt x="2136" y="617"/>
                    <a:pt x="2132" y="618"/>
                    <a:pt x="2131" y="621"/>
                  </a:cubicBezTo>
                  <a:cubicBezTo>
                    <a:pt x="2129" y="623"/>
                    <a:pt x="2130" y="627"/>
                    <a:pt x="2132" y="629"/>
                  </a:cubicBezTo>
                  <a:cubicBezTo>
                    <a:pt x="2159" y="647"/>
                    <a:pt x="2159" y="647"/>
                    <a:pt x="2159" y="647"/>
                  </a:cubicBezTo>
                  <a:cubicBezTo>
                    <a:pt x="2162" y="649"/>
                    <a:pt x="2165" y="648"/>
                    <a:pt x="2167" y="646"/>
                  </a:cubicBezTo>
                  <a:cubicBezTo>
                    <a:pt x="2169" y="643"/>
                    <a:pt x="2168" y="640"/>
                    <a:pt x="2166" y="638"/>
                  </a:cubicBezTo>
                  <a:cubicBezTo>
                    <a:pt x="2139" y="619"/>
                    <a:pt x="2139" y="619"/>
                    <a:pt x="2139" y="619"/>
                  </a:cubicBezTo>
                  <a:close/>
                  <a:moveTo>
                    <a:pt x="2192" y="657"/>
                  </a:moveTo>
                  <a:cubicBezTo>
                    <a:pt x="2190" y="655"/>
                    <a:pt x="2186" y="656"/>
                    <a:pt x="2185" y="658"/>
                  </a:cubicBezTo>
                  <a:cubicBezTo>
                    <a:pt x="2183" y="660"/>
                    <a:pt x="2184" y="664"/>
                    <a:pt x="2186" y="665"/>
                  </a:cubicBezTo>
                  <a:cubicBezTo>
                    <a:pt x="2213" y="684"/>
                    <a:pt x="2213" y="684"/>
                    <a:pt x="2213" y="684"/>
                  </a:cubicBezTo>
                  <a:cubicBezTo>
                    <a:pt x="2215" y="686"/>
                    <a:pt x="2218" y="685"/>
                    <a:pt x="2219" y="683"/>
                  </a:cubicBezTo>
                  <a:cubicBezTo>
                    <a:pt x="2221" y="681"/>
                    <a:pt x="2221" y="677"/>
                    <a:pt x="2218" y="676"/>
                  </a:cubicBezTo>
                  <a:cubicBezTo>
                    <a:pt x="2192" y="657"/>
                    <a:pt x="2192" y="657"/>
                    <a:pt x="2192" y="657"/>
                  </a:cubicBezTo>
                  <a:close/>
                  <a:moveTo>
                    <a:pt x="2244" y="695"/>
                  </a:moveTo>
                  <a:cubicBezTo>
                    <a:pt x="2242" y="694"/>
                    <a:pt x="2239" y="694"/>
                    <a:pt x="2238" y="696"/>
                  </a:cubicBezTo>
                  <a:cubicBezTo>
                    <a:pt x="2236" y="698"/>
                    <a:pt x="2237" y="701"/>
                    <a:pt x="2239" y="703"/>
                  </a:cubicBezTo>
                  <a:cubicBezTo>
                    <a:pt x="2265" y="722"/>
                    <a:pt x="2265" y="722"/>
                    <a:pt x="2265" y="722"/>
                  </a:cubicBezTo>
                  <a:cubicBezTo>
                    <a:pt x="2267" y="723"/>
                    <a:pt x="2270" y="723"/>
                    <a:pt x="2271" y="721"/>
                  </a:cubicBezTo>
                  <a:cubicBezTo>
                    <a:pt x="2273" y="719"/>
                    <a:pt x="2272" y="717"/>
                    <a:pt x="2270" y="715"/>
                  </a:cubicBezTo>
                  <a:cubicBezTo>
                    <a:pt x="2245" y="695"/>
                    <a:pt x="2245" y="695"/>
                    <a:pt x="2245" y="695"/>
                  </a:cubicBezTo>
                  <a:lnTo>
                    <a:pt x="2244" y="695"/>
                  </a:lnTo>
                  <a:close/>
                  <a:moveTo>
                    <a:pt x="2296" y="735"/>
                  </a:moveTo>
                  <a:cubicBezTo>
                    <a:pt x="2294" y="734"/>
                    <a:pt x="2292" y="734"/>
                    <a:pt x="2290" y="736"/>
                  </a:cubicBezTo>
                  <a:cubicBezTo>
                    <a:pt x="2289" y="738"/>
                    <a:pt x="2290" y="740"/>
                    <a:pt x="2291" y="741"/>
                  </a:cubicBezTo>
                  <a:cubicBezTo>
                    <a:pt x="2317" y="761"/>
                    <a:pt x="2317" y="761"/>
                    <a:pt x="2317" y="761"/>
                  </a:cubicBezTo>
                  <a:cubicBezTo>
                    <a:pt x="2319" y="762"/>
                    <a:pt x="2321" y="762"/>
                    <a:pt x="2322" y="760"/>
                  </a:cubicBezTo>
                  <a:cubicBezTo>
                    <a:pt x="2323" y="759"/>
                    <a:pt x="2323" y="757"/>
                    <a:pt x="2321" y="755"/>
                  </a:cubicBezTo>
                  <a:cubicBezTo>
                    <a:pt x="2296" y="735"/>
                    <a:pt x="2296" y="735"/>
                    <a:pt x="2296" y="735"/>
                  </a:cubicBezTo>
                  <a:close/>
                  <a:moveTo>
                    <a:pt x="2347" y="776"/>
                  </a:moveTo>
                  <a:cubicBezTo>
                    <a:pt x="2345" y="775"/>
                    <a:pt x="2343" y="775"/>
                    <a:pt x="2342" y="776"/>
                  </a:cubicBezTo>
                  <a:cubicBezTo>
                    <a:pt x="2341" y="778"/>
                    <a:pt x="2341" y="780"/>
                    <a:pt x="2343" y="781"/>
                  </a:cubicBezTo>
                  <a:cubicBezTo>
                    <a:pt x="2368" y="801"/>
                    <a:pt x="2368" y="801"/>
                    <a:pt x="2368" y="801"/>
                  </a:cubicBezTo>
                  <a:cubicBezTo>
                    <a:pt x="2369" y="802"/>
                    <a:pt x="2371" y="802"/>
                    <a:pt x="2372" y="800"/>
                  </a:cubicBezTo>
                  <a:cubicBezTo>
                    <a:pt x="2373" y="799"/>
                    <a:pt x="2373" y="798"/>
                    <a:pt x="2372" y="797"/>
                  </a:cubicBezTo>
                  <a:cubicBezTo>
                    <a:pt x="2347" y="776"/>
                    <a:pt x="2347" y="776"/>
                    <a:pt x="2347" y="776"/>
                  </a:cubicBezTo>
                  <a:close/>
                  <a:moveTo>
                    <a:pt x="2396" y="818"/>
                  </a:moveTo>
                  <a:cubicBezTo>
                    <a:pt x="2395" y="817"/>
                    <a:pt x="2394" y="817"/>
                    <a:pt x="2393" y="818"/>
                  </a:cubicBezTo>
                  <a:cubicBezTo>
                    <a:pt x="2392" y="819"/>
                    <a:pt x="2393" y="820"/>
                    <a:pt x="2394" y="821"/>
                  </a:cubicBezTo>
                  <a:cubicBezTo>
                    <a:pt x="2419" y="842"/>
                    <a:pt x="2419" y="842"/>
                    <a:pt x="2419" y="842"/>
                  </a:cubicBezTo>
                  <a:cubicBezTo>
                    <a:pt x="2419" y="843"/>
                    <a:pt x="2420" y="842"/>
                    <a:pt x="2421" y="842"/>
                  </a:cubicBezTo>
                  <a:cubicBezTo>
                    <a:pt x="2422" y="841"/>
                    <a:pt x="2422" y="840"/>
                    <a:pt x="2421" y="839"/>
                  </a:cubicBezTo>
                  <a:cubicBezTo>
                    <a:pt x="2396" y="818"/>
                    <a:pt x="2396" y="818"/>
                    <a:pt x="2396" y="818"/>
                  </a:cubicBezTo>
                  <a:close/>
                  <a:moveTo>
                    <a:pt x="2445" y="861"/>
                  </a:moveTo>
                  <a:cubicBezTo>
                    <a:pt x="2445" y="860"/>
                    <a:pt x="2444" y="860"/>
                    <a:pt x="2443" y="861"/>
                  </a:cubicBezTo>
                  <a:cubicBezTo>
                    <a:pt x="2443" y="861"/>
                    <a:pt x="2443" y="862"/>
                    <a:pt x="2443" y="863"/>
                  </a:cubicBezTo>
                  <a:cubicBezTo>
                    <a:pt x="2468" y="884"/>
                    <a:pt x="2468" y="884"/>
                    <a:pt x="2468" y="884"/>
                  </a:cubicBezTo>
                  <a:cubicBezTo>
                    <a:pt x="2469" y="884"/>
                    <a:pt x="2469" y="884"/>
                    <a:pt x="2469" y="884"/>
                  </a:cubicBezTo>
                  <a:cubicBezTo>
                    <a:pt x="2469" y="883"/>
                    <a:pt x="2469" y="883"/>
                    <a:pt x="2469" y="883"/>
                  </a:cubicBezTo>
                  <a:cubicBezTo>
                    <a:pt x="2445" y="861"/>
                    <a:pt x="2445" y="861"/>
                    <a:pt x="2445" y="861"/>
                  </a:cubicBezTo>
                  <a:close/>
                  <a:moveTo>
                    <a:pt x="2493" y="905"/>
                  </a:moveTo>
                  <a:cubicBezTo>
                    <a:pt x="2493" y="905"/>
                    <a:pt x="2493" y="905"/>
                    <a:pt x="2493" y="905"/>
                  </a:cubicBezTo>
                  <a:cubicBezTo>
                    <a:pt x="2493" y="906"/>
                    <a:pt x="2493" y="906"/>
                    <a:pt x="2493" y="906"/>
                  </a:cubicBezTo>
                  <a:cubicBezTo>
                    <a:pt x="2505" y="916"/>
                    <a:pt x="2505" y="916"/>
                    <a:pt x="2505" y="916"/>
                  </a:cubicBezTo>
                  <a:cubicBezTo>
                    <a:pt x="2493" y="905"/>
                    <a:pt x="2493" y="905"/>
                    <a:pt x="2493" y="905"/>
                  </a:cubicBezTo>
                  <a:close/>
                </a:path>
              </a:pathLst>
            </a:custGeom>
            <a:solidFill>
              <a:schemeClr val="tx2">
                <a:lumMod val="60000"/>
                <a:lumOff val="4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Freeform 618">
              <a:extLst>
                <a:ext uri="{FF2B5EF4-FFF2-40B4-BE49-F238E27FC236}">
                  <a16:creationId xmlns:a16="http://schemas.microsoft.com/office/drawing/2014/main" id="{630E53A3-EEB0-42CA-9A12-72F23F7AAD23}"/>
                </a:ext>
              </a:extLst>
            </p:cNvPr>
            <p:cNvSpPr>
              <a:spLocks noEditPoints="1"/>
            </p:cNvSpPr>
            <p:nvPr/>
          </p:nvSpPr>
          <p:spPr bwMode="auto">
            <a:xfrm>
              <a:off x="3008878" y="6045763"/>
              <a:ext cx="5432390" cy="1280476"/>
            </a:xfrm>
            <a:custGeom>
              <a:avLst/>
              <a:gdLst>
                <a:gd name="T0" fmla="*/ 12 w 1969"/>
                <a:gd name="T1" fmla="*/ 454 h 464"/>
                <a:gd name="T2" fmla="*/ 64 w 1969"/>
                <a:gd name="T3" fmla="*/ 415 h 464"/>
                <a:gd name="T4" fmla="*/ 87 w 1969"/>
                <a:gd name="T5" fmla="*/ 396 h 464"/>
                <a:gd name="T6" fmla="*/ 114 w 1969"/>
                <a:gd name="T7" fmla="*/ 374 h 464"/>
                <a:gd name="T8" fmla="*/ 172 w 1969"/>
                <a:gd name="T9" fmla="*/ 344 h 464"/>
                <a:gd name="T10" fmla="*/ 140 w 1969"/>
                <a:gd name="T11" fmla="*/ 360 h 464"/>
                <a:gd name="T12" fmla="*/ 230 w 1969"/>
                <a:gd name="T13" fmla="*/ 306 h 464"/>
                <a:gd name="T14" fmla="*/ 257 w 1969"/>
                <a:gd name="T15" fmla="*/ 297 h 464"/>
                <a:gd name="T16" fmla="*/ 252 w 1969"/>
                <a:gd name="T17" fmla="*/ 288 h 464"/>
                <a:gd name="T18" fmla="*/ 343 w 1969"/>
                <a:gd name="T19" fmla="*/ 254 h 464"/>
                <a:gd name="T20" fmla="*/ 364 w 1969"/>
                <a:gd name="T21" fmla="*/ 237 h 464"/>
                <a:gd name="T22" fmla="*/ 396 w 1969"/>
                <a:gd name="T23" fmla="*/ 215 h 464"/>
                <a:gd name="T24" fmla="*/ 461 w 1969"/>
                <a:gd name="T25" fmla="*/ 203 h 464"/>
                <a:gd name="T26" fmla="*/ 422 w 1969"/>
                <a:gd name="T27" fmla="*/ 211 h 464"/>
                <a:gd name="T28" fmla="*/ 526 w 1969"/>
                <a:gd name="T29" fmla="*/ 169 h 464"/>
                <a:gd name="T30" fmla="*/ 552 w 1969"/>
                <a:gd name="T31" fmla="*/ 168 h 464"/>
                <a:gd name="T32" fmla="*/ 546 w 1969"/>
                <a:gd name="T33" fmla="*/ 153 h 464"/>
                <a:gd name="T34" fmla="*/ 643 w 1969"/>
                <a:gd name="T35" fmla="*/ 138 h 464"/>
                <a:gd name="T36" fmla="*/ 663 w 1969"/>
                <a:gd name="T37" fmla="*/ 122 h 464"/>
                <a:gd name="T38" fmla="*/ 700 w 1969"/>
                <a:gd name="T39" fmla="*/ 102 h 464"/>
                <a:gd name="T40" fmla="*/ 767 w 1969"/>
                <a:gd name="T41" fmla="*/ 103 h 464"/>
                <a:gd name="T42" fmla="*/ 725 w 1969"/>
                <a:gd name="T43" fmla="*/ 104 h 464"/>
                <a:gd name="T44" fmla="*/ 837 w 1969"/>
                <a:gd name="T45" fmla="*/ 76 h 464"/>
                <a:gd name="T46" fmla="*/ 861 w 1969"/>
                <a:gd name="T47" fmla="*/ 80 h 464"/>
                <a:gd name="T48" fmla="*/ 857 w 1969"/>
                <a:gd name="T49" fmla="*/ 62 h 464"/>
                <a:gd name="T50" fmla="*/ 956 w 1969"/>
                <a:gd name="T51" fmla="*/ 60 h 464"/>
                <a:gd name="T52" fmla="*/ 985 w 1969"/>
                <a:gd name="T53" fmla="*/ 37 h 464"/>
                <a:gd name="T54" fmla="*/ 1017 w 1969"/>
                <a:gd name="T55" fmla="*/ 32 h 464"/>
                <a:gd name="T56" fmla="*/ 1051 w 1969"/>
                <a:gd name="T57" fmla="*/ 46 h 464"/>
                <a:gd name="T58" fmla="*/ 1049 w 1969"/>
                <a:gd name="T59" fmla="*/ 27 h 464"/>
                <a:gd name="T60" fmla="*/ 1155 w 1969"/>
                <a:gd name="T61" fmla="*/ 23 h 464"/>
                <a:gd name="T62" fmla="*/ 1169 w 1969"/>
                <a:gd name="T63" fmla="*/ 22 h 464"/>
                <a:gd name="T64" fmla="*/ 1178 w 1969"/>
                <a:gd name="T65" fmla="*/ 12 h 464"/>
                <a:gd name="T66" fmla="*/ 1276 w 1969"/>
                <a:gd name="T67" fmla="*/ 22 h 464"/>
                <a:gd name="T68" fmla="*/ 1307 w 1969"/>
                <a:gd name="T69" fmla="*/ 3 h 464"/>
                <a:gd name="T70" fmla="*/ 1339 w 1969"/>
                <a:gd name="T71" fmla="*/ 1 h 464"/>
                <a:gd name="T72" fmla="*/ 1372 w 1969"/>
                <a:gd name="T73" fmla="*/ 17 h 464"/>
                <a:gd name="T74" fmla="*/ 1372 w 1969"/>
                <a:gd name="T75" fmla="*/ 0 h 464"/>
                <a:gd name="T76" fmla="*/ 1476 w 1969"/>
                <a:gd name="T77" fmla="*/ 7 h 464"/>
                <a:gd name="T78" fmla="*/ 1494 w 1969"/>
                <a:gd name="T79" fmla="*/ 7 h 464"/>
                <a:gd name="T80" fmla="*/ 1501 w 1969"/>
                <a:gd name="T81" fmla="*/ 0 h 464"/>
                <a:gd name="T82" fmla="*/ 1598 w 1969"/>
                <a:gd name="T83" fmla="*/ 16 h 464"/>
                <a:gd name="T84" fmla="*/ 1631 w 1969"/>
                <a:gd name="T85" fmla="*/ 5 h 464"/>
                <a:gd name="T86" fmla="*/ 1663 w 1969"/>
                <a:gd name="T87" fmla="*/ 7 h 464"/>
                <a:gd name="T88" fmla="*/ 1695 w 1969"/>
                <a:gd name="T89" fmla="*/ 20 h 464"/>
                <a:gd name="T90" fmla="*/ 1695 w 1969"/>
                <a:gd name="T91" fmla="*/ 10 h 464"/>
                <a:gd name="T92" fmla="*/ 1795 w 1969"/>
                <a:gd name="T93" fmla="*/ 23 h 464"/>
                <a:gd name="T94" fmla="*/ 1821 w 1969"/>
                <a:gd name="T95" fmla="*/ 26 h 464"/>
                <a:gd name="T96" fmla="*/ 1824 w 1969"/>
                <a:gd name="T97" fmla="*/ 23 h 464"/>
                <a:gd name="T98" fmla="*/ 1920 w 1969"/>
                <a:gd name="T99" fmla="*/ 39 h 464"/>
                <a:gd name="T100" fmla="*/ 1953 w 1969"/>
                <a:gd name="T101" fmla="*/ 41 h 464"/>
                <a:gd name="T102" fmla="*/ 1953 w 1969"/>
                <a:gd name="T103" fmla="*/ 41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69" h="464">
                  <a:moveTo>
                    <a:pt x="0" y="464"/>
                  </a:moveTo>
                  <a:cubicBezTo>
                    <a:pt x="12" y="453"/>
                    <a:pt x="12" y="453"/>
                    <a:pt x="12" y="453"/>
                  </a:cubicBezTo>
                  <a:cubicBezTo>
                    <a:pt x="12" y="453"/>
                    <a:pt x="12" y="453"/>
                    <a:pt x="12" y="453"/>
                  </a:cubicBezTo>
                  <a:cubicBezTo>
                    <a:pt x="12" y="454"/>
                    <a:pt x="12" y="454"/>
                    <a:pt x="12" y="454"/>
                  </a:cubicBezTo>
                  <a:cubicBezTo>
                    <a:pt x="12" y="454"/>
                    <a:pt x="12" y="454"/>
                    <a:pt x="12" y="454"/>
                  </a:cubicBezTo>
                  <a:cubicBezTo>
                    <a:pt x="0" y="464"/>
                    <a:pt x="0" y="464"/>
                    <a:pt x="0" y="464"/>
                  </a:cubicBezTo>
                  <a:moveTo>
                    <a:pt x="36" y="434"/>
                  </a:moveTo>
                  <a:cubicBezTo>
                    <a:pt x="37" y="434"/>
                    <a:pt x="37" y="434"/>
                    <a:pt x="38" y="434"/>
                  </a:cubicBezTo>
                  <a:cubicBezTo>
                    <a:pt x="64" y="415"/>
                    <a:pt x="64" y="415"/>
                    <a:pt x="64" y="415"/>
                  </a:cubicBezTo>
                  <a:cubicBezTo>
                    <a:pt x="64" y="415"/>
                    <a:pt x="64" y="415"/>
                    <a:pt x="64" y="415"/>
                  </a:cubicBezTo>
                  <a:cubicBezTo>
                    <a:pt x="65" y="414"/>
                    <a:pt x="65" y="413"/>
                    <a:pt x="64" y="412"/>
                  </a:cubicBezTo>
                  <a:cubicBezTo>
                    <a:pt x="64" y="412"/>
                    <a:pt x="63" y="411"/>
                    <a:pt x="62" y="412"/>
                  </a:cubicBezTo>
                  <a:cubicBezTo>
                    <a:pt x="37" y="432"/>
                    <a:pt x="37" y="432"/>
                    <a:pt x="37" y="432"/>
                  </a:cubicBezTo>
                  <a:cubicBezTo>
                    <a:pt x="36" y="432"/>
                    <a:pt x="36" y="433"/>
                    <a:pt x="36" y="434"/>
                  </a:cubicBezTo>
                  <a:moveTo>
                    <a:pt x="87" y="396"/>
                  </a:moveTo>
                  <a:cubicBezTo>
                    <a:pt x="88" y="397"/>
                    <a:pt x="89" y="397"/>
                    <a:pt x="90" y="396"/>
                  </a:cubicBezTo>
                  <a:cubicBezTo>
                    <a:pt x="117" y="378"/>
                    <a:pt x="117" y="378"/>
                    <a:pt x="117" y="378"/>
                  </a:cubicBezTo>
                  <a:cubicBezTo>
                    <a:pt x="117" y="378"/>
                    <a:pt x="117" y="378"/>
                    <a:pt x="117" y="378"/>
                  </a:cubicBezTo>
                  <a:cubicBezTo>
                    <a:pt x="119" y="378"/>
                    <a:pt x="119" y="376"/>
                    <a:pt x="118" y="375"/>
                  </a:cubicBezTo>
                  <a:cubicBezTo>
                    <a:pt x="117" y="373"/>
                    <a:pt x="116" y="373"/>
                    <a:pt x="114" y="374"/>
                  </a:cubicBezTo>
                  <a:cubicBezTo>
                    <a:pt x="88" y="393"/>
                    <a:pt x="88" y="393"/>
                    <a:pt x="88" y="393"/>
                  </a:cubicBezTo>
                  <a:cubicBezTo>
                    <a:pt x="87" y="393"/>
                    <a:pt x="87" y="395"/>
                    <a:pt x="87" y="396"/>
                  </a:cubicBezTo>
                  <a:moveTo>
                    <a:pt x="140" y="360"/>
                  </a:moveTo>
                  <a:cubicBezTo>
                    <a:pt x="141" y="362"/>
                    <a:pt x="143" y="362"/>
                    <a:pt x="145" y="361"/>
                  </a:cubicBezTo>
                  <a:cubicBezTo>
                    <a:pt x="172" y="344"/>
                    <a:pt x="172" y="344"/>
                    <a:pt x="172" y="344"/>
                  </a:cubicBezTo>
                  <a:cubicBezTo>
                    <a:pt x="172" y="344"/>
                    <a:pt x="172" y="344"/>
                    <a:pt x="172" y="344"/>
                  </a:cubicBezTo>
                  <a:cubicBezTo>
                    <a:pt x="174" y="343"/>
                    <a:pt x="175" y="341"/>
                    <a:pt x="174" y="339"/>
                  </a:cubicBezTo>
                  <a:cubicBezTo>
                    <a:pt x="172" y="337"/>
                    <a:pt x="170" y="337"/>
                    <a:pt x="168" y="338"/>
                  </a:cubicBezTo>
                  <a:cubicBezTo>
                    <a:pt x="141" y="356"/>
                    <a:pt x="141" y="356"/>
                    <a:pt x="141" y="356"/>
                  </a:cubicBezTo>
                  <a:cubicBezTo>
                    <a:pt x="140" y="357"/>
                    <a:pt x="139" y="359"/>
                    <a:pt x="140" y="360"/>
                  </a:cubicBezTo>
                  <a:moveTo>
                    <a:pt x="194" y="327"/>
                  </a:moveTo>
                  <a:cubicBezTo>
                    <a:pt x="195" y="329"/>
                    <a:pt x="198" y="330"/>
                    <a:pt x="200" y="328"/>
                  </a:cubicBezTo>
                  <a:cubicBezTo>
                    <a:pt x="228" y="313"/>
                    <a:pt x="228" y="313"/>
                    <a:pt x="228" y="313"/>
                  </a:cubicBezTo>
                  <a:cubicBezTo>
                    <a:pt x="228" y="313"/>
                    <a:pt x="228" y="313"/>
                    <a:pt x="228" y="313"/>
                  </a:cubicBezTo>
                  <a:cubicBezTo>
                    <a:pt x="231" y="311"/>
                    <a:pt x="232" y="308"/>
                    <a:pt x="230" y="306"/>
                  </a:cubicBezTo>
                  <a:cubicBezTo>
                    <a:pt x="229" y="304"/>
                    <a:pt x="226" y="303"/>
                    <a:pt x="223" y="304"/>
                  </a:cubicBezTo>
                  <a:cubicBezTo>
                    <a:pt x="196" y="321"/>
                    <a:pt x="196" y="321"/>
                    <a:pt x="196" y="321"/>
                  </a:cubicBezTo>
                  <a:cubicBezTo>
                    <a:pt x="194" y="322"/>
                    <a:pt x="193" y="325"/>
                    <a:pt x="194" y="327"/>
                  </a:cubicBezTo>
                  <a:moveTo>
                    <a:pt x="250" y="295"/>
                  </a:moveTo>
                  <a:cubicBezTo>
                    <a:pt x="251" y="298"/>
                    <a:pt x="254" y="299"/>
                    <a:pt x="257" y="297"/>
                  </a:cubicBezTo>
                  <a:cubicBezTo>
                    <a:pt x="285" y="282"/>
                    <a:pt x="285" y="282"/>
                    <a:pt x="285" y="282"/>
                  </a:cubicBezTo>
                  <a:cubicBezTo>
                    <a:pt x="285" y="282"/>
                    <a:pt x="285" y="282"/>
                    <a:pt x="285" y="282"/>
                  </a:cubicBezTo>
                  <a:cubicBezTo>
                    <a:pt x="288" y="281"/>
                    <a:pt x="289" y="277"/>
                    <a:pt x="288" y="275"/>
                  </a:cubicBezTo>
                  <a:cubicBezTo>
                    <a:pt x="286" y="272"/>
                    <a:pt x="283" y="271"/>
                    <a:pt x="280" y="272"/>
                  </a:cubicBezTo>
                  <a:cubicBezTo>
                    <a:pt x="252" y="288"/>
                    <a:pt x="252" y="288"/>
                    <a:pt x="252" y="288"/>
                  </a:cubicBezTo>
                  <a:cubicBezTo>
                    <a:pt x="249" y="289"/>
                    <a:pt x="248" y="293"/>
                    <a:pt x="250" y="295"/>
                  </a:cubicBezTo>
                  <a:moveTo>
                    <a:pt x="306" y="265"/>
                  </a:moveTo>
                  <a:cubicBezTo>
                    <a:pt x="307" y="268"/>
                    <a:pt x="311" y="270"/>
                    <a:pt x="314" y="268"/>
                  </a:cubicBezTo>
                  <a:cubicBezTo>
                    <a:pt x="343" y="254"/>
                    <a:pt x="343" y="254"/>
                    <a:pt x="343" y="254"/>
                  </a:cubicBezTo>
                  <a:cubicBezTo>
                    <a:pt x="343" y="254"/>
                    <a:pt x="343" y="254"/>
                    <a:pt x="343" y="254"/>
                  </a:cubicBezTo>
                  <a:cubicBezTo>
                    <a:pt x="347" y="252"/>
                    <a:pt x="348" y="249"/>
                    <a:pt x="346" y="245"/>
                  </a:cubicBezTo>
                  <a:cubicBezTo>
                    <a:pt x="345" y="242"/>
                    <a:pt x="341" y="241"/>
                    <a:pt x="338" y="243"/>
                  </a:cubicBezTo>
                  <a:cubicBezTo>
                    <a:pt x="309" y="257"/>
                    <a:pt x="309" y="257"/>
                    <a:pt x="309" y="257"/>
                  </a:cubicBezTo>
                  <a:cubicBezTo>
                    <a:pt x="306" y="259"/>
                    <a:pt x="305" y="262"/>
                    <a:pt x="306" y="265"/>
                  </a:cubicBezTo>
                  <a:moveTo>
                    <a:pt x="364" y="237"/>
                  </a:moveTo>
                  <a:cubicBezTo>
                    <a:pt x="365" y="241"/>
                    <a:pt x="369" y="242"/>
                    <a:pt x="372" y="241"/>
                  </a:cubicBezTo>
                  <a:cubicBezTo>
                    <a:pt x="402" y="227"/>
                    <a:pt x="402" y="227"/>
                    <a:pt x="402" y="227"/>
                  </a:cubicBezTo>
                  <a:cubicBezTo>
                    <a:pt x="402" y="227"/>
                    <a:pt x="402" y="227"/>
                    <a:pt x="402" y="227"/>
                  </a:cubicBezTo>
                  <a:cubicBezTo>
                    <a:pt x="406" y="226"/>
                    <a:pt x="407" y="222"/>
                    <a:pt x="405" y="218"/>
                  </a:cubicBezTo>
                  <a:cubicBezTo>
                    <a:pt x="404" y="215"/>
                    <a:pt x="400" y="213"/>
                    <a:pt x="396" y="215"/>
                  </a:cubicBezTo>
                  <a:cubicBezTo>
                    <a:pt x="367" y="228"/>
                    <a:pt x="367" y="228"/>
                    <a:pt x="367" y="228"/>
                  </a:cubicBezTo>
                  <a:cubicBezTo>
                    <a:pt x="364" y="230"/>
                    <a:pt x="362" y="234"/>
                    <a:pt x="364" y="237"/>
                  </a:cubicBezTo>
                  <a:moveTo>
                    <a:pt x="422" y="211"/>
                  </a:moveTo>
                  <a:cubicBezTo>
                    <a:pt x="423" y="215"/>
                    <a:pt x="428" y="216"/>
                    <a:pt x="431" y="215"/>
                  </a:cubicBezTo>
                  <a:cubicBezTo>
                    <a:pt x="461" y="203"/>
                    <a:pt x="461" y="203"/>
                    <a:pt x="461" y="203"/>
                  </a:cubicBezTo>
                  <a:cubicBezTo>
                    <a:pt x="461" y="203"/>
                    <a:pt x="461" y="203"/>
                    <a:pt x="461" y="203"/>
                  </a:cubicBezTo>
                  <a:cubicBezTo>
                    <a:pt x="465" y="201"/>
                    <a:pt x="467" y="196"/>
                    <a:pt x="465" y="193"/>
                  </a:cubicBezTo>
                  <a:cubicBezTo>
                    <a:pt x="464" y="189"/>
                    <a:pt x="459" y="187"/>
                    <a:pt x="456" y="189"/>
                  </a:cubicBezTo>
                  <a:cubicBezTo>
                    <a:pt x="426" y="201"/>
                    <a:pt x="426" y="201"/>
                    <a:pt x="426" y="201"/>
                  </a:cubicBezTo>
                  <a:cubicBezTo>
                    <a:pt x="422" y="203"/>
                    <a:pt x="420" y="207"/>
                    <a:pt x="422" y="211"/>
                  </a:cubicBezTo>
                  <a:moveTo>
                    <a:pt x="481" y="186"/>
                  </a:moveTo>
                  <a:cubicBezTo>
                    <a:pt x="483" y="190"/>
                    <a:pt x="487" y="192"/>
                    <a:pt x="491" y="191"/>
                  </a:cubicBezTo>
                  <a:cubicBezTo>
                    <a:pt x="521" y="179"/>
                    <a:pt x="521" y="179"/>
                    <a:pt x="521" y="179"/>
                  </a:cubicBezTo>
                  <a:cubicBezTo>
                    <a:pt x="522" y="179"/>
                    <a:pt x="522" y="179"/>
                    <a:pt x="522" y="179"/>
                  </a:cubicBezTo>
                  <a:cubicBezTo>
                    <a:pt x="526" y="178"/>
                    <a:pt x="528" y="173"/>
                    <a:pt x="526" y="169"/>
                  </a:cubicBezTo>
                  <a:cubicBezTo>
                    <a:pt x="525" y="165"/>
                    <a:pt x="520" y="163"/>
                    <a:pt x="516" y="164"/>
                  </a:cubicBezTo>
                  <a:cubicBezTo>
                    <a:pt x="486" y="176"/>
                    <a:pt x="486" y="176"/>
                    <a:pt x="486" y="176"/>
                  </a:cubicBezTo>
                  <a:cubicBezTo>
                    <a:pt x="482" y="178"/>
                    <a:pt x="480" y="182"/>
                    <a:pt x="481" y="186"/>
                  </a:cubicBezTo>
                  <a:moveTo>
                    <a:pt x="541" y="163"/>
                  </a:moveTo>
                  <a:cubicBezTo>
                    <a:pt x="543" y="168"/>
                    <a:pt x="547" y="170"/>
                    <a:pt x="552" y="168"/>
                  </a:cubicBezTo>
                  <a:cubicBezTo>
                    <a:pt x="582" y="158"/>
                    <a:pt x="582" y="158"/>
                    <a:pt x="582" y="158"/>
                  </a:cubicBezTo>
                  <a:cubicBezTo>
                    <a:pt x="582" y="158"/>
                    <a:pt x="582" y="158"/>
                    <a:pt x="582" y="158"/>
                  </a:cubicBezTo>
                  <a:cubicBezTo>
                    <a:pt x="587" y="156"/>
                    <a:pt x="589" y="151"/>
                    <a:pt x="587" y="147"/>
                  </a:cubicBezTo>
                  <a:cubicBezTo>
                    <a:pt x="586" y="143"/>
                    <a:pt x="581" y="140"/>
                    <a:pt x="577" y="142"/>
                  </a:cubicBezTo>
                  <a:cubicBezTo>
                    <a:pt x="546" y="153"/>
                    <a:pt x="546" y="153"/>
                    <a:pt x="546" y="153"/>
                  </a:cubicBezTo>
                  <a:cubicBezTo>
                    <a:pt x="542" y="154"/>
                    <a:pt x="540" y="159"/>
                    <a:pt x="541" y="163"/>
                  </a:cubicBezTo>
                  <a:moveTo>
                    <a:pt x="602" y="142"/>
                  </a:moveTo>
                  <a:cubicBezTo>
                    <a:pt x="603" y="147"/>
                    <a:pt x="608" y="149"/>
                    <a:pt x="613" y="148"/>
                  </a:cubicBezTo>
                  <a:cubicBezTo>
                    <a:pt x="643" y="138"/>
                    <a:pt x="643" y="138"/>
                    <a:pt x="643" y="138"/>
                  </a:cubicBezTo>
                  <a:cubicBezTo>
                    <a:pt x="643" y="138"/>
                    <a:pt x="643" y="138"/>
                    <a:pt x="643" y="138"/>
                  </a:cubicBezTo>
                  <a:cubicBezTo>
                    <a:pt x="648" y="136"/>
                    <a:pt x="651" y="131"/>
                    <a:pt x="649" y="127"/>
                  </a:cubicBezTo>
                  <a:cubicBezTo>
                    <a:pt x="648" y="122"/>
                    <a:pt x="643" y="120"/>
                    <a:pt x="638" y="121"/>
                  </a:cubicBezTo>
                  <a:cubicBezTo>
                    <a:pt x="607" y="131"/>
                    <a:pt x="607" y="131"/>
                    <a:pt x="607" y="131"/>
                  </a:cubicBezTo>
                  <a:cubicBezTo>
                    <a:pt x="603" y="133"/>
                    <a:pt x="600" y="138"/>
                    <a:pt x="602" y="142"/>
                  </a:cubicBezTo>
                  <a:moveTo>
                    <a:pt x="663" y="122"/>
                  </a:moveTo>
                  <a:cubicBezTo>
                    <a:pt x="664" y="127"/>
                    <a:pt x="669" y="130"/>
                    <a:pt x="674" y="128"/>
                  </a:cubicBezTo>
                  <a:cubicBezTo>
                    <a:pt x="705" y="119"/>
                    <a:pt x="705" y="119"/>
                    <a:pt x="705" y="119"/>
                  </a:cubicBezTo>
                  <a:cubicBezTo>
                    <a:pt x="705" y="119"/>
                    <a:pt x="705" y="119"/>
                    <a:pt x="705" y="119"/>
                  </a:cubicBezTo>
                  <a:cubicBezTo>
                    <a:pt x="710" y="118"/>
                    <a:pt x="713" y="113"/>
                    <a:pt x="711" y="108"/>
                  </a:cubicBezTo>
                  <a:cubicBezTo>
                    <a:pt x="710" y="103"/>
                    <a:pt x="705" y="101"/>
                    <a:pt x="700" y="102"/>
                  </a:cubicBezTo>
                  <a:cubicBezTo>
                    <a:pt x="669" y="111"/>
                    <a:pt x="669" y="111"/>
                    <a:pt x="669" y="111"/>
                  </a:cubicBezTo>
                  <a:cubicBezTo>
                    <a:pt x="664" y="113"/>
                    <a:pt x="662" y="118"/>
                    <a:pt x="663" y="122"/>
                  </a:cubicBezTo>
                  <a:moveTo>
                    <a:pt x="725" y="104"/>
                  </a:moveTo>
                  <a:cubicBezTo>
                    <a:pt x="726" y="109"/>
                    <a:pt x="731" y="112"/>
                    <a:pt x="736" y="111"/>
                  </a:cubicBezTo>
                  <a:cubicBezTo>
                    <a:pt x="767" y="103"/>
                    <a:pt x="767" y="103"/>
                    <a:pt x="767" y="103"/>
                  </a:cubicBezTo>
                  <a:cubicBezTo>
                    <a:pt x="767" y="103"/>
                    <a:pt x="767" y="103"/>
                    <a:pt x="767" y="103"/>
                  </a:cubicBezTo>
                  <a:cubicBezTo>
                    <a:pt x="772" y="101"/>
                    <a:pt x="775" y="96"/>
                    <a:pt x="774" y="91"/>
                  </a:cubicBezTo>
                  <a:cubicBezTo>
                    <a:pt x="773" y="86"/>
                    <a:pt x="767" y="83"/>
                    <a:pt x="763" y="85"/>
                  </a:cubicBezTo>
                  <a:cubicBezTo>
                    <a:pt x="731" y="93"/>
                    <a:pt x="731" y="93"/>
                    <a:pt x="731" y="93"/>
                  </a:cubicBezTo>
                  <a:cubicBezTo>
                    <a:pt x="726" y="94"/>
                    <a:pt x="724" y="99"/>
                    <a:pt x="725" y="104"/>
                  </a:cubicBezTo>
                  <a:moveTo>
                    <a:pt x="787" y="88"/>
                  </a:moveTo>
                  <a:cubicBezTo>
                    <a:pt x="788" y="93"/>
                    <a:pt x="793" y="96"/>
                    <a:pt x="798" y="95"/>
                  </a:cubicBezTo>
                  <a:cubicBezTo>
                    <a:pt x="830" y="87"/>
                    <a:pt x="830" y="87"/>
                    <a:pt x="830" y="87"/>
                  </a:cubicBezTo>
                  <a:cubicBezTo>
                    <a:pt x="830" y="87"/>
                    <a:pt x="830" y="87"/>
                    <a:pt x="830" y="87"/>
                  </a:cubicBezTo>
                  <a:cubicBezTo>
                    <a:pt x="835" y="86"/>
                    <a:pt x="838" y="81"/>
                    <a:pt x="837" y="76"/>
                  </a:cubicBezTo>
                  <a:cubicBezTo>
                    <a:pt x="836" y="71"/>
                    <a:pt x="831" y="68"/>
                    <a:pt x="826" y="69"/>
                  </a:cubicBezTo>
                  <a:cubicBezTo>
                    <a:pt x="794" y="77"/>
                    <a:pt x="794" y="77"/>
                    <a:pt x="794" y="77"/>
                  </a:cubicBezTo>
                  <a:cubicBezTo>
                    <a:pt x="789" y="78"/>
                    <a:pt x="786" y="83"/>
                    <a:pt x="787" y="88"/>
                  </a:cubicBezTo>
                  <a:moveTo>
                    <a:pt x="850" y="73"/>
                  </a:moveTo>
                  <a:cubicBezTo>
                    <a:pt x="851" y="78"/>
                    <a:pt x="856" y="81"/>
                    <a:pt x="861" y="80"/>
                  </a:cubicBezTo>
                  <a:cubicBezTo>
                    <a:pt x="893" y="74"/>
                    <a:pt x="893" y="74"/>
                    <a:pt x="893" y="74"/>
                  </a:cubicBezTo>
                  <a:cubicBezTo>
                    <a:pt x="893" y="74"/>
                    <a:pt x="893" y="74"/>
                    <a:pt x="893" y="74"/>
                  </a:cubicBezTo>
                  <a:cubicBezTo>
                    <a:pt x="898" y="72"/>
                    <a:pt x="901" y="67"/>
                    <a:pt x="900" y="62"/>
                  </a:cubicBezTo>
                  <a:cubicBezTo>
                    <a:pt x="899" y="57"/>
                    <a:pt x="894" y="54"/>
                    <a:pt x="889" y="55"/>
                  </a:cubicBezTo>
                  <a:cubicBezTo>
                    <a:pt x="857" y="62"/>
                    <a:pt x="857" y="62"/>
                    <a:pt x="857" y="62"/>
                  </a:cubicBezTo>
                  <a:cubicBezTo>
                    <a:pt x="852" y="63"/>
                    <a:pt x="849" y="68"/>
                    <a:pt x="850" y="73"/>
                  </a:cubicBezTo>
                  <a:moveTo>
                    <a:pt x="913" y="60"/>
                  </a:moveTo>
                  <a:cubicBezTo>
                    <a:pt x="914" y="65"/>
                    <a:pt x="919" y="68"/>
                    <a:pt x="924" y="67"/>
                  </a:cubicBezTo>
                  <a:cubicBezTo>
                    <a:pt x="956" y="60"/>
                    <a:pt x="956" y="60"/>
                    <a:pt x="956" y="60"/>
                  </a:cubicBezTo>
                  <a:cubicBezTo>
                    <a:pt x="956" y="60"/>
                    <a:pt x="956" y="60"/>
                    <a:pt x="956" y="60"/>
                  </a:cubicBezTo>
                  <a:cubicBezTo>
                    <a:pt x="961" y="60"/>
                    <a:pt x="965" y="55"/>
                    <a:pt x="964" y="50"/>
                  </a:cubicBezTo>
                  <a:cubicBezTo>
                    <a:pt x="963" y="45"/>
                    <a:pt x="958" y="42"/>
                    <a:pt x="953" y="43"/>
                  </a:cubicBezTo>
                  <a:cubicBezTo>
                    <a:pt x="921" y="49"/>
                    <a:pt x="921" y="49"/>
                    <a:pt x="921" y="49"/>
                  </a:cubicBezTo>
                  <a:cubicBezTo>
                    <a:pt x="916" y="50"/>
                    <a:pt x="912" y="54"/>
                    <a:pt x="913" y="60"/>
                  </a:cubicBezTo>
                  <a:moveTo>
                    <a:pt x="985" y="37"/>
                  </a:moveTo>
                  <a:cubicBezTo>
                    <a:pt x="979" y="38"/>
                    <a:pt x="976" y="43"/>
                    <a:pt x="977" y="48"/>
                  </a:cubicBezTo>
                  <a:cubicBezTo>
                    <a:pt x="978" y="53"/>
                    <a:pt x="983" y="57"/>
                    <a:pt x="988" y="56"/>
                  </a:cubicBezTo>
                  <a:cubicBezTo>
                    <a:pt x="1020" y="51"/>
                    <a:pt x="1020" y="51"/>
                    <a:pt x="1020" y="51"/>
                  </a:cubicBezTo>
                  <a:cubicBezTo>
                    <a:pt x="1025" y="50"/>
                    <a:pt x="1028" y="45"/>
                    <a:pt x="1027" y="40"/>
                  </a:cubicBezTo>
                  <a:cubicBezTo>
                    <a:pt x="1027" y="35"/>
                    <a:pt x="1022" y="31"/>
                    <a:pt x="1017" y="32"/>
                  </a:cubicBezTo>
                  <a:cubicBezTo>
                    <a:pt x="985" y="37"/>
                    <a:pt x="985" y="37"/>
                    <a:pt x="985" y="37"/>
                  </a:cubicBezTo>
                  <a:cubicBezTo>
                    <a:pt x="985" y="37"/>
                    <a:pt x="985" y="37"/>
                    <a:pt x="985" y="37"/>
                  </a:cubicBezTo>
                  <a:moveTo>
                    <a:pt x="1049" y="27"/>
                  </a:moveTo>
                  <a:cubicBezTo>
                    <a:pt x="1044" y="28"/>
                    <a:pt x="1040" y="33"/>
                    <a:pt x="1041" y="38"/>
                  </a:cubicBezTo>
                  <a:cubicBezTo>
                    <a:pt x="1042" y="43"/>
                    <a:pt x="1046" y="46"/>
                    <a:pt x="1051" y="46"/>
                  </a:cubicBezTo>
                  <a:cubicBezTo>
                    <a:pt x="1083" y="41"/>
                    <a:pt x="1083" y="41"/>
                    <a:pt x="1083" y="41"/>
                  </a:cubicBezTo>
                  <a:cubicBezTo>
                    <a:pt x="1088" y="41"/>
                    <a:pt x="1092" y="36"/>
                    <a:pt x="1091" y="31"/>
                  </a:cubicBezTo>
                  <a:cubicBezTo>
                    <a:pt x="1091" y="26"/>
                    <a:pt x="1086" y="22"/>
                    <a:pt x="1081" y="23"/>
                  </a:cubicBezTo>
                  <a:cubicBezTo>
                    <a:pt x="1049" y="27"/>
                    <a:pt x="1049" y="27"/>
                    <a:pt x="1049" y="27"/>
                  </a:cubicBezTo>
                  <a:cubicBezTo>
                    <a:pt x="1049" y="27"/>
                    <a:pt x="1049" y="27"/>
                    <a:pt x="1049" y="27"/>
                  </a:cubicBezTo>
                  <a:moveTo>
                    <a:pt x="1113" y="19"/>
                  </a:moveTo>
                  <a:cubicBezTo>
                    <a:pt x="1108" y="19"/>
                    <a:pt x="1104" y="24"/>
                    <a:pt x="1105" y="29"/>
                  </a:cubicBezTo>
                  <a:cubicBezTo>
                    <a:pt x="1106" y="34"/>
                    <a:pt x="1110" y="38"/>
                    <a:pt x="1115" y="37"/>
                  </a:cubicBezTo>
                  <a:cubicBezTo>
                    <a:pt x="1147" y="33"/>
                    <a:pt x="1147" y="33"/>
                    <a:pt x="1147" y="33"/>
                  </a:cubicBezTo>
                  <a:cubicBezTo>
                    <a:pt x="1152" y="33"/>
                    <a:pt x="1156" y="28"/>
                    <a:pt x="1155" y="23"/>
                  </a:cubicBezTo>
                  <a:cubicBezTo>
                    <a:pt x="1155" y="18"/>
                    <a:pt x="1150" y="15"/>
                    <a:pt x="1145" y="15"/>
                  </a:cubicBezTo>
                  <a:cubicBezTo>
                    <a:pt x="1113" y="19"/>
                    <a:pt x="1113" y="19"/>
                    <a:pt x="1113" y="19"/>
                  </a:cubicBezTo>
                  <a:cubicBezTo>
                    <a:pt x="1113" y="19"/>
                    <a:pt x="1113" y="19"/>
                    <a:pt x="1113" y="19"/>
                  </a:cubicBezTo>
                  <a:moveTo>
                    <a:pt x="1178" y="12"/>
                  </a:moveTo>
                  <a:cubicBezTo>
                    <a:pt x="1172" y="12"/>
                    <a:pt x="1169" y="17"/>
                    <a:pt x="1169" y="22"/>
                  </a:cubicBezTo>
                  <a:cubicBezTo>
                    <a:pt x="1170" y="27"/>
                    <a:pt x="1174" y="31"/>
                    <a:pt x="1179" y="30"/>
                  </a:cubicBezTo>
                  <a:cubicBezTo>
                    <a:pt x="1211" y="27"/>
                    <a:pt x="1211" y="27"/>
                    <a:pt x="1211" y="27"/>
                  </a:cubicBezTo>
                  <a:cubicBezTo>
                    <a:pt x="1216" y="26"/>
                    <a:pt x="1220" y="22"/>
                    <a:pt x="1220" y="17"/>
                  </a:cubicBezTo>
                  <a:cubicBezTo>
                    <a:pt x="1219" y="12"/>
                    <a:pt x="1215" y="9"/>
                    <a:pt x="1210" y="9"/>
                  </a:cubicBezTo>
                  <a:cubicBezTo>
                    <a:pt x="1178" y="12"/>
                    <a:pt x="1178" y="12"/>
                    <a:pt x="1178" y="12"/>
                  </a:cubicBezTo>
                  <a:cubicBezTo>
                    <a:pt x="1178" y="12"/>
                    <a:pt x="1178" y="12"/>
                    <a:pt x="1178" y="12"/>
                  </a:cubicBezTo>
                  <a:moveTo>
                    <a:pt x="1242" y="7"/>
                  </a:moveTo>
                  <a:cubicBezTo>
                    <a:pt x="1237" y="7"/>
                    <a:pt x="1234" y="11"/>
                    <a:pt x="1234" y="16"/>
                  </a:cubicBezTo>
                  <a:cubicBezTo>
                    <a:pt x="1234" y="21"/>
                    <a:pt x="1239" y="25"/>
                    <a:pt x="1243" y="24"/>
                  </a:cubicBezTo>
                  <a:cubicBezTo>
                    <a:pt x="1276" y="22"/>
                    <a:pt x="1276" y="22"/>
                    <a:pt x="1276" y="22"/>
                  </a:cubicBezTo>
                  <a:cubicBezTo>
                    <a:pt x="1280" y="21"/>
                    <a:pt x="1284" y="17"/>
                    <a:pt x="1284" y="13"/>
                  </a:cubicBezTo>
                  <a:cubicBezTo>
                    <a:pt x="1283" y="8"/>
                    <a:pt x="1279" y="4"/>
                    <a:pt x="1275" y="5"/>
                  </a:cubicBezTo>
                  <a:cubicBezTo>
                    <a:pt x="1242" y="7"/>
                    <a:pt x="1242" y="7"/>
                    <a:pt x="1242" y="7"/>
                  </a:cubicBezTo>
                  <a:cubicBezTo>
                    <a:pt x="1242" y="7"/>
                    <a:pt x="1242" y="7"/>
                    <a:pt x="1242" y="7"/>
                  </a:cubicBezTo>
                  <a:moveTo>
                    <a:pt x="1307" y="3"/>
                  </a:moveTo>
                  <a:cubicBezTo>
                    <a:pt x="1302" y="3"/>
                    <a:pt x="1299" y="7"/>
                    <a:pt x="1299" y="12"/>
                  </a:cubicBezTo>
                  <a:cubicBezTo>
                    <a:pt x="1299" y="16"/>
                    <a:pt x="1303" y="20"/>
                    <a:pt x="1308" y="20"/>
                  </a:cubicBezTo>
                  <a:cubicBezTo>
                    <a:pt x="1340" y="18"/>
                    <a:pt x="1340" y="18"/>
                    <a:pt x="1340" y="18"/>
                  </a:cubicBezTo>
                  <a:cubicBezTo>
                    <a:pt x="1345" y="18"/>
                    <a:pt x="1348" y="14"/>
                    <a:pt x="1348" y="9"/>
                  </a:cubicBezTo>
                  <a:cubicBezTo>
                    <a:pt x="1348" y="5"/>
                    <a:pt x="1344" y="1"/>
                    <a:pt x="1339" y="1"/>
                  </a:cubicBezTo>
                  <a:cubicBezTo>
                    <a:pt x="1307" y="3"/>
                    <a:pt x="1307" y="3"/>
                    <a:pt x="1307" y="3"/>
                  </a:cubicBezTo>
                  <a:cubicBezTo>
                    <a:pt x="1307" y="3"/>
                    <a:pt x="1307" y="3"/>
                    <a:pt x="1307" y="3"/>
                  </a:cubicBezTo>
                  <a:moveTo>
                    <a:pt x="1372" y="0"/>
                  </a:moveTo>
                  <a:cubicBezTo>
                    <a:pt x="1367" y="0"/>
                    <a:pt x="1364" y="4"/>
                    <a:pt x="1364" y="9"/>
                  </a:cubicBezTo>
                  <a:cubicBezTo>
                    <a:pt x="1364" y="13"/>
                    <a:pt x="1368" y="17"/>
                    <a:pt x="1372" y="17"/>
                  </a:cubicBezTo>
                  <a:cubicBezTo>
                    <a:pt x="1405" y="16"/>
                    <a:pt x="1405" y="16"/>
                    <a:pt x="1405" y="16"/>
                  </a:cubicBezTo>
                  <a:cubicBezTo>
                    <a:pt x="1409" y="15"/>
                    <a:pt x="1412" y="12"/>
                    <a:pt x="1412" y="8"/>
                  </a:cubicBezTo>
                  <a:cubicBezTo>
                    <a:pt x="1412" y="3"/>
                    <a:pt x="1408" y="0"/>
                    <a:pt x="1404" y="0"/>
                  </a:cubicBezTo>
                  <a:cubicBezTo>
                    <a:pt x="1372" y="0"/>
                    <a:pt x="1372" y="0"/>
                    <a:pt x="1372" y="0"/>
                  </a:cubicBezTo>
                  <a:cubicBezTo>
                    <a:pt x="1372" y="0"/>
                    <a:pt x="1372" y="0"/>
                    <a:pt x="1372" y="0"/>
                  </a:cubicBezTo>
                  <a:moveTo>
                    <a:pt x="1436" y="0"/>
                  </a:moveTo>
                  <a:cubicBezTo>
                    <a:pt x="1432" y="0"/>
                    <a:pt x="1429" y="4"/>
                    <a:pt x="1429" y="8"/>
                  </a:cubicBezTo>
                  <a:cubicBezTo>
                    <a:pt x="1429" y="12"/>
                    <a:pt x="1432" y="15"/>
                    <a:pt x="1437" y="15"/>
                  </a:cubicBezTo>
                  <a:cubicBezTo>
                    <a:pt x="1469" y="14"/>
                    <a:pt x="1469" y="14"/>
                    <a:pt x="1469" y="14"/>
                  </a:cubicBezTo>
                  <a:cubicBezTo>
                    <a:pt x="1473" y="14"/>
                    <a:pt x="1476" y="11"/>
                    <a:pt x="1476" y="7"/>
                  </a:cubicBezTo>
                  <a:cubicBezTo>
                    <a:pt x="1476" y="3"/>
                    <a:pt x="1473" y="0"/>
                    <a:pt x="1469" y="0"/>
                  </a:cubicBezTo>
                  <a:cubicBezTo>
                    <a:pt x="1437" y="0"/>
                    <a:pt x="1437" y="0"/>
                    <a:pt x="1437" y="0"/>
                  </a:cubicBezTo>
                  <a:cubicBezTo>
                    <a:pt x="1436" y="0"/>
                    <a:pt x="1436" y="0"/>
                    <a:pt x="1436" y="0"/>
                  </a:cubicBezTo>
                  <a:moveTo>
                    <a:pt x="1501" y="0"/>
                  </a:moveTo>
                  <a:cubicBezTo>
                    <a:pt x="1497" y="0"/>
                    <a:pt x="1494" y="3"/>
                    <a:pt x="1494" y="7"/>
                  </a:cubicBezTo>
                  <a:cubicBezTo>
                    <a:pt x="1494" y="11"/>
                    <a:pt x="1497" y="14"/>
                    <a:pt x="1501" y="14"/>
                  </a:cubicBezTo>
                  <a:cubicBezTo>
                    <a:pt x="1534" y="14"/>
                    <a:pt x="1534" y="14"/>
                    <a:pt x="1534" y="14"/>
                  </a:cubicBezTo>
                  <a:cubicBezTo>
                    <a:pt x="1537" y="14"/>
                    <a:pt x="1540" y="12"/>
                    <a:pt x="1540" y="8"/>
                  </a:cubicBezTo>
                  <a:cubicBezTo>
                    <a:pt x="1540" y="4"/>
                    <a:pt x="1537" y="1"/>
                    <a:pt x="1534" y="1"/>
                  </a:cubicBezTo>
                  <a:cubicBezTo>
                    <a:pt x="1501" y="0"/>
                    <a:pt x="1501" y="0"/>
                    <a:pt x="1501" y="0"/>
                  </a:cubicBezTo>
                  <a:cubicBezTo>
                    <a:pt x="1501" y="0"/>
                    <a:pt x="1501" y="0"/>
                    <a:pt x="1501" y="0"/>
                  </a:cubicBezTo>
                  <a:moveTo>
                    <a:pt x="1566" y="2"/>
                  </a:moveTo>
                  <a:cubicBezTo>
                    <a:pt x="1562" y="2"/>
                    <a:pt x="1559" y="5"/>
                    <a:pt x="1559" y="8"/>
                  </a:cubicBezTo>
                  <a:cubicBezTo>
                    <a:pt x="1559" y="12"/>
                    <a:pt x="1562" y="15"/>
                    <a:pt x="1566" y="15"/>
                  </a:cubicBezTo>
                  <a:cubicBezTo>
                    <a:pt x="1598" y="16"/>
                    <a:pt x="1598" y="16"/>
                    <a:pt x="1598" y="16"/>
                  </a:cubicBezTo>
                  <a:cubicBezTo>
                    <a:pt x="1601" y="16"/>
                    <a:pt x="1604" y="13"/>
                    <a:pt x="1604" y="10"/>
                  </a:cubicBezTo>
                  <a:cubicBezTo>
                    <a:pt x="1604" y="6"/>
                    <a:pt x="1602" y="4"/>
                    <a:pt x="1598" y="3"/>
                  </a:cubicBezTo>
                  <a:cubicBezTo>
                    <a:pt x="1566" y="2"/>
                    <a:pt x="1566" y="2"/>
                    <a:pt x="1566" y="2"/>
                  </a:cubicBezTo>
                  <a:cubicBezTo>
                    <a:pt x="1566" y="2"/>
                    <a:pt x="1566" y="2"/>
                    <a:pt x="1566" y="2"/>
                  </a:cubicBezTo>
                  <a:moveTo>
                    <a:pt x="1631" y="5"/>
                  </a:moveTo>
                  <a:cubicBezTo>
                    <a:pt x="1628" y="5"/>
                    <a:pt x="1625" y="8"/>
                    <a:pt x="1625" y="11"/>
                  </a:cubicBezTo>
                  <a:cubicBezTo>
                    <a:pt x="1625" y="14"/>
                    <a:pt x="1627" y="16"/>
                    <a:pt x="1630" y="17"/>
                  </a:cubicBezTo>
                  <a:cubicBezTo>
                    <a:pt x="1663" y="18"/>
                    <a:pt x="1663" y="18"/>
                    <a:pt x="1663" y="18"/>
                  </a:cubicBezTo>
                  <a:cubicBezTo>
                    <a:pt x="1665" y="18"/>
                    <a:pt x="1668" y="16"/>
                    <a:pt x="1668" y="13"/>
                  </a:cubicBezTo>
                  <a:cubicBezTo>
                    <a:pt x="1668" y="10"/>
                    <a:pt x="1666" y="8"/>
                    <a:pt x="1663" y="7"/>
                  </a:cubicBezTo>
                  <a:cubicBezTo>
                    <a:pt x="1631" y="5"/>
                    <a:pt x="1631" y="5"/>
                    <a:pt x="1631" y="5"/>
                  </a:cubicBezTo>
                  <a:cubicBezTo>
                    <a:pt x="1631" y="5"/>
                    <a:pt x="1631" y="5"/>
                    <a:pt x="1631" y="5"/>
                  </a:cubicBezTo>
                  <a:moveTo>
                    <a:pt x="1695" y="10"/>
                  </a:moveTo>
                  <a:cubicBezTo>
                    <a:pt x="1693" y="10"/>
                    <a:pt x="1690" y="12"/>
                    <a:pt x="1690" y="14"/>
                  </a:cubicBezTo>
                  <a:cubicBezTo>
                    <a:pt x="1690" y="17"/>
                    <a:pt x="1692" y="19"/>
                    <a:pt x="1695" y="20"/>
                  </a:cubicBezTo>
                  <a:cubicBezTo>
                    <a:pt x="1727" y="22"/>
                    <a:pt x="1727" y="22"/>
                    <a:pt x="1727" y="22"/>
                  </a:cubicBezTo>
                  <a:cubicBezTo>
                    <a:pt x="1729" y="22"/>
                    <a:pt x="1731" y="20"/>
                    <a:pt x="1732" y="17"/>
                  </a:cubicBezTo>
                  <a:cubicBezTo>
                    <a:pt x="1732" y="15"/>
                    <a:pt x="1730" y="13"/>
                    <a:pt x="1728" y="13"/>
                  </a:cubicBezTo>
                  <a:cubicBezTo>
                    <a:pt x="1695" y="10"/>
                    <a:pt x="1695" y="10"/>
                    <a:pt x="1695" y="10"/>
                  </a:cubicBezTo>
                  <a:cubicBezTo>
                    <a:pt x="1695" y="10"/>
                    <a:pt x="1695" y="10"/>
                    <a:pt x="1695" y="10"/>
                  </a:cubicBezTo>
                  <a:moveTo>
                    <a:pt x="1760" y="16"/>
                  </a:moveTo>
                  <a:cubicBezTo>
                    <a:pt x="1758" y="16"/>
                    <a:pt x="1756" y="17"/>
                    <a:pt x="1756" y="19"/>
                  </a:cubicBezTo>
                  <a:cubicBezTo>
                    <a:pt x="1755" y="22"/>
                    <a:pt x="1757" y="23"/>
                    <a:pt x="1759" y="24"/>
                  </a:cubicBezTo>
                  <a:cubicBezTo>
                    <a:pt x="1791" y="26"/>
                    <a:pt x="1791" y="26"/>
                    <a:pt x="1791" y="26"/>
                  </a:cubicBezTo>
                  <a:cubicBezTo>
                    <a:pt x="1793" y="26"/>
                    <a:pt x="1795" y="25"/>
                    <a:pt x="1795" y="23"/>
                  </a:cubicBezTo>
                  <a:cubicBezTo>
                    <a:pt x="1795" y="21"/>
                    <a:pt x="1794" y="20"/>
                    <a:pt x="1792" y="19"/>
                  </a:cubicBezTo>
                  <a:cubicBezTo>
                    <a:pt x="1760" y="16"/>
                    <a:pt x="1760" y="16"/>
                    <a:pt x="1760" y="16"/>
                  </a:cubicBezTo>
                  <a:cubicBezTo>
                    <a:pt x="1760" y="16"/>
                    <a:pt x="1760" y="16"/>
                    <a:pt x="1760" y="16"/>
                  </a:cubicBezTo>
                  <a:moveTo>
                    <a:pt x="1824" y="23"/>
                  </a:moveTo>
                  <a:cubicBezTo>
                    <a:pt x="1823" y="23"/>
                    <a:pt x="1821" y="24"/>
                    <a:pt x="1821" y="26"/>
                  </a:cubicBezTo>
                  <a:cubicBezTo>
                    <a:pt x="1821" y="27"/>
                    <a:pt x="1822" y="29"/>
                    <a:pt x="1824" y="29"/>
                  </a:cubicBezTo>
                  <a:cubicBezTo>
                    <a:pt x="1856" y="32"/>
                    <a:pt x="1856" y="32"/>
                    <a:pt x="1856" y="32"/>
                  </a:cubicBezTo>
                  <a:cubicBezTo>
                    <a:pt x="1857" y="32"/>
                    <a:pt x="1858" y="31"/>
                    <a:pt x="1858" y="30"/>
                  </a:cubicBezTo>
                  <a:cubicBezTo>
                    <a:pt x="1858" y="29"/>
                    <a:pt x="1858" y="27"/>
                    <a:pt x="1856" y="27"/>
                  </a:cubicBezTo>
                  <a:cubicBezTo>
                    <a:pt x="1824" y="23"/>
                    <a:pt x="1824" y="23"/>
                    <a:pt x="1824" y="23"/>
                  </a:cubicBezTo>
                  <a:cubicBezTo>
                    <a:pt x="1824" y="23"/>
                    <a:pt x="1824" y="23"/>
                    <a:pt x="1824" y="23"/>
                  </a:cubicBezTo>
                  <a:moveTo>
                    <a:pt x="1888" y="32"/>
                  </a:moveTo>
                  <a:cubicBezTo>
                    <a:pt x="1887" y="32"/>
                    <a:pt x="1886" y="32"/>
                    <a:pt x="1886" y="33"/>
                  </a:cubicBezTo>
                  <a:cubicBezTo>
                    <a:pt x="1886" y="34"/>
                    <a:pt x="1887" y="35"/>
                    <a:pt x="1888" y="35"/>
                  </a:cubicBezTo>
                  <a:cubicBezTo>
                    <a:pt x="1920" y="39"/>
                    <a:pt x="1920" y="39"/>
                    <a:pt x="1920" y="39"/>
                  </a:cubicBezTo>
                  <a:cubicBezTo>
                    <a:pt x="1921" y="39"/>
                    <a:pt x="1921" y="38"/>
                    <a:pt x="1921" y="38"/>
                  </a:cubicBezTo>
                  <a:cubicBezTo>
                    <a:pt x="1921" y="37"/>
                    <a:pt x="1921" y="37"/>
                    <a:pt x="1920" y="36"/>
                  </a:cubicBezTo>
                  <a:cubicBezTo>
                    <a:pt x="1888" y="32"/>
                    <a:pt x="1888" y="32"/>
                    <a:pt x="1888" y="32"/>
                  </a:cubicBezTo>
                  <a:cubicBezTo>
                    <a:pt x="1888" y="32"/>
                    <a:pt x="1888" y="32"/>
                    <a:pt x="1888" y="32"/>
                  </a:cubicBezTo>
                  <a:moveTo>
                    <a:pt x="1953" y="41"/>
                  </a:moveTo>
                  <a:cubicBezTo>
                    <a:pt x="1952" y="42"/>
                    <a:pt x="1952" y="42"/>
                    <a:pt x="1952" y="42"/>
                  </a:cubicBezTo>
                  <a:cubicBezTo>
                    <a:pt x="1953" y="42"/>
                    <a:pt x="1953" y="42"/>
                    <a:pt x="1953" y="42"/>
                  </a:cubicBezTo>
                  <a:cubicBezTo>
                    <a:pt x="1969" y="44"/>
                    <a:pt x="1969" y="44"/>
                    <a:pt x="1969" y="44"/>
                  </a:cubicBezTo>
                  <a:cubicBezTo>
                    <a:pt x="1953" y="41"/>
                    <a:pt x="1953" y="41"/>
                    <a:pt x="1953" y="41"/>
                  </a:cubicBezTo>
                  <a:cubicBezTo>
                    <a:pt x="1953" y="41"/>
                    <a:pt x="1953" y="41"/>
                    <a:pt x="1953" y="41"/>
                  </a:cubicBezTo>
                </a:path>
              </a:pathLst>
            </a:custGeom>
            <a:solidFill>
              <a:schemeClr val="accent4">
                <a:lumMod val="60000"/>
                <a:lumOff val="40000"/>
                <a:alpha val="32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Freeform 619">
              <a:extLst>
                <a:ext uri="{FF2B5EF4-FFF2-40B4-BE49-F238E27FC236}">
                  <a16:creationId xmlns:a16="http://schemas.microsoft.com/office/drawing/2014/main" id="{3A0B3DDD-E0AB-4EE9-BB4A-93202C43F584}"/>
                </a:ext>
              </a:extLst>
            </p:cNvPr>
            <p:cNvSpPr>
              <a:spLocks noEditPoints="1"/>
            </p:cNvSpPr>
            <p:nvPr/>
          </p:nvSpPr>
          <p:spPr bwMode="auto">
            <a:xfrm>
              <a:off x="164286" y="5319733"/>
              <a:ext cx="3633654" cy="3086213"/>
            </a:xfrm>
            <a:custGeom>
              <a:avLst/>
              <a:gdLst>
                <a:gd name="T0" fmla="*/ 1 w 1317"/>
                <a:gd name="T1" fmla="*/ 1108 h 1118"/>
                <a:gd name="T2" fmla="*/ 4 w 1317"/>
                <a:gd name="T3" fmla="*/ 1085 h 1118"/>
                <a:gd name="T4" fmla="*/ 5 w 1317"/>
                <a:gd name="T5" fmla="*/ 1086 h 1118"/>
                <a:gd name="T6" fmla="*/ 0 w 1317"/>
                <a:gd name="T7" fmla="*/ 1113 h 1118"/>
                <a:gd name="T8" fmla="*/ 17 w 1317"/>
                <a:gd name="T9" fmla="*/ 1033 h 1118"/>
                <a:gd name="T10" fmla="*/ 24 w 1317"/>
                <a:gd name="T11" fmla="*/ 997 h 1118"/>
                <a:gd name="T12" fmla="*/ 14 w 1317"/>
                <a:gd name="T13" fmla="*/ 1035 h 1118"/>
                <a:gd name="T14" fmla="*/ 53 w 1317"/>
                <a:gd name="T15" fmla="*/ 918 h 1118"/>
                <a:gd name="T16" fmla="*/ 43 w 1317"/>
                <a:gd name="T17" fmla="*/ 915 h 1118"/>
                <a:gd name="T18" fmla="*/ 64 w 1317"/>
                <a:gd name="T19" fmla="*/ 871 h 1118"/>
                <a:gd name="T20" fmla="*/ 85 w 1317"/>
                <a:gd name="T21" fmla="*/ 838 h 1118"/>
                <a:gd name="T22" fmla="*/ 60 w 1317"/>
                <a:gd name="T23" fmla="*/ 863 h 1118"/>
                <a:gd name="T24" fmla="*/ 108 w 1317"/>
                <a:gd name="T25" fmla="*/ 789 h 1118"/>
                <a:gd name="T26" fmla="*/ 119 w 1317"/>
                <a:gd name="T27" fmla="*/ 748 h 1118"/>
                <a:gd name="T28" fmla="*/ 97 w 1317"/>
                <a:gd name="T29" fmla="*/ 792 h 1118"/>
                <a:gd name="T30" fmla="*/ 165 w 1317"/>
                <a:gd name="T31" fmla="*/ 684 h 1118"/>
                <a:gd name="T32" fmla="*/ 148 w 1317"/>
                <a:gd name="T33" fmla="*/ 674 h 1118"/>
                <a:gd name="T34" fmla="*/ 179 w 1317"/>
                <a:gd name="T35" fmla="*/ 641 h 1118"/>
                <a:gd name="T36" fmla="*/ 212 w 1317"/>
                <a:gd name="T37" fmla="*/ 611 h 1118"/>
                <a:gd name="T38" fmla="*/ 176 w 1317"/>
                <a:gd name="T39" fmla="*/ 627 h 1118"/>
                <a:gd name="T40" fmla="*/ 243 w 1317"/>
                <a:gd name="T41" fmla="*/ 568 h 1118"/>
                <a:gd name="T42" fmla="*/ 261 w 1317"/>
                <a:gd name="T43" fmla="*/ 526 h 1118"/>
                <a:gd name="T44" fmla="*/ 228 w 1317"/>
                <a:gd name="T45" fmla="*/ 570 h 1118"/>
                <a:gd name="T46" fmla="*/ 320 w 1317"/>
                <a:gd name="T47" fmla="*/ 476 h 1118"/>
                <a:gd name="T48" fmla="*/ 302 w 1317"/>
                <a:gd name="T49" fmla="*/ 461 h 1118"/>
                <a:gd name="T50" fmla="*/ 340 w 1317"/>
                <a:gd name="T51" fmla="*/ 437 h 1118"/>
                <a:gd name="T52" fmla="*/ 380 w 1317"/>
                <a:gd name="T53" fmla="*/ 414 h 1118"/>
                <a:gd name="T54" fmla="*/ 340 w 1317"/>
                <a:gd name="T55" fmla="*/ 420 h 1118"/>
                <a:gd name="T56" fmla="*/ 420 w 1317"/>
                <a:gd name="T57" fmla="*/ 378 h 1118"/>
                <a:gd name="T58" fmla="*/ 446 w 1317"/>
                <a:gd name="T59" fmla="*/ 339 h 1118"/>
                <a:gd name="T60" fmla="*/ 403 w 1317"/>
                <a:gd name="T61" fmla="*/ 377 h 1118"/>
                <a:gd name="T62" fmla="*/ 486 w 1317"/>
                <a:gd name="T63" fmla="*/ 323 h 1118"/>
                <a:gd name="T64" fmla="*/ 498 w 1317"/>
                <a:gd name="T65" fmla="*/ 284 h 1118"/>
                <a:gd name="T66" fmla="*/ 540 w 1317"/>
                <a:gd name="T67" fmla="*/ 269 h 1118"/>
                <a:gd name="T68" fmla="*/ 587 w 1317"/>
                <a:gd name="T69" fmla="*/ 238 h 1118"/>
                <a:gd name="T70" fmla="*/ 618 w 1317"/>
                <a:gd name="T71" fmla="*/ 206 h 1118"/>
                <a:gd name="T72" fmla="*/ 658 w 1317"/>
                <a:gd name="T73" fmla="*/ 210 h 1118"/>
                <a:gd name="T74" fmla="*/ 618 w 1317"/>
                <a:gd name="T75" fmla="*/ 206 h 1118"/>
                <a:gd name="T76" fmla="*/ 705 w 1317"/>
                <a:gd name="T77" fmla="*/ 185 h 1118"/>
                <a:gd name="T78" fmla="*/ 725 w 1317"/>
                <a:gd name="T79" fmla="*/ 150 h 1118"/>
                <a:gd name="T80" fmla="*/ 775 w 1317"/>
                <a:gd name="T81" fmla="*/ 128 h 1118"/>
                <a:gd name="T82" fmla="*/ 814 w 1317"/>
                <a:gd name="T83" fmla="*/ 134 h 1118"/>
                <a:gd name="T84" fmla="*/ 775 w 1317"/>
                <a:gd name="T85" fmla="*/ 128 h 1118"/>
                <a:gd name="T86" fmla="*/ 864 w 1317"/>
                <a:gd name="T87" fmla="*/ 114 h 1118"/>
                <a:gd name="T88" fmla="*/ 888 w 1317"/>
                <a:gd name="T89" fmla="*/ 85 h 1118"/>
                <a:gd name="T90" fmla="*/ 935 w 1317"/>
                <a:gd name="T91" fmla="*/ 80 h 1118"/>
                <a:gd name="T92" fmla="*/ 982 w 1317"/>
                <a:gd name="T93" fmla="*/ 65 h 1118"/>
                <a:gd name="T94" fmla="*/ 940 w 1317"/>
                <a:gd name="T95" fmla="*/ 69 h 1118"/>
                <a:gd name="T96" fmla="*/ 1029 w 1317"/>
                <a:gd name="T97" fmla="*/ 60 h 1118"/>
                <a:gd name="T98" fmla="*/ 1057 w 1317"/>
                <a:gd name="T99" fmla="*/ 39 h 1118"/>
                <a:gd name="T100" fmla="*/ 1106 w 1317"/>
                <a:gd name="T101" fmla="*/ 34 h 1118"/>
                <a:gd name="T102" fmla="*/ 1149 w 1317"/>
                <a:gd name="T103" fmla="*/ 26 h 1118"/>
                <a:gd name="T104" fmla="*/ 1111 w 1317"/>
                <a:gd name="T105" fmla="*/ 28 h 1118"/>
                <a:gd name="T106" fmla="*/ 1198 w 1317"/>
                <a:gd name="T107" fmla="*/ 20 h 1118"/>
                <a:gd name="T108" fmla="*/ 1230 w 1317"/>
                <a:gd name="T109" fmla="*/ 9 h 1118"/>
                <a:gd name="T110" fmla="*/ 1283 w 1317"/>
                <a:gd name="T111" fmla="*/ 4 h 1118"/>
                <a:gd name="T112" fmla="*/ 1317 w 1317"/>
                <a:gd name="T113" fmla="*/ 0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17" h="1118">
                  <a:moveTo>
                    <a:pt x="0" y="1118"/>
                  </a:moveTo>
                  <a:cubicBezTo>
                    <a:pt x="0" y="1118"/>
                    <a:pt x="0" y="1116"/>
                    <a:pt x="0" y="1113"/>
                  </a:cubicBezTo>
                  <a:cubicBezTo>
                    <a:pt x="0" y="1111"/>
                    <a:pt x="0" y="1110"/>
                    <a:pt x="1" y="1108"/>
                  </a:cubicBezTo>
                  <a:cubicBezTo>
                    <a:pt x="1" y="1106"/>
                    <a:pt x="1" y="1104"/>
                    <a:pt x="1" y="1102"/>
                  </a:cubicBezTo>
                  <a:cubicBezTo>
                    <a:pt x="2" y="1094"/>
                    <a:pt x="3" y="1085"/>
                    <a:pt x="3" y="1085"/>
                  </a:cubicBezTo>
                  <a:cubicBezTo>
                    <a:pt x="3" y="1085"/>
                    <a:pt x="4" y="1084"/>
                    <a:pt x="4" y="1085"/>
                  </a:cubicBezTo>
                  <a:cubicBezTo>
                    <a:pt x="5" y="1085"/>
                    <a:pt x="5" y="1085"/>
                    <a:pt x="5" y="1086"/>
                  </a:cubicBezTo>
                  <a:cubicBezTo>
                    <a:pt x="5" y="1086"/>
                    <a:pt x="5" y="1086"/>
                    <a:pt x="5" y="1086"/>
                  </a:cubicBezTo>
                  <a:cubicBezTo>
                    <a:pt x="5" y="1086"/>
                    <a:pt x="5" y="1086"/>
                    <a:pt x="5" y="1086"/>
                  </a:cubicBezTo>
                  <a:cubicBezTo>
                    <a:pt x="5" y="1086"/>
                    <a:pt x="4" y="1094"/>
                    <a:pt x="2" y="1102"/>
                  </a:cubicBezTo>
                  <a:cubicBezTo>
                    <a:pt x="2" y="1104"/>
                    <a:pt x="2" y="1106"/>
                    <a:pt x="1" y="1108"/>
                  </a:cubicBezTo>
                  <a:cubicBezTo>
                    <a:pt x="1" y="1110"/>
                    <a:pt x="1" y="1111"/>
                    <a:pt x="0" y="1113"/>
                  </a:cubicBezTo>
                  <a:cubicBezTo>
                    <a:pt x="0" y="1116"/>
                    <a:pt x="0" y="1118"/>
                    <a:pt x="0" y="1118"/>
                  </a:cubicBezTo>
                  <a:close/>
                  <a:moveTo>
                    <a:pt x="14" y="1035"/>
                  </a:moveTo>
                  <a:cubicBezTo>
                    <a:pt x="16" y="1035"/>
                    <a:pt x="17" y="1034"/>
                    <a:pt x="17" y="1033"/>
                  </a:cubicBezTo>
                  <a:cubicBezTo>
                    <a:pt x="26" y="1001"/>
                    <a:pt x="26" y="1001"/>
                    <a:pt x="26" y="1001"/>
                  </a:cubicBezTo>
                  <a:cubicBezTo>
                    <a:pt x="26" y="1001"/>
                    <a:pt x="26" y="1001"/>
                    <a:pt x="26" y="1001"/>
                  </a:cubicBezTo>
                  <a:cubicBezTo>
                    <a:pt x="27" y="999"/>
                    <a:pt x="25" y="997"/>
                    <a:pt x="24" y="997"/>
                  </a:cubicBezTo>
                  <a:cubicBezTo>
                    <a:pt x="22" y="996"/>
                    <a:pt x="20" y="998"/>
                    <a:pt x="19" y="1000"/>
                  </a:cubicBezTo>
                  <a:cubicBezTo>
                    <a:pt x="12" y="1031"/>
                    <a:pt x="12" y="1031"/>
                    <a:pt x="12" y="1031"/>
                  </a:cubicBezTo>
                  <a:cubicBezTo>
                    <a:pt x="12" y="1033"/>
                    <a:pt x="13" y="1034"/>
                    <a:pt x="14" y="1035"/>
                  </a:cubicBezTo>
                  <a:close/>
                  <a:moveTo>
                    <a:pt x="36" y="952"/>
                  </a:moveTo>
                  <a:cubicBezTo>
                    <a:pt x="39" y="953"/>
                    <a:pt x="41" y="952"/>
                    <a:pt x="42" y="949"/>
                  </a:cubicBezTo>
                  <a:cubicBezTo>
                    <a:pt x="53" y="918"/>
                    <a:pt x="53" y="918"/>
                    <a:pt x="53" y="918"/>
                  </a:cubicBezTo>
                  <a:cubicBezTo>
                    <a:pt x="53" y="918"/>
                    <a:pt x="53" y="918"/>
                    <a:pt x="53" y="918"/>
                  </a:cubicBezTo>
                  <a:cubicBezTo>
                    <a:pt x="54" y="915"/>
                    <a:pt x="52" y="912"/>
                    <a:pt x="49" y="912"/>
                  </a:cubicBezTo>
                  <a:cubicBezTo>
                    <a:pt x="47" y="911"/>
                    <a:pt x="44" y="912"/>
                    <a:pt x="43" y="915"/>
                  </a:cubicBezTo>
                  <a:cubicBezTo>
                    <a:pt x="33" y="946"/>
                    <a:pt x="33" y="946"/>
                    <a:pt x="33" y="946"/>
                  </a:cubicBezTo>
                  <a:cubicBezTo>
                    <a:pt x="33" y="949"/>
                    <a:pt x="34" y="951"/>
                    <a:pt x="36" y="952"/>
                  </a:cubicBezTo>
                  <a:close/>
                  <a:moveTo>
                    <a:pt x="64" y="871"/>
                  </a:moveTo>
                  <a:cubicBezTo>
                    <a:pt x="67" y="873"/>
                    <a:pt x="71" y="871"/>
                    <a:pt x="72" y="868"/>
                  </a:cubicBezTo>
                  <a:cubicBezTo>
                    <a:pt x="85" y="838"/>
                    <a:pt x="85" y="838"/>
                    <a:pt x="85" y="838"/>
                  </a:cubicBezTo>
                  <a:cubicBezTo>
                    <a:pt x="85" y="838"/>
                    <a:pt x="85" y="838"/>
                    <a:pt x="85" y="838"/>
                  </a:cubicBezTo>
                  <a:cubicBezTo>
                    <a:pt x="87" y="834"/>
                    <a:pt x="85" y="830"/>
                    <a:pt x="81" y="828"/>
                  </a:cubicBezTo>
                  <a:cubicBezTo>
                    <a:pt x="78" y="827"/>
                    <a:pt x="74" y="829"/>
                    <a:pt x="72" y="833"/>
                  </a:cubicBezTo>
                  <a:cubicBezTo>
                    <a:pt x="60" y="863"/>
                    <a:pt x="60" y="863"/>
                    <a:pt x="60" y="863"/>
                  </a:cubicBezTo>
                  <a:cubicBezTo>
                    <a:pt x="59" y="866"/>
                    <a:pt x="61" y="870"/>
                    <a:pt x="64" y="871"/>
                  </a:cubicBezTo>
                  <a:close/>
                  <a:moveTo>
                    <a:pt x="97" y="792"/>
                  </a:moveTo>
                  <a:cubicBezTo>
                    <a:pt x="101" y="794"/>
                    <a:pt x="106" y="793"/>
                    <a:pt x="108" y="789"/>
                  </a:cubicBezTo>
                  <a:cubicBezTo>
                    <a:pt x="123" y="760"/>
                    <a:pt x="123" y="760"/>
                    <a:pt x="123" y="760"/>
                  </a:cubicBezTo>
                  <a:cubicBezTo>
                    <a:pt x="123" y="759"/>
                    <a:pt x="123" y="759"/>
                    <a:pt x="123" y="759"/>
                  </a:cubicBezTo>
                  <a:cubicBezTo>
                    <a:pt x="125" y="755"/>
                    <a:pt x="123" y="750"/>
                    <a:pt x="119" y="748"/>
                  </a:cubicBezTo>
                  <a:cubicBezTo>
                    <a:pt x="114" y="746"/>
                    <a:pt x="109" y="748"/>
                    <a:pt x="107" y="752"/>
                  </a:cubicBezTo>
                  <a:cubicBezTo>
                    <a:pt x="94" y="782"/>
                    <a:pt x="94" y="782"/>
                    <a:pt x="94" y="782"/>
                  </a:cubicBezTo>
                  <a:cubicBezTo>
                    <a:pt x="92" y="786"/>
                    <a:pt x="93" y="790"/>
                    <a:pt x="97" y="792"/>
                  </a:cubicBezTo>
                  <a:close/>
                  <a:moveTo>
                    <a:pt x="136" y="715"/>
                  </a:moveTo>
                  <a:cubicBezTo>
                    <a:pt x="140" y="718"/>
                    <a:pt x="146" y="716"/>
                    <a:pt x="148" y="712"/>
                  </a:cubicBezTo>
                  <a:cubicBezTo>
                    <a:pt x="165" y="684"/>
                    <a:pt x="165" y="684"/>
                    <a:pt x="165" y="684"/>
                  </a:cubicBezTo>
                  <a:cubicBezTo>
                    <a:pt x="165" y="684"/>
                    <a:pt x="165" y="684"/>
                    <a:pt x="165" y="684"/>
                  </a:cubicBezTo>
                  <a:cubicBezTo>
                    <a:pt x="167" y="679"/>
                    <a:pt x="166" y="673"/>
                    <a:pt x="161" y="671"/>
                  </a:cubicBezTo>
                  <a:cubicBezTo>
                    <a:pt x="157" y="668"/>
                    <a:pt x="151" y="670"/>
                    <a:pt x="148" y="674"/>
                  </a:cubicBezTo>
                  <a:cubicBezTo>
                    <a:pt x="132" y="703"/>
                    <a:pt x="132" y="703"/>
                    <a:pt x="132" y="703"/>
                  </a:cubicBezTo>
                  <a:cubicBezTo>
                    <a:pt x="130" y="707"/>
                    <a:pt x="131" y="713"/>
                    <a:pt x="136" y="715"/>
                  </a:cubicBezTo>
                  <a:close/>
                  <a:moveTo>
                    <a:pt x="179" y="641"/>
                  </a:moveTo>
                  <a:cubicBezTo>
                    <a:pt x="184" y="644"/>
                    <a:pt x="190" y="643"/>
                    <a:pt x="194" y="638"/>
                  </a:cubicBezTo>
                  <a:cubicBezTo>
                    <a:pt x="212" y="611"/>
                    <a:pt x="212" y="611"/>
                    <a:pt x="212" y="611"/>
                  </a:cubicBezTo>
                  <a:cubicBezTo>
                    <a:pt x="212" y="611"/>
                    <a:pt x="212" y="611"/>
                    <a:pt x="212" y="611"/>
                  </a:cubicBezTo>
                  <a:cubicBezTo>
                    <a:pt x="215" y="606"/>
                    <a:pt x="214" y="600"/>
                    <a:pt x="209" y="596"/>
                  </a:cubicBezTo>
                  <a:cubicBezTo>
                    <a:pt x="204" y="593"/>
                    <a:pt x="197" y="595"/>
                    <a:pt x="194" y="600"/>
                  </a:cubicBezTo>
                  <a:cubicBezTo>
                    <a:pt x="176" y="627"/>
                    <a:pt x="176" y="627"/>
                    <a:pt x="176" y="627"/>
                  </a:cubicBezTo>
                  <a:cubicBezTo>
                    <a:pt x="173" y="632"/>
                    <a:pt x="175" y="638"/>
                    <a:pt x="179" y="641"/>
                  </a:cubicBezTo>
                  <a:close/>
                  <a:moveTo>
                    <a:pt x="228" y="570"/>
                  </a:moveTo>
                  <a:cubicBezTo>
                    <a:pt x="233" y="573"/>
                    <a:pt x="240" y="572"/>
                    <a:pt x="243" y="568"/>
                  </a:cubicBezTo>
                  <a:cubicBezTo>
                    <a:pt x="263" y="542"/>
                    <a:pt x="263" y="542"/>
                    <a:pt x="263" y="542"/>
                  </a:cubicBezTo>
                  <a:cubicBezTo>
                    <a:pt x="264" y="542"/>
                    <a:pt x="264" y="542"/>
                    <a:pt x="264" y="542"/>
                  </a:cubicBezTo>
                  <a:cubicBezTo>
                    <a:pt x="267" y="537"/>
                    <a:pt x="266" y="530"/>
                    <a:pt x="261" y="526"/>
                  </a:cubicBezTo>
                  <a:cubicBezTo>
                    <a:pt x="256" y="522"/>
                    <a:pt x="249" y="523"/>
                    <a:pt x="246" y="528"/>
                  </a:cubicBezTo>
                  <a:cubicBezTo>
                    <a:pt x="226" y="554"/>
                    <a:pt x="226" y="554"/>
                    <a:pt x="226" y="554"/>
                  </a:cubicBezTo>
                  <a:cubicBezTo>
                    <a:pt x="222" y="559"/>
                    <a:pt x="223" y="566"/>
                    <a:pt x="228" y="570"/>
                  </a:cubicBezTo>
                  <a:close/>
                  <a:moveTo>
                    <a:pt x="282" y="501"/>
                  </a:moveTo>
                  <a:cubicBezTo>
                    <a:pt x="286" y="506"/>
                    <a:pt x="294" y="505"/>
                    <a:pt x="298" y="501"/>
                  </a:cubicBezTo>
                  <a:cubicBezTo>
                    <a:pt x="320" y="476"/>
                    <a:pt x="320" y="476"/>
                    <a:pt x="320" y="476"/>
                  </a:cubicBezTo>
                  <a:cubicBezTo>
                    <a:pt x="320" y="476"/>
                    <a:pt x="320" y="476"/>
                    <a:pt x="320" y="476"/>
                  </a:cubicBezTo>
                  <a:cubicBezTo>
                    <a:pt x="324" y="471"/>
                    <a:pt x="324" y="464"/>
                    <a:pt x="319" y="459"/>
                  </a:cubicBezTo>
                  <a:cubicBezTo>
                    <a:pt x="314" y="455"/>
                    <a:pt x="306" y="456"/>
                    <a:pt x="302" y="461"/>
                  </a:cubicBezTo>
                  <a:cubicBezTo>
                    <a:pt x="281" y="485"/>
                    <a:pt x="281" y="485"/>
                    <a:pt x="281" y="485"/>
                  </a:cubicBezTo>
                  <a:cubicBezTo>
                    <a:pt x="276" y="490"/>
                    <a:pt x="277" y="497"/>
                    <a:pt x="282" y="501"/>
                  </a:cubicBezTo>
                  <a:close/>
                  <a:moveTo>
                    <a:pt x="340" y="437"/>
                  </a:moveTo>
                  <a:cubicBezTo>
                    <a:pt x="344" y="442"/>
                    <a:pt x="352" y="442"/>
                    <a:pt x="357" y="437"/>
                  </a:cubicBezTo>
                  <a:cubicBezTo>
                    <a:pt x="380" y="414"/>
                    <a:pt x="380" y="414"/>
                    <a:pt x="380" y="414"/>
                  </a:cubicBezTo>
                  <a:cubicBezTo>
                    <a:pt x="380" y="414"/>
                    <a:pt x="380" y="414"/>
                    <a:pt x="380" y="414"/>
                  </a:cubicBezTo>
                  <a:cubicBezTo>
                    <a:pt x="385" y="410"/>
                    <a:pt x="385" y="402"/>
                    <a:pt x="380" y="397"/>
                  </a:cubicBezTo>
                  <a:cubicBezTo>
                    <a:pt x="375" y="393"/>
                    <a:pt x="368" y="393"/>
                    <a:pt x="363" y="397"/>
                  </a:cubicBezTo>
                  <a:cubicBezTo>
                    <a:pt x="340" y="420"/>
                    <a:pt x="340" y="420"/>
                    <a:pt x="340" y="420"/>
                  </a:cubicBezTo>
                  <a:cubicBezTo>
                    <a:pt x="335" y="425"/>
                    <a:pt x="335" y="432"/>
                    <a:pt x="340" y="437"/>
                  </a:cubicBezTo>
                  <a:close/>
                  <a:moveTo>
                    <a:pt x="403" y="377"/>
                  </a:moveTo>
                  <a:cubicBezTo>
                    <a:pt x="407" y="382"/>
                    <a:pt x="415" y="382"/>
                    <a:pt x="420" y="378"/>
                  </a:cubicBezTo>
                  <a:cubicBezTo>
                    <a:pt x="444" y="357"/>
                    <a:pt x="444" y="357"/>
                    <a:pt x="444" y="357"/>
                  </a:cubicBezTo>
                  <a:cubicBezTo>
                    <a:pt x="445" y="357"/>
                    <a:pt x="445" y="357"/>
                    <a:pt x="445" y="357"/>
                  </a:cubicBezTo>
                  <a:cubicBezTo>
                    <a:pt x="450" y="352"/>
                    <a:pt x="450" y="344"/>
                    <a:pt x="446" y="339"/>
                  </a:cubicBezTo>
                  <a:cubicBezTo>
                    <a:pt x="441" y="334"/>
                    <a:pt x="434" y="334"/>
                    <a:pt x="429" y="338"/>
                  </a:cubicBezTo>
                  <a:cubicBezTo>
                    <a:pt x="404" y="360"/>
                    <a:pt x="404" y="360"/>
                    <a:pt x="404" y="360"/>
                  </a:cubicBezTo>
                  <a:cubicBezTo>
                    <a:pt x="399" y="364"/>
                    <a:pt x="398" y="372"/>
                    <a:pt x="403" y="377"/>
                  </a:cubicBezTo>
                  <a:close/>
                  <a:moveTo>
                    <a:pt x="472" y="303"/>
                  </a:moveTo>
                  <a:cubicBezTo>
                    <a:pt x="466" y="308"/>
                    <a:pt x="465" y="315"/>
                    <a:pt x="469" y="321"/>
                  </a:cubicBezTo>
                  <a:cubicBezTo>
                    <a:pt x="473" y="326"/>
                    <a:pt x="481" y="327"/>
                    <a:pt x="486" y="323"/>
                  </a:cubicBezTo>
                  <a:cubicBezTo>
                    <a:pt x="512" y="303"/>
                    <a:pt x="512" y="303"/>
                    <a:pt x="512" y="303"/>
                  </a:cubicBezTo>
                  <a:cubicBezTo>
                    <a:pt x="518" y="299"/>
                    <a:pt x="519" y="292"/>
                    <a:pt x="515" y="286"/>
                  </a:cubicBezTo>
                  <a:cubicBezTo>
                    <a:pt x="511" y="281"/>
                    <a:pt x="503" y="280"/>
                    <a:pt x="498" y="284"/>
                  </a:cubicBezTo>
                  <a:cubicBezTo>
                    <a:pt x="472" y="303"/>
                    <a:pt x="472" y="303"/>
                    <a:pt x="472" y="303"/>
                  </a:cubicBezTo>
                  <a:close/>
                  <a:moveTo>
                    <a:pt x="543" y="252"/>
                  </a:moveTo>
                  <a:cubicBezTo>
                    <a:pt x="538" y="256"/>
                    <a:pt x="536" y="263"/>
                    <a:pt x="540" y="269"/>
                  </a:cubicBezTo>
                  <a:cubicBezTo>
                    <a:pt x="543" y="274"/>
                    <a:pt x="551" y="276"/>
                    <a:pt x="556" y="272"/>
                  </a:cubicBezTo>
                  <a:cubicBezTo>
                    <a:pt x="584" y="254"/>
                    <a:pt x="584" y="254"/>
                    <a:pt x="584" y="254"/>
                  </a:cubicBezTo>
                  <a:cubicBezTo>
                    <a:pt x="589" y="251"/>
                    <a:pt x="591" y="243"/>
                    <a:pt x="587" y="238"/>
                  </a:cubicBezTo>
                  <a:cubicBezTo>
                    <a:pt x="584" y="232"/>
                    <a:pt x="576" y="231"/>
                    <a:pt x="571" y="234"/>
                  </a:cubicBezTo>
                  <a:cubicBezTo>
                    <a:pt x="543" y="252"/>
                    <a:pt x="543" y="252"/>
                    <a:pt x="543" y="252"/>
                  </a:cubicBezTo>
                  <a:close/>
                  <a:moveTo>
                    <a:pt x="618" y="206"/>
                  </a:moveTo>
                  <a:cubicBezTo>
                    <a:pt x="612" y="209"/>
                    <a:pt x="610" y="216"/>
                    <a:pt x="614" y="222"/>
                  </a:cubicBezTo>
                  <a:cubicBezTo>
                    <a:pt x="617" y="228"/>
                    <a:pt x="624" y="230"/>
                    <a:pt x="630" y="226"/>
                  </a:cubicBezTo>
                  <a:cubicBezTo>
                    <a:pt x="658" y="210"/>
                    <a:pt x="658" y="210"/>
                    <a:pt x="658" y="210"/>
                  </a:cubicBezTo>
                  <a:cubicBezTo>
                    <a:pt x="664" y="207"/>
                    <a:pt x="666" y="200"/>
                    <a:pt x="662" y="194"/>
                  </a:cubicBezTo>
                  <a:cubicBezTo>
                    <a:pt x="659" y="189"/>
                    <a:pt x="652" y="187"/>
                    <a:pt x="647" y="190"/>
                  </a:cubicBezTo>
                  <a:cubicBezTo>
                    <a:pt x="618" y="206"/>
                    <a:pt x="618" y="206"/>
                    <a:pt x="618" y="206"/>
                  </a:cubicBezTo>
                  <a:close/>
                  <a:moveTo>
                    <a:pt x="695" y="164"/>
                  </a:moveTo>
                  <a:cubicBezTo>
                    <a:pt x="690" y="167"/>
                    <a:pt x="688" y="174"/>
                    <a:pt x="690" y="180"/>
                  </a:cubicBezTo>
                  <a:cubicBezTo>
                    <a:pt x="693" y="185"/>
                    <a:pt x="700" y="187"/>
                    <a:pt x="705" y="185"/>
                  </a:cubicBezTo>
                  <a:cubicBezTo>
                    <a:pt x="735" y="170"/>
                    <a:pt x="735" y="170"/>
                    <a:pt x="735" y="170"/>
                  </a:cubicBezTo>
                  <a:cubicBezTo>
                    <a:pt x="740" y="167"/>
                    <a:pt x="742" y="161"/>
                    <a:pt x="740" y="155"/>
                  </a:cubicBezTo>
                  <a:cubicBezTo>
                    <a:pt x="737" y="150"/>
                    <a:pt x="731" y="148"/>
                    <a:pt x="725" y="150"/>
                  </a:cubicBezTo>
                  <a:cubicBezTo>
                    <a:pt x="696" y="164"/>
                    <a:pt x="696" y="164"/>
                    <a:pt x="696" y="164"/>
                  </a:cubicBezTo>
                  <a:lnTo>
                    <a:pt x="695" y="164"/>
                  </a:lnTo>
                  <a:close/>
                  <a:moveTo>
                    <a:pt x="775" y="128"/>
                  </a:moveTo>
                  <a:cubicBezTo>
                    <a:pt x="770" y="130"/>
                    <a:pt x="767" y="136"/>
                    <a:pt x="770" y="142"/>
                  </a:cubicBezTo>
                  <a:cubicBezTo>
                    <a:pt x="772" y="147"/>
                    <a:pt x="778" y="150"/>
                    <a:pt x="784" y="147"/>
                  </a:cubicBezTo>
                  <a:cubicBezTo>
                    <a:pt x="814" y="134"/>
                    <a:pt x="814" y="134"/>
                    <a:pt x="814" y="134"/>
                  </a:cubicBezTo>
                  <a:cubicBezTo>
                    <a:pt x="819" y="132"/>
                    <a:pt x="821" y="126"/>
                    <a:pt x="819" y="121"/>
                  </a:cubicBezTo>
                  <a:cubicBezTo>
                    <a:pt x="817" y="116"/>
                    <a:pt x="811" y="113"/>
                    <a:pt x="806" y="115"/>
                  </a:cubicBezTo>
                  <a:cubicBezTo>
                    <a:pt x="775" y="128"/>
                    <a:pt x="775" y="128"/>
                    <a:pt x="775" y="128"/>
                  </a:cubicBezTo>
                  <a:close/>
                  <a:moveTo>
                    <a:pt x="857" y="96"/>
                  </a:moveTo>
                  <a:cubicBezTo>
                    <a:pt x="852" y="98"/>
                    <a:pt x="849" y="103"/>
                    <a:pt x="851" y="108"/>
                  </a:cubicBezTo>
                  <a:cubicBezTo>
                    <a:pt x="853" y="114"/>
                    <a:pt x="859" y="116"/>
                    <a:pt x="864" y="114"/>
                  </a:cubicBezTo>
                  <a:cubicBezTo>
                    <a:pt x="894" y="103"/>
                    <a:pt x="894" y="103"/>
                    <a:pt x="894" y="103"/>
                  </a:cubicBezTo>
                  <a:cubicBezTo>
                    <a:pt x="899" y="101"/>
                    <a:pt x="902" y="96"/>
                    <a:pt x="900" y="91"/>
                  </a:cubicBezTo>
                  <a:cubicBezTo>
                    <a:pt x="898" y="86"/>
                    <a:pt x="893" y="84"/>
                    <a:pt x="888" y="85"/>
                  </a:cubicBezTo>
                  <a:cubicBezTo>
                    <a:pt x="857" y="96"/>
                    <a:pt x="857" y="96"/>
                    <a:pt x="857" y="96"/>
                  </a:cubicBezTo>
                  <a:close/>
                  <a:moveTo>
                    <a:pt x="940" y="69"/>
                  </a:moveTo>
                  <a:cubicBezTo>
                    <a:pt x="936" y="70"/>
                    <a:pt x="933" y="75"/>
                    <a:pt x="935" y="80"/>
                  </a:cubicBezTo>
                  <a:cubicBezTo>
                    <a:pt x="936" y="84"/>
                    <a:pt x="941" y="87"/>
                    <a:pt x="946" y="85"/>
                  </a:cubicBezTo>
                  <a:cubicBezTo>
                    <a:pt x="977" y="75"/>
                    <a:pt x="977" y="75"/>
                    <a:pt x="977" y="75"/>
                  </a:cubicBezTo>
                  <a:cubicBezTo>
                    <a:pt x="981" y="74"/>
                    <a:pt x="983" y="70"/>
                    <a:pt x="982" y="65"/>
                  </a:cubicBezTo>
                  <a:cubicBezTo>
                    <a:pt x="981" y="61"/>
                    <a:pt x="976" y="58"/>
                    <a:pt x="972" y="60"/>
                  </a:cubicBezTo>
                  <a:cubicBezTo>
                    <a:pt x="941" y="69"/>
                    <a:pt x="941" y="69"/>
                    <a:pt x="941" y="69"/>
                  </a:cubicBezTo>
                  <a:lnTo>
                    <a:pt x="940" y="69"/>
                  </a:lnTo>
                  <a:close/>
                  <a:moveTo>
                    <a:pt x="1025" y="46"/>
                  </a:moveTo>
                  <a:cubicBezTo>
                    <a:pt x="1021" y="47"/>
                    <a:pt x="1019" y="51"/>
                    <a:pt x="1020" y="55"/>
                  </a:cubicBezTo>
                  <a:cubicBezTo>
                    <a:pt x="1021" y="59"/>
                    <a:pt x="1025" y="61"/>
                    <a:pt x="1029" y="60"/>
                  </a:cubicBezTo>
                  <a:cubicBezTo>
                    <a:pt x="1060" y="52"/>
                    <a:pt x="1060" y="52"/>
                    <a:pt x="1060" y="52"/>
                  </a:cubicBezTo>
                  <a:cubicBezTo>
                    <a:pt x="1064" y="51"/>
                    <a:pt x="1066" y="47"/>
                    <a:pt x="1065" y="44"/>
                  </a:cubicBezTo>
                  <a:cubicBezTo>
                    <a:pt x="1064" y="40"/>
                    <a:pt x="1061" y="38"/>
                    <a:pt x="1057" y="39"/>
                  </a:cubicBezTo>
                  <a:cubicBezTo>
                    <a:pt x="1025" y="46"/>
                    <a:pt x="1025" y="46"/>
                    <a:pt x="1025" y="46"/>
                  </a:cubicBezTo>
                  <a:close/>
                  <a:moveTo>
                    <a:pt x="1111" y="28"/>
                  </a:moveTo>
                  <a:cubicBezTo>
                    <a:pt x="1108" y="28"/>
                    <a:pt x="1106" y="31"/>
                    <a:pt x="1106" y="34"/>
                  </a:cubicBezTo>
                  <a:cubicBezTo>
                    <a:pt x="1107" y="37"/>
                    <a:pt x="1110" y="39"/>
                    <a:pt x="1113" y="39"/>
                  </a:cubicBezTo>
                  <a:cubicBezTo>
                    <a:pt x="1145" y="31"/>
                    <a:pt x="1145" y="31"/>
                    <a:pt x="1145" y="31"/>
                  </a:cubicBezTo>
                  <a:cubicBezTo>
                    <a:pt x="1148" y="31"/>
                    <a:pt x="1149" y="28"/>
                    <a:pt x="1149" y="26"/>
                  </a:cubicBezTo>
                  <a:cubicBezTo>
                    <a:pt x="1148" y="23"/>
                    <a:pt x="1146" y="21"/>
                    <a:pt x="1143" y="22"/>
                  </a:cubicBezTo>
                  <a:cubicBezTo>
                    <a:pt x="1111" y="27"/>
                    <a:pt x="1111" y="27"/>
                    <a:pt x="1111" y="27"/>
                  </a:cubicBezTo>
                  <a:lnTo>
                    <a:pt x="1111" y="28"/>
                  </a:lnTo>
                  <a:close/>
                  <a:moveTo>
                    <a:pt x="1197" y="13"/>
                  </a:moveTo>
                  <a:cubicBezTo>
                    <a:pt x="1195" y="13"/>
                    <a:pt x="1194" y="15"/>
                    <a:pt x="1194" y="17"/>
                  </a:cubicBezTo>
                  <a:cubicBezTo>
                    <a:pt x="1194" y="19"/>
                    <a:pt x="1196" y="21"/>
                    <a:pt x="1198" y="20"/>
                  </a:cubicBezTo>
                  <a:cubicBezTo>
                    <a:pt x="1230" y="14"/>
                    <a:pt x="1230" y="14"/>
                    <a:pt x="1230" y="14"/>
                  </a:cubicBezTo>
                  <a:cubicBezTo>
                    <a:pt x="1232" y="14"/>
                    <a:pt x="1233" y="13"/>
                    <a:pt x="1233" y="11"/>
                  </a:cubicBezTo>
                  <a:cubicBezTo>
                    <a:pt x="1233" y="10"/>
                    <a:pt x="1231" y="8"/>
                    <a:pt x="1230" y="9"/>
                  </a:cubicBezTo>
                  <a:cubicBezTo>
                    <a:pt x="1197" y="13"/>
                    <a:pt x="1197" y="13"/>
                    <a:pt x="1197" y="13"/>
                  </a:cubicBezTo>
                  <a:close/>
                  <a:moveTo>
                    <a:pt x="1284" y="3"/>
                  </a:moveTo>
                  <a:cubicBezTo>
                    <a:pt x="1283" y="3"/>
                    <a:pt x="1283" y="3"/>
                    <a:pt x="1283" y="4"/>
                  </a:cubicBezTo>
                  <a:cubicBezTo>
                    <a:pt x="1283" y="5"/>
                    <a:pt x="1283" y="5"/>
                    <a:pt x="1284" y="5"/>
                  </a:cubicBezTo>
                  <a:cubicBezTo>
                    <a:pt x="1317" y="0"/>
                    <a:pt x="1317" y="0"/>
                    <a:pt x="1317" y="0"/>
                  </a:cubicBezTo>
                  <a:cubicBezTo>
                    <a:pt x="1317" y="0"/>
                    <a:pt x="1317" y="0"/>
                    <a:pt x="1317" y="0"/>
                  </a:cubicBezTo>
                  <a:cubicBezTo>
                    <a:pt x="1316" y="0"/>
                    <a:pt x="1316" y="0"/>
                    <a:pt x="1316" y="0"/>
                  </a:cubicBezTo>
                  <a:cubicBezTo>
                    <a:pt x="1284" y="3"/>
                    <a:pt x="1284" y="3"/>
                    <a:pt x="1284" y="3"/>
                  </a:cubicBezTo>
                  <a:close/>
                </a:path>
              </a:pathLst>
            </a:custGeom>
            <a:solidFill>
              <a:schemeClr val="tx2">
                <a:lumMod val="60000"/>
                <a:lumOff val="4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Freeform 623">
              <a:extLst>
                <a:ext uri="{FF2B5EF4-FFF2-40B4-BE49-F238E27FC236}">
                  <a16:creationId xmlns:a16="http://schemas.microsoft.com/office/drawing/2014/main" id="{75C0792B-29EB-401E-8889-C9B078D34357}"/>
                </a:ext>
              </a:extLst>
            </p:cNvPr>
            <p:cNvSpPr>
              <a:spLocks noEditPoints="1"/>
            </p:cNvSpPr>
            <p:nvPr/>
          </p:nvSpPr>
          <p:spPr bwMode="auto">
            <a:xfrm>
              <a:off x="834288" y="5382764"/>
              <a:ext cx="3556615" cy="1027182"/>
            </a:xfrm>
            <a:custGeom>
              <a:avLst/>
              <a:gdLst>
                <a:gd name="T0" fmla="*/ 1288 w 1289"/>
                <a:gd name="T1" fmla="*/ 194 h 372"/>
                <a:gd name="T2" fmla="*/ 1285 w 1289"/>
                <a:gd name="T3" fmla="*/ 210 h 372"/>
                <a:gd name="T4" fmla="*/ 1282 w 1289"/>
                <a:gd name="T5" fmla="*/ 217 h 372"/>
                <a:gd name="T6" fmla="*/ 1217 w 1289"/>
                <a:gd name="T7" fmla="*/ 275 h 372"/>
                <a:gd name="T8" fmla="*/ 999 w 1289"/>
                <a:gd name="T9" fmla="*/ 323 h 372"/>
                <a:gd name="T10" fmla="*/ 954 w 1289"/>
                <a:gd name="T11" fmla="*/ 328 h 372"/>
                <a:gd name="T12" fmla="*/ 918 w 1289"/>
                <a:gd name="T13" fmla="*/ 332 h 372"/>
                <a:gd name="T14" fmla="*/ 906 w 1289"/>
                <a:gd name="T15" fmla="*/ 335 h 372"/>
                <a:gd name="T16" fmla="*/ 833 w 1289"/>
                <a:gd name="T17" fmla="*/ 357 h 372"/>
                <a:gd name="T18" fmla="*/ 753 w 1289"/>
                <a:gd name="T19" fmla="*/ 361 h 372"/>
                <a:gd name="T20" fmla="*/ 739 w 1289"/>
                <a:gd name="T21" fmla="*/ 363 h 372"/>
                <a:gd name="T22" fmla="*/ 697 w 1289"/>
                <a:gd name="T23" fmla="*/ 370 h 372"/>
                <a:gd name="T24" fmla="*/ 581 w 1289"/>
                <a:gd name="T25" fmla="*/ 371 h 372"/>
                <a:gd name="T26" fmla="*/ 336 w 1289"/>
                <a:gd name="T27" fmla="*/ 349 h 372"/>
                <a:gd name="T28" fmla="*/ 87 w 1289"/>
                <a:gd name="T29" fmla="*/ 279 h 372"/>
                <a:gd name="T30" fmla="*/ 10 w 1289"/>
                <a:gd name="T31" fmla="*/ 219 h 372"/>
                <a:gd name="T32" fmla="*/ 9 w 1289"/>
                <a:gd name="T33" fmla="*/ 155 h 372"/>
                <a:gd name="T34" fmla="*/ 19 w 1289"/>
                <a:gd name="T35" fmla="*/ 142 h 372"/>
                <a:gd name="T36" fmla="*/ 85 w 1289"/>
                <a:gd name="T37" fmla="*/ 94 h 372"/>
                <a:gd name="T38" fmla="*/ 334 w 1289"/>
                <a:gd name="T39" fmla="*/ 24 h 372"/>
                <a:gd name="T40" fmla="*/ 695 w 1289"/>
                <a:gd name="T41" fmla="*/ 2 h 372"/>
                <a:gd name="T42" fmla="*/ 1083 w 1289"/>
                <a:gd name="T43" fmla="*/ 51 h 372"/>
                <a:gd name="T44" fmla="*/ 1255 w 1289"/>
                <a:gd name="T45" fmla="*/ 128 h 372"/>
                <a:gd name="T46" fmla="*/ 1288 w 1289"/>
                <a:gd name="T47" fmla="*/ 178 h 372"/>
                <a:gd name="T48" fmla="*/ 1289 w 1289"/>
                <a:gd name="T49" fmla="*/ 184 h 372"/>
                <a:gd name="T50" fmla="*/ 1288 w 1289"/>
                <a:gd name="T51" fmla="*/ 186 h 372"/>
                <a:gd name="T52" fmla="*/ 1288 w 1289"/>
                <a:gd name="T53" fmla="*/ 182 h 372"/>
                <a:gd name="T54" fmla="*/ 1280 w 1289"/>
                <a:gd name="T55" fmla="*/ 156 h 372"/>
                <a:gd name="T56" fmla="*/ 1213 w 1289"/>
                <a:gd name="T57" fmla="*/ 100 h 372"/>
                <a:gd name="T58" fmla="*/ 907 w 1289"/>
                <a:gd name="T59" fmla="*/ 18 h 372"/>
                <a:gd name="T60" fmla="*/ 458 w 1289"/>
                <a:gd name="T61" fmla="*/ 11 h 372"/>
                <a:gd name="T62" fmla="*/ 208 w 1289"/>
                <a:gd name="T63" fmla="*/ 52 h 372"/>
                <a:gd name="T64" fmla="*/ 32 w 1289"/>
                <a:gd name="T65" fmla="*/ 132 h 372"/>
                <a:gd name="T66" fmla="*/ 15 w 1289"/>
                <a:gd name="T67" fmla="*/ 150 h 372"/>
                <a:gd name="T68" fmla="*/ 3 w 1289"/>
                <a:gd name="T69" fmla="*/ 187 h 372"/>
                <a:gd name="T70" fmla="*/ 33 w 1289"/>
                <a:gd name="T71" fmla="*/ 242 h 372"/>
                <a:gd name="T72" fmla="*/ 211 w 1289"/>
                <a:gd name="T73" fmla="*/ 321 h 372"/>
                <a:gd name="T74" fmla="*/ 461 w 1289"/>
                <a:gd name="T75" fmla="*/ 361 h 372"/>
                <a:gd name="T76" fmla="*/ 640 w 1289"/>
                <a:gd name="T77" fmla="*/ 369 h 372"/>
                <a:gd name="T78" fmla="*/ 725 w 1289"/>
                <a:gd name="T79" fmla="*/ 364 h 372"/>
                <a:gd name="T80" fmla="*/ 745 w 1289"/>
                <a:gd name="T81" fmla="*/ 360 h 372"/>
                <a:gd name="T82" fmla="*/ 806 w 1289"/>
                <a:gd name="T83" fmla="*/ 357 h 372"/>
                <a:gd name="T84" fmla="*/ 857 w 1289"/>
                <a:gd name="T85" fmla="*/ 348 h 372"/>
                <a:gd name="T86" fmla="*/ 912 w 1289"/>
                <a:gd name="T87" fmla="*/ 332 h 372"/>
                <a:gd name="T88" fmla="*/ 930 w 1289"/>
                <a:gd name="T89" fmla="*/ 329 h 372"/>
                <a:gd name="T90" fmla="*/ 977 w 1289"/>
                <a:gd name="T91" fmla="*/ 324 h 372"/>
                <a:gd name="T92" fmla="*/ 1084 w 1289"/>
                <a:gd name="T93" fmla="*/ 313 h 372"/>
                <a:gd name="T94" fmla="*/ 1259 w 1289"/>
                <a:gd name="T95" fmla="*/ 246 h 372"/>
                <a:gd name="T96" fmla="*/ 1283 w 1289"/>
                <a:gd name="T97" fmla="*/ 213 h 372"/>
                <a:gd name="T98" fmla="*/ 1286 w 1289"/>
                <a:gd name="T99" fmla="*/ 204 h 372"/>
                <a:gd name="T100" fmla="*/ 1288 w 1289"/>
                <a:gd name="T101" fmla="*/ 18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9" h="372">
                  <a:moveTo>
                    <a:pt x="1289" y="186"/>
                  </a:moveTo>
                  <a:cubicBezTo>
                    <a:pt x="1289" y="186"/>
                    <a:pt x="1288" y="189"/>
                    <a:pt x="1288" y="194"/>
                  </a:cubicBezTo>
                  <a:cubicBezTo>
                    <a:pt x="1288" y="197"/>
                    <a:pt x="1287" y="200"/>
                    <a:pt x="1286" y="204"/>
                  </a:cubicBezTo>
                  <a:cubicBezTo>
                    <a:pt x="1286" y="206"/>
                    <a:pt x="1285" y="208"/>
                    <a:pt x="1285" y="210"/>
                  </a:cubicBezTo>
                  <a:cubicBezTo>
                    <a:pt x="1284" y="211"/>
                    <a:pt x="1284" y="212"/>
                    <a:pt x="1283" y="213"/>
                  </a:cubicBezTo>
                  <a:cubicBezTo>
                    <a:pt x="1283" y="214"/>
                    <a:pt x="1282" y="216"/>
                    <a:pt x="1282" y="217"/>
                  </a:cubicBezTo>
                  <a:cubicBezTo>
                    <a:pt x="1278" y="226"/>
                    <a:pt x="1270" y="237"/>
                    <a:pt x="1259" y="247"/>
                  </a:cubicBezTo>
                  <a:cubicBezTo>
                    <a:pt x="1248" y="257"/>
                    <a:pt x="1234" y="267"/>
                    <a:pt x="1217" y="275"/>
                  </a:cubicBezTo>
                  <a:cubicBezTo>
                    <a:pt x="1182" y="292"/>
                    <a:pt x="1137" y="306"/>
                    <a:pt x="1084" y="314"/>
                  </a:cubicBezTo>
                  <a:cubicBezTo>
                    <a:pt x="1058" y="319"/>
                    <a:pt x="1029" y="320"/>
                    <a:pt x="999" y="323"/>
                  </a:cubicBezTo>
                  <a:cubicBezTo>
                    <a:pt x="992" y="324"/>
                    <a:pt x="984" y="324"/>
                    <a:pt x="977" y="325"/>
                  </a:cubicBezTo>
                  <a:cubicBezTo>
                    <a:pt x="969" y="326"/>
                    <a:pt x="961" y="327"/>
                    <a:pt x="954" y="328"/>
                  </a:cubicBezTo>
                  <a:cubicBezTo>
                    <a:pt x="946" y="329"/>
                    <a:pt x="938" y="330"/>
                    <a:pt x="930" y="331"/>
                  </a:cubicBezTo>
                  <a:cubicBezTo>
                    <a:pt x="926" y="331"/>
                    <a:pt x="922" y="332"/>
                    <a:pt x="918" y="332"/>
                  </a:cubicBezTo>
                  <a:cubicBezTo>
                    <a:pt x="916" y="333"/>
                    <a:pt x="914" y="333"/>
                    <a:pt x="912" y="334"/>
                  </a:cubicBezTo>
                  <a:cubicBezTo>
                    <a:pt x="910" y="334"/>
                    <a:pt x="908" y="335"/>
                    <a:pt x="906" y="335"/>
                  </a:cubicBezTo>
                  <a:cubicBezTo>
                    <a:pt x="890" y="339"/>
                    <a:pt x="874" y="345"/>
                    <a:pt x="858" y="350"/>
                  </a:cubicBezTo>
                  <a:cubicBezTo>
                    <a:pt x="850" y="353"/>
                    <a:pt x="841" y="355"/>
                    <a:pt x="833" y="357"/>
                  </a:cubicBezTo>
                  <a:cubicBezTo>
                    <a:pt x="824" y="358"/>
                    <a:pt x="815" y="359"/>
                    <a:pt x="806" y="359"/>
                  </a:cubicBezTo>
                  <a:cubicBezTo>
                    <a:pt x="789" y="360"/>
                    <a:pt x="771" y="359"/>
                    <a:pt x="753" y="361"/>
                  </a:cubicBezTo>
                  <a:cubicBezTo>
                    <a:pt x="750" y="361"/>
                    <a:pt x="748" y="362"/>
                    <a:pt x="746" y="362"/>
                  </a:cubicBezTo>
                  <a:cubicBezTo>
                    <a:pt x="743" y="363"/>
                    <a:pt x="741" y="363"/>
                    <a:pt x="739" y="363"/>
                  </a:cubicBezTo>
                  <a:cubicBezTo>
                    <a:pt x="734" y="364"/>
                    <a:pt x="730" y="365"/>
                    <a:pt x="725" y="366"/>
                  </a:cubicBezTo>
                  <a:cubicBezTo>
                    <a:pt x="716" y="368"/>
                    <a:pt x="707" y="369"/>
                    <a:pt x="697" y="370"/>
                  </a:cubicBezTo>
                  <a:cubicBezTo>
                    <a:pt x="679" y="372"/>
                    <a:pt x="659" y="372"/>
                    <a:pt x="640" y="372"/>
                  </a:cubicBezTo>
                  <a:cubicBezTo>
                    <a:pt x="621" y="372"/>
                    <a:pt x="601" y="371"/>
                    <a:pt x="581" y="371"/>
                  </a:cubicBezTo>
                  <a:cubicBezTo>
                    <a:pt x="542" y="370"/>
                    <a:pt x="501" y="367"/>
                    <a:pt x="460" y="364"/>
                  </a:cubicBezTo>
                  <a:cubicBezTo>
                    <a:pt x="419" y="360"/>
                    <a:pt x="378" y="355"/>
                    <a:pt x="336" y="349"/>
                  </a:cubicBezTo>
                  <a:cubicBezTo>
                    <a:pt x="294" y="342"/>
                    <a:pt x="252" y="334"/>
                    <a:pt x="210" y="323"/>
                  </a:cubicBezTo>
                  <a:cubicBezTo>
                    <a:pt x="168" y="312"/>
                    <a:pt x="127" y="299"/>
                    <a:pt x="87" y="279"/>
                  </a:cubicBezTo>
                  <a:cubicBezTo>
                    <a:pt x="68" y="270"/>
                    <a:pt x="49" y="258"/>
                    <a:pt x="32" y="244"/>
                  </a:cubicBezTo>
                  <a:cubicBezTo>
                    <a:pt x="24" y="237"/>
                    <a:pt x="16" y="228"/>
                    <a:pt x="10" y="219"/>
                  </a:cubicBezTo>
                  <a:cubicBezTo>
                    <a:pt x="5" y="209"/>
                    <a:pt x="0" y="199"/>
                    <a:pt x="0" y="187"/>
                  </a:cubicBezTo>
                  <a:cubicBezTo>
                    <a:pt x="0" y="176"/>
                    <a:pt x="3" y="165"/>
                    <a:pt x="9" y="155"/>
                  </a:cubicBezTo>
                  <a:cubicBezTo>
                    <a:pt x="10" y="153"/>
                    <a:pt x="12" y="151"/>
                    <a:pt x="14" y="148"/>
                  </a:cubicBezTo>
                  <a:cubicBezTo>
                    <a:pt x="15" y="146"/>
                    <a:pt x="17" y="144"/>
                    <a:pt x="19" y="142"/>
                  </a:cubicBezTo>
                  <a:cubicBezTo>
                    <a:pt x="22" y="138"/>
                    <a:pt x="26" y="134"/>
                    <a:pt x="30" y="130"/>
                  </a:cubicBezTo>
                  <a:cubicBezTo>
                    <a:pt x="47" y="115"/>
                    <a:pt x="66" y="104"/>
                    <a:pt x="85" y="94"/>
                  </a:cubicBezTo>
                  <a:cubicBezTo>
                    <a:pt x="125" y="75"/>
                    <a:pt x="166" y="61"/>
                    <a:pt x="208" y="50"/>
                  </a:cubicBezTo>
                  <a:cubicBezTo>
                    <a:pt x="250" y="39"/>
                    <a:pt x="292" y="31"/>
                    <a:pt x="334" y="24"/>
                  </a:cubicBezTo>
                  <a:cubicBezTo>
                    <a:pt x="376" y="18"/>
                    <a:pt x="417" y="13"/>
                    <a:pt x="458" y="9"/>
                  </a:cubicBezTo>
                  <a:cubicBezTo>
                    <a:pt x="540" y="2"/>
                    <a:pt x="620" y="0"/>
                    <a:pt x="695" y="2"/>
                  </a:cubicBezTo>
                  <a:cubicBezTo>
                    <a:pt x="770" y="4"/>
                    <a:pt x="842" y="9"/>
                    <a:pt x="907" y="18"/>
                  </a:cubicBezTo>
                  <a:cubicBezTo>
                    <a:pt x="972" y="26"/>
                    <a:pt x="1032" y="37"/>
                    <a:pt x="1083" y="51"/>
                  </a:cubicBezTo>
                  <a:cubicBezTo>
                    <a:pt x="1135" y="65"/>
                    <a:pt x="1179" y="81"/>
                    <a:pt x="1213" y="99"/>
                  </a:cubicBezTo>
                  <a:cubicBezTo>
                    <a:pt x="1230" y="108"/>
                    <a:pt x="1244" y="118"/>
                    <a:pt x="1255" y="128"/>
                  </a:cubicBezTo>
                  <a:cubicBezTo>
                    <a:pt x="1267" y="137"/>
                    <a:pt x="1275" y="147"/>
                    <a:pt x="1280" y="156"/>
                  </a:cubicBezTo>
                  <a:cubicBezTo>
                    <a:pt x="1285" y="165"/>
                    <a:pt x="1287" y="173"/>
                    <a:pt x="1288" y="178"/>
                  </a:cubicBezTo>
                  <a:cubicBezTo>
                    <a:pt x="1288" y="179"/>
                    <a:pt x="1288" y="181"/>
                    <a:pt x="1288" y="182"/>
                  </a:cubicBezTo>
                  <a:cubicBezTo>
                    <a:pt x="1288" y="183"/>
                    <a:pt x="1289" y="183"/>
                    <a:pt x="1289" y="184"/>
                  </a:cubicBezTo>
                  <a:cubicBezTo>
                    <a:pt x="1289" y="185"/>
                    <a:pt x="1289" y="186"/>
                    <a:pt x="1289" y="186"/>
                  </a:cubicBezTo>
                  <a:close/>
                  <a:moveTo>
                    <a:pt x="1288" y="186"/>
                  </a:moveTo>
                  <a:cubicBezTo>
                    <a:pt x="1288" y="186"/>
                    <a:pt x="1288" y="185"/>
                    <a:pt x="1288" y="184"/>
                  </a:cubicBezTo>
                  <a:cubicBezTo>
                    <a:pt x="1288" y="183"/>
                    <a:pt x="1288" y="183"/>
                    <a:pt x="1288" y="182"/>
                  </a:cubicBezTo>
                  <a:cubicBezTo>
                    <a:pt x="1288" y="181"/>
                    <a:pt x="1288" y="179"/>
                    <a:pt x="1288" y="178"/>
                  </a:cubicBezTo>
                  <a:cubicBezTo>
                    <a:pt x="1287" y="173"/>
                    <a:pt x="1285" y="165"/>
                    <a:pt x="1280" y="156"/>
                  </a:cubicBezTo>
                  <a:cubicBezTo>
                    <a:pt x="1275" y="147"/>
                    <a:pt x="1267" y="137"/>
                    <a:pt x="1255" y="128"/>
                  </a:cubicBezTo>
                  <a:cubicBezTo>
                    <a:pt x="1244" y="118"/>
                    <a:pt x="1230" y="109"/>
                    <a:pt x="1213" y="100"/>
                  </a:cubicBezTo>
                  <a:cubicBezTo>
                    <a:pt x="1179" y="82"/>
                    <a:pt x="1135" y="65"/>
                    <a:pt x="1083" y="52"/>
                  </a:cubicBezTo>
                  <a:cubicBezTo>
                    <a:pt x="1031" y="38"/>
                    <a:pt x="972" y="27"/>
                    <a:pt x="907" y="18"/>
                  </a:cubicBezTo>
                  <a:cubicBezTo>
                    <a:pt x="842" y="10"/>
                    <a:pt x="770" y="5"/>
                    <a:pt x="695" y="3"/>
                  </a:cubicBezTo>
                  <a:cubicBezTo>
                    <a:pt x="620" y="2"/>
                    <a:pt x="540" y="4"/>
                    <a:pt x="458" y="11"/>
                  </a:cubicBezTo>
                  <a:cubicBezTo>
                    <a:pt x="417" y="14"/>
                    <a:pt x="376" y="19"/>
                    <a:pt x="334" y="26"/>
                  </a:cubicBezTo>
                  <a:cubicBezTo>
                    <a:pt x="292" y="32"/>
                    <a:pt x="250" y="41"/>
                    <a:pt x="208" y="52"/>
                  </a:cubicBezTo>
                  <a:cubicBezTo>
                    <a:pt x="167" y="63"/>
                    <a:pt x="125" y="77"/>
                    <a:pt x="86" y="96"/>
                  </a:cubicBezTo>
                  <a:cubicBezTo>
                    <a:pt x="67" y="106"/>
                    <a:pt x="48" y="117"/>
                    <a:pt x="32" y="132"/>
                  </a:cubicBezTo>
                  <a:cubicBezTo>
                    <a:pt x="28" y="135"/>
                    <a:pt x="24" y="139"/>
                    <a:pt x="20" y="143"/>
                  </a:cubicBezTo>
                  <a:cubicBezTo>
                    <a:pt x="19" y="145"/>
                    <a:pt x="17" y="148"/>
                    <a:pt x="15" y="150"/>
                  </a:cubicBezTo>
                  <a:cubicBezTo>
                    <a:pt x="14" y="152"/>
                    <a:pt x="12" y="154"/>
                    <a:pt x="11" y="157"/>
                  </a:cubicBezTo>
                  <a:cubicBezTo>
                    <a:pt x="5" y="166"/>
                    <a:pt x="2" y="176"/>
                    <a:pt x="3" y="187"/>
                  </a:cubicBezTo>
                  <a:cubicBezTo>
                    <a:pt x="3" y="198"/>
                    <a:pt x="7" y="209"/>
                    <a:pt x="12" y="218"/>
                  </a:cubicBezTo>
                  <a:cubicBezTo>
                    <a:pt x="18" y="227"/>
                    <a:pt x="25" y="235"/>
                    <a:pt x="33" y="242"/>
                  </a:cubicBezTo>
                  <a:cubicBezTo>
                    <a:pt x="50" y="257"/>
                    <a:pt x="69" y="268"/>
                    <a:pt x="88" y="277"/>
                  </a:cubicBezTo>
                  <a:cubicBezTo>
                    <a:pt x="128" y="296"/>
                    <a:pt x="169" y="310"/>
                    <a:pt x="211" y="321"/>
                  </a:cubicBezTo>
                  <a:cubicBezTo>
                    <a:pt x="253" y="332"/>
                    <a:pt x="295" y="340"/>
                    <a:pt x="336" y="346"/>
                  </a:cubicBezTo>
                  <a:cubicBezTo>
                    <a:pt x="378" y="353"/>
                    <a:pt x="420" y="358"/>
                    <a:pt x="461" y="361"/>
                  </a:cubicBezTo>
                  <a:cubicBezTo>
                    <a:pt x="502" y="365"/>
                    <a:pt x="542" y="367"/>
                    <a:pt x="581" y="368"/>
                  </a:cubicBezTo>
                  <a:cubicBezTo>
                    <a:pt x="601" y="369"/>
                    <a:pt x="621" y="369"/>
                    <a:pt x="640" y="369"/>
                  </a:cubicBezTo>
                  <a:cubicBezTo>
                    <a:pt x="659" y="369"/>
                    <a:pt x="679" y="369"/>
                    <a:pt x="697" y="368"/>
                  </a:cubicBezTo>
                  <a:cubicBezTo>
                    <a:pt x="707" y="367"/>
                    <a:pt x="716" y="366"/>
                    <a:pt x="725" y="364"/>
                  </a:cubicBezTo>
                  <a:cubicBezTo>
                    <a:pt x="729" y="363"/>
                    <a:pt x="734" y="362"/>
                    <a:pt x="739" y="361"/>
                  </a:cubicBezTo>
                  <a:cubicBezTo>
                    <a:pt x="741" y="360"/>
                    <a:pt x="743" y="360"/>
                    <a:pt x="745" y="360"/>
                  </a:cubicBezTo>
                  <a:cubicBezTo>
                    <a:pt x="748" y="360"/>
                    <a:pt x="750" y="359"/>
                    <a:pt x="752" y="359"/>
                  </a:cubicBezTo>
                  <a:cubicBezTo>
                    <a:pt x="771" y="357"/>
                    <a:pt x="789" y="358"/>
                    <a:pt x="806" y="357"/>
                  </a:cubicBezTo>
                  <a:cubicBezTo>
                    <a:pt x="815" y="357"/>
                    <a:pt x="824" y="356"/>
                    <a:pt x="832" y="355"/>
                  </a:cubicBezTo>
                  <a:cubicBezTo>
                    <a:pt x="841" y="353"/>
                    <a:pt x="849" y="351"/>
                    <a:pt x="857" y="348"/>
                  </a:cubicBezTo>
                  <a:cubicBezTo>
                    <a:pt x="874" y="343"/>
                    <a:pt x="889" y="337"/>
                    <a:pt x="906" y="333"/>
                  </a:cubicBezTo>
                  <a:cubicBezTo>
                    <a:pt x="908" y="333"/>
                    <a:pt x="910" y="332"/>
                    <a:pt x="912" y="332"/>
                  </a:cubicBezTo>
                  <a:cubicBezTo>
                    <a:pt x="914" y="332"/>
                    <a:pt x="916" y="331"/>
                    <a:pt x="918" y="331"/>
                  </a:cubicBezTo>
                  <a:cubicBezTo>
                    <a:pt x="922" y="330"/>
                    <a:pt x="926" y="330"/>
                    <a:pt x="930" y="329"/>
                  </a:cubicBezTo>
                  <a:cubicBezTo>
                    <a:pt x="938" y="328"/>
                    <a:pt x="946" y="327"/>
                    <a:pt x="953" y="326"/>
                  </a:cubicBezTo>
                  <a:cubicBezTo>
                    <a:pt x="961" y="326"/>
                    <a:pt x="969" y="325"/>
                    <a:pt x="977" y="324"/>
                  </a:cubicBezTo>
                  <a:cubicBezTo>
                    <a:pt x="984" y="323"/>
                    <a:pt x="992" y="322"/>
                    <a:pt x="999" y="322"/>
                  </a:cubicBezTo>
                  <a:cubicBezTo>
                    <a:pt x="1029" y="319"/>
                    <a:pt x="1058" y="317"/>
                    <a:pt x="1084" y="313"/>
                  </a:cubicBezTo>
                  <a:cubicBezTo>
                    <a:pt x="1137" y="305"/>
                    <a:pt x="1182" y="292"/>
                    <a:pt x="1216" y="275"/>
                  </a:cubicBezTo>
                  <a:cubicBezTo>
                    <a:pt x="1233" y="266"/>
                    <a:pt x="1248" y="256"/>
                    <a:pt x="1259" y="246"/>
                  </a:cubicBezTo>
                  <a:cubicBezTo>
                    <a:pt x="1270" y="236"/>
                    <a:pt x="1277" y="226"/>
                    <a:pt x="1281" y="217"/>
                  </a:cubicBezTo>
                  <a:cubicBezTo>
                    <a:pt x="1282" y="215"/>
                    <a:pt x="1283" y="214"/>
                    <a:pt x="1283" y="213"/>
                  </a:cubicBezTo>
                  <a:cubicBezTo>
                    <a:pt x="1284" y="212"/>
                    <a:pt x="1284" y="211"/>
                    <a:pt x="1284" y="210"/>
                  </a:cubicBezTo>
                  <a:cubicBezTo>
                    <a:pt x="1285" y="208"/>
                    <a:pt x="1286" y="206"/>
                    <a:pt x="1286" y="204"/>
                  </a:cubicBezTo>
                  <a:cubicBezTo>
                    <a:pt x="1287" y="200"/>
                    <a:pt x="1288" y="197"/>
                    <a:pt x="1288" y="194"/>
                  </a:cubicBezTo>
                  <a:cubicBezTo>
                    <a:pt x="1288" y="189"/>
                    <a:pt x="1288" y="186"/>
                    <a:pt x="1288" y="186"/>
                  </a:cubicBezTo>
                  <a:close/>
                </a:path>
              </a:pathLst>
            </a:custGeom>
            <a:solidFill>
              <a:schemeClr val="tx2">
                <a:lumMod val="60000"/>
                <a:lumOff val="4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 name="Freeform 691">
              <a:extLst>
                <a:ext uri="{FF2B5EF4-FFF2-40B4-BE49-F238E27FC236}">
                  <a16:creationId xmlns:a16="http://schemas.microsoft.com/office/drawing/2014/main" id="{6CD79FE0-DC25-4985-96B8-EA9798857008}"/>
                </a:ext>
              </a:extLst>
            </p:cNvPr>
            <p:cNvSpPr>
              <a:spLocks noEditPoints="1"/>
            </p:cNvSpPr>
            <p:nvPr/>
          </p:nvSpPr>
          <p:spPr bwMode="auto">
            <a:xfrm>
              <a:off x="-608435" y="6786968"/>
              <a:ext cx="1313158" cy="151742"/>
            </a:xfrm>
            <a:custGeom>
              <a:avLst/>
              <a:gdLst>
                <a:gd name="T0" fmla="*/ 239 w 476"/>
                <a:gd name="T1" fmla="*/ 22 h 55"/>
                <a:gd name="T2" fmla="*/ 206 w 476"/>
                <a:gd name="T3" fmla="*/ 27 h 55"/>
                <a:gd name="T4" fmla="*/ 183 w 476"/>
                <a:gd name="T5" fmla="*/ 9 h 55"/>
                <a:gd name="T6" fmla="*/ 216 w 476"/>
                <a:gd name="T7" fmla="*/ 4 h 55"/>
                <a:gd name="T8" fmla="*/ 239 w 476"/>
                <a:gd name="T9" fmla="*/ 22 h 55"/>
                <a:gd name="T10" fmla="*/ 284 w 476"/>
                <a:gd name="T11" fmla="*/ 9 h 55"/>
                <a:gd name="T12" fmla="*/ 255 w 476"/>
                <a:gd name="T13" fmla="*/ 14 h 55"/>
                <a:gd name="T14" fmla="*/ 275 w 476"/>
                <a:gd name="T15" fmla="*/ 30 h 55"/>
                <a:gd name="T16" fmla="*/ 305 w 476"/>
                <a:gd name="T17" fmla="*/ 25 h 55"/>
                <a:gd name="T18" fmla="*/ 284 w 476"/>
                <a:gd name="T19" fmla="*/ 9 h 55"/>
                <a:gd name="T20" fmla="*/ 144 w 476"/>
                <a:gd name="T21" fmla="*/ 3 h 55"/>
                <a:gd name="T22" fmla="*/ 115 w 476"/>
                <a:gd name="T23" fmla="*/ 10 h 55"/>
                <a:gd name="T24" fmla="*/ 137 w 476"/>
                <a:gd name="T25" fmla="*/ 24 h 55"/>
                <a:gd name="T26" fmla="*/ 166 w 476"/>
                <a:gd name="T27" fmla="*/ 18 h 55"/>
                <a:gd name="T28" fmla="*/ 144 w 476"/>
                <a:gd name="T29" fmla="*/ 3 h 55"/>
                <a:gd name="T30" fmla="*/ 348 w 476"/>
                <a:gd name="T31" fmla="*/ 17 h 55"/>
                <a:gd name="T32" fmla="*/ 321 w 476"/>
                <a:gd name="T33" fmla="*/ 22 h 55"/>
                <a:gd name="T34" fmla="*/ 340 w 476"/>
                <a:gd name="T35" fmla="*/ 37 h 55"/>
                <a:gd name="T36" fmla="*/ 367 w 476"/>
                <a:gd name="T37" fmla="*/ 32 h 55"/>
                <a:gd name="T38" fmla="*/ 348 w 476"/>
                <a:gd name="T39" fmla="*/ 17 h 55"/>
                <a:gd name="T40" fmla="*/ 84 w 476"/>
                <a:gd name="T41" fmla="*/ 9 h 55"/>
                <a:gd name="T42" fmla="*/ 57 w 476"/>
                <a:gd name="T43" fmla="*/ 14 h 55"/>
                <a:gd name="T44" fmla="*/ 76 w 476"/>
                <a:gd name="T45" fmla="*/ 29 h 55"/>
                <a:gd name="T46" fmla="*/ 103 w 476"/>
                <a:gd name="T47" fmla="*/ 24 h 55"/>
                <a:gd name="T48" fmla="*/ 84 w 476"/>
                <a:gd name="T49" fmla="*/ 9 h 55"/>
                <a:gd name="T50" fmla="*/ 407 w 476"/>
                <a:gd name="T51" fmla="*/ 28 h 55"/>
                <a:gd name="T52" fmla="*/ 383 w 476"/>
                <a:gd name="T53" fmla="*/ 32 h 55"/>
                <a:gd name="T54" fmla="*/ 400 w 476"/>
                <a:gd name="T55" fmla="*/ 45 h 55"/>
                <a:gd name="T56" fmla="*/ 423 w 476"/>
                <a:gd name="T57" fmla="*/ 40 h 55"/>
                <a:gd name="T58" fmla="*/ 407 w 476"/>
                <a:gd name="T59" fmla="*/ 28 h 55"/>
                <a:gd name="T60" fmla="*/ 461 w 476"/>
                <a:gd name="T61" fmla="*/ 40 h 55"/>
                <a:gd name="T62" fmla="*/ 442 w 476"/>
                <a:gd name="T63" fmla="*/ 43 h 55"/>
                <a:gd name="T64" fmla="*/ 455 w 476"/>
                <a:gd name="T65" fmla="*/ 53 h 55"/>
                <a:gd name="T66" fmla="*/ 474 w 476"/>
                <a:gd name="T67" fmla="*/ 50 h 55"/>
                <a:gd name="T68" fmla="*/ 461 w 476"/>
                <a:gd name="T69" fmla="*/ 40 h 55"/>
                <a:gd name="T70" fmla="*/ 26 w 476"/>
                <a:gd name="T71" fmla="*/ 20 h 55"/>
                <a:gd name="T72" fmla="*/ 2 w 476"/>
                <a:gd name="T73" fmla="*/ 24 h 55"/>
                <a:gd name="T74" fmla="*/ 19 w 476"/>
                <a:gd name="T75" fmla="*/ 37 h 55"/>
                <a:gd name="T76" fmla="*/ 43 w 476"/>
                <a:gd name="T77" fmla="*/ 33 h 55"/>
                <a:gd name="T78" fmla="*/ 26 w 476"/>
                <a:gd name="T79" fmla="*/ 2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6" h="55">
                  <a:moveTo>
                    <a:pt x="239" y="22"/>
                  </a:moveTo>
                  <a:cubicBezTo>
                    <a:pt x="236" y="28"/>
                    <a:pt x="221" y="31"/>
                    <a:pt x="206" y="27"/>
                  </a:cubicBezTo>
                  <a:cubicBezTo>
                    <a:pt x="191" y="24"/>
                    <a:pt x="180" y="16"/>
                    <a:pt x="183" y="9"/>
                  </a:cubicBezTo>
                  <a:cubicBezTo>
                    <a:pt x="186" y="3"/>
                    <a:pt x="201" y="0"/>
                    <a:pt x="216" y="4"/>
                  </a:cubicBezTo>
                  <a:cubicBezTo>
                    <a:pt x="231" y="7"/>
                    <a:pt x="242" y="15"/>
                    <a:pt x="239" y="22"/>
                  </a:cubicBezTo>
                  <a:close/>
                  <a:moveTo>
                    <a:pt x="284" y="9"/>
                  </a:moveTo>
                  <a:cubicBezTo>
                    <a:pt x="270" y="6"/>
                    <a:pt x="257" y="8"/>
                    <a:pt x="255" y="14"/>
                  </a:cubicBezTo>
                  <a:cubicBezTo>
                    <a:pt x="252" y="20"/>
                    <a:pt x="261" y="27"/>
                    <a:pt x="275" y="30"/>
                  </a:cubicBezTo>
                  <a:cubicBezTo>
                    <a:pt x="289" y="33"/>
                    <a:pt x="302" y="31"/>
                    <a:pt x="305" y="25"/>
                  </a:cubicBezTo>
                  <a:cubicBezTo>
                    <a:pt x="307" y="19"/>
                    <a:pt x="298" y="12"/>
                    <a:pt x="284" y="9"/>
                  </a:cubicBezTo>
                  <a:close/>
                  <a:moveTo>
                    <a:pt x="144" y="3"/>
                  </a:moveTo>
                  <a:cubicBezTo>
                    <a:pt x="130" y="1"/>
                    <a:pt x="117" y="4"/>
                    <a:pt x="115" y="10"/>
                  </a:cubicBezTo>
                  <a:cubicBezTo>
                    <a:pt x="113" y="15"/>
                    <a:pt x="123" y="22"/>
                    <a:pt x="137" y="24"/>
                  </a:cubicBezTo>
                  <a:cubicBezTo>
                    <a:pt x="151" y="27"/>
                    <a:pt x="164" y="24"/>
                    <a:pt x="166" y="18"/>
                  </a:cubicBezTo>
                  <a:cubicBezTo>
                    <a:pt x="168" y="12"/>
                    <a:pt x="158" y="6"/>
                    <a:pt x="144" y="3"/>
                  </a:cubicBezTo>
                  <a:close/>
                  <a:moveTo>
                    <a:pt x="348" y="17"/>
                  </a:moveTo>
                  <a:cubicBezTo>
                    <a:pt x="336" y="15"/>
                    <a:pt x="323" y="17"/>
                    <a:pt x="321" y="22"/>
                  </a:cubicBezTo>
                  <a:cubicBezTo>
                    <a:pt x="319" y="27"/>
                    <a:pt x="327" y="34"/>
                    <a:pt x="340" y="37"/>
                  </a:cubicBezTo>
                  <a:cubicBezTo>
                    <a:pt x="353" y="40"/>
                    <a:pt x="365" y="38"/>
                    <a:pt x="367" y="32"/>
                  </a:cubicBezTo>
                  <a:cubicBezTo>
                    <a:pt x="370" y="27"/>
                    <a:pt x="361" y="20"/>
                    <a:pt x="348" y="17"/>
                  </a:cubicBezTo>
                  <a:close/>
                  <a:moveTo>
                    <a:pt x="84" y="9"/>
                  </a:moveTo>
                  <a:cubicBezTo>
                    <a:pt x="71" y="7"/>
                    <a:pt x="59" y="9"/>
                    <a:pt x="57" y="14"/>
                  </a:cubicBezTo>
                  <a:cubicBezTo>
                    <a:pt x="55" y="19"/>
                    <a:pt x="63" y="26"/>
                    <a:pt x="76" y="29"/>
                  </a:cubicBezTo>
                  <a:cubicBezTo>
                    <a:pt x="89" y="32"/>
                    <a:pt x="101" y="30"/>
                    <a:pt x="103" y="24"/>
                  </a:cubicBezTo>
                  <a:cubicBezTo>
                    <a:pt x="105" y="19"/>
                    <a:pt x="97" y="12"/>
                    <a:pt x="84" y="9"/>
                  </a:cubicBezTo>
                  <a:close/>
                  <a:moveTo>
                    <a:pt x="407" y="28"/>
                  </a:moveTo>
                  <a:cubicBezTo>
                    <a:pt x="396" y="25"/>
                    <a:pt x="385" y="27"/>
                    <a:pt x="383" y="32"/>
                  </a:cubicBezTo>
                  <a:cubicBezTo>
                    <a:pt x="381" y="36"/>
                    <a:pt x="388" y="42"/>
                    <a:pt x="400" y="45"/>
                  </a:cubicBezTo>
                  <a:cubicBezTo>
                    <a:pt x="411" y="47"/>
                    <a:pt x="421" y="45"/>
                    <a:pt x="423" y="40"/>
                  </a:cubicBezTo>
                  <a:cubicBezTo>
                    <a:pt x="425" y="36"/>
                    <a:pt x="418" y="30"/>
                    <a:pt x="407" y="28"/>
                  </a:cubicBezTo>
                  <a:close/>
                  <a:moveTo>
                    <a:pt x="461" y="40"/>
                  </a:moveTo>
                  <a:cubicBezTo>
                    <a:pt x="452" y="38"/>
                    <a:pt x="444" y="39"/>
                    <a:pt x="442" y="43"/>
                  </a:cubicBezTo>
                  <a:cubicBezTo>
                    <a:pt x="440" y="47"/>
                    <a:pt x="446" y="51"/>
                    <a:pt x="455" y="53"/>
                  </a:cubicBezTo>
                  <a:cubicBezTo>
                    <a:pt x="464" y="55"/>
                    <a:pt x="473" y="54"/>
                    <a:pt x="474" y="50"/>
                  </a:cubicBezTo>
                  <a:cubicBezTo>
                    <a:pt x="476" y="46"/>
                    <a:pt x="470" y="42"/>
                    <a:pt x="461" y="40"/>
                  </a:cubicBezTo>
                  <a:close/>
                  <a:moveTo>
                    <a:pt x="26" y="20"/>
                  </a:moveTo>
                  <a:cubicBezTo>
                    <a:pt x="15" y="18"/>
                    <a:pt x="4" y="20"/>
                    <a:pt x="2" y="24"/>
                  </a:cubicBezTo>
                  <a:cubicBezTo>
                    <a:pt x="0" y="29"/>
                    <a:pt x="8" y="35"/>
                    <a:pt x="19" y="37"/>
                  </a:cubicBezTo>
                  <a:cubicBezTo>
                    <a:pt x="30" y="40"/>
                    <a:pt x="41" y="38"/>
                    <a:pt x="43" y="33"/>
                  </a:cubicBezTo>
                  <a:cubicBezTo>
                    <a:pt x="45" y="29"/>
                    <a:pt x="37" y="23"/>
                    <a:pt x="26" y="20"/>
                  </a:cubicBezTo>
                  <a:close/>
                </a:path>
              </a:pathLst>
            </a:custGeom>
            <a:solidFill>
              <a:srgbClr val="FFFFFF">
                <a:alpha val="84000"/>
              </a:srgb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9" name="Freeform 695">
              <a:extLst>
                <a:ext uri="{FF2B5EF4-FFF2-40B4-BE49-F238E27FC236}">
                  <a16:creationId xmlns:a16="http://schemas.microsoft.com/office/drawing/2014/main" id="{9CAD2D75-772F-4FB4-96AF-EF0C532608DD}"/>
                </a:ext>
              </a:extLst>
            </p:cNvPr>
            <p:cNvSpPr>
              <a:spLocks noEditPoints="1"/>
            </p:cNvSpPr>
            <p:nvPr/>
          </p:nvSpPr>
          <p:spPr bwMode="auto">
            <a:xfrm>
              <a:off x="4747061" y="5846230"/>
              <a:ext cx="520594" cy="190262"/>
            </a:xfrm>
            <a:custGeom>
              <a:avLst/>
              <a:gdLst>
                <a:gd name="T0" fmla="*/ 55 w 189"/>
                <a:gd name="T1" fmla="*/ 45 h 69"/>
                <a:gd name="T2" fmla="*/ 108 w 189"/>
                <a:gd name="T3" fmla="*/ 46 h 69"/>
                <a:gd name="T4" fmla="*/ 60 w 189"/>
                <a:gd name="T5" fmla="*/ 43 h 69"/>
                <a:gd name="T6" fmla="*/ 120 w 189"/>
                <a:gd name="T7" fmla="*/ 31 h 69"/>
                <a:gd name="T8" fmla="*/ 153 w 189"/>
                <a:gd name="T9" fmla="*/ 31 h 69"/>
                <a:gd name="T10" fmla="*/ 118 w 189"/>
                <a:gd name="T11" fmla="*/ 35 h 69"/>
                <a:gd name="T12" fmla="*/ 119 w 189"/>
                <a:gd name="T13" fmla="*/ 61 h 69"/>
                <a:gd name="T14" fmla="*/ 149 w 189"/>
                <a:gd name="T15" fmla="*/ 62 h 69"/>
                <a:gd name="T16" fmla="*/ 122 w 189"/>
                <a:gd name="T17" fmla="*/ 61 h 69"/>
                <a:gd name="T18" fmla="*/ 33 w 189"/>
                <a:gd name="T19" fmla="*/ 17 h 69"/>
                <a:gd name="T20" fmla="*/ 49 w 189"/>
                <a:gd name="T21" fmla="*/ 19 h 69"/>
                <a:gd name="T22" fmla="*/ 66 w 189"/>
                <a:gd name="T23" fmla="*/ 13 h 69"/>
                <a:gd name="T24" fmla="*/ 28 w 189"/>
                <a:gd name="T25" fmla="*/ 15 h 69"/>
                <a:gd name="T26" fmla="*/ 155 w 189"/>
                <a:gd name="T27" fmla="*/ 47 h 69"/>
                <a:gd name="T28" fmla="*/ 170 w 189"/>
                <a:gd name="T29" fmla="*/ 51 h 69"/>
                <a:gd name="T30" fmla="*/ 189 w 189"/>
                <a:gd name="T31" fmla="*/ 49 h 69"/>
                <a:gd name="T32" fmla="*/ 157 w 189"/>
                <a:gd name="T33" fmla="*/ 46 h 69"/>
                <a:gd name="T34" fmla="*/ 0 w 189"/>
                <a:gd name="T35" fmla="*/ 37 h 69"/>
                <a:gd name="T36" fmla="*/ 13 w 189"/>
                <a:gd name="T37" fmla="*/ 40 h 69"/>
                <a:gd name="T38" fmla="*/ 26 w 189"/>
                <a:gd name="T39" fmla="*/ 36 h 69"/>
                <a:gd name="T40" fmla="*/ 2 w 189"/>
                <a:gd name="T41" fmla="*/ 36 h 69"/>
                <a:gd name="T42" fmla="*/ 79 w 189"/>
                <a:gd name="T43" fmla="*/ 66 h 69"/>
                <a:gd name="T44" fmla="*/ 91 w 189"/>
                <a:gd name="T45" fmla="*/ 68 h 69"/>
                <a:gd name="T46" fmla="*/ 103 w 189"/>
                <a:gd name="T47" fmla="*/ 67 h 69"/>
                <a:gd name="T48" fmla="*/ 81 w 189"/>
                <a:gd name="T49"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9" h="69">
                  <a:moveTo>
                    <a:pt x="55" y="45"/>
                  </a:moveTo>
                  <a:cubicBezTo>
                    <a:pt x="70" y="32"/>
                    <a:pt x="94" y="21"/>
                    <a:pt x="108" y="46"/>
                  </a:cubicBezTo>
                  <a:cubicBezTo>
                    <a:pt x="92" y="48"/>
                    <a:pt x="75" y="51"/>
                    <a:pt x="60" y="43"/>
                  </a:cubicBezTo>
                  <a:moveTo>
                    <a:pt x="120" y="31"/>
                  </a:moveTo>
                  <a:cubicBezTo>
                    <a:pt x="126" y="38"/>
                    <a:pt x="143" y="35"/>
                    <a:pt x="153" y="31"/>
                  </a:cubicBezTo>
                  <a:cubicBezTo>
                    <a:pt x="147" y="15"/>
                    <a:pt x="122" y="22"/>
                    <a:pt x="118" y="35"/>
                  </a:cubicBezTo>
                  <a:moveTo>
                    <a:pt x="119" y="61"/>
                  </a:moveTo>
                  <a:cubicBezTo>
                    <a:pt x="130" y="64"/>
                    <a:pt x="137" y="66"/>
                    <a:pt x="149" y="62"/>
                  </a:cubicBezTo>
                  <a:cubicBezTo>
                    <a:pt x="145" y="51"/>
                    <a:pt x="127" y="52"/>
                    <a:pt x="122" y="61"/>
                  </a:cubicBezTo>
                  <a:moveTo>
                    <a:pt x="33" y="17"/>
                  </a:moveTo>
                  <a:cubicBezTo>
                    <a:pt x="40" y="14"/>
                    <a:pt x="43" y="19"/>
                    <a:pt x="49" y="19"/>
                  </a:cubicBezTo>
                  <a:cubicBezTo>
                    <a:pt x="56" y="19"/>
                    <a:pt x="60" y="16"/>
                    <a:pt x="66" y="13"/>
                  </a:cubicBezTo>
                  <a:cubicBezTo>
                    <a:pt x="53" y="0"/>
                    <a:pt x="40" y="20"/>
                    <a:pt x="28" y="15"/>
                  </a:cubicBezTo>
                  <a:moveTo>
                    <a:pt x="155" y="47"/>
                  </a:moveTo>
                  <a:cubicBezTo>
                    <a:pt x="159" y="46"/>
                    <a:pt x="165" y="51"/>
                    <a:pt x="170" y="51"/>
                  </a:cubicBezTo>
                  <a:cubicBezTo>
                    <a:pt x="177" y="52"/>
                    <a:pt x="183" y="50"/>
                    <a:pt x="189" y="49"/>
                  </a:cubicBezTo>
                  <a:cubicBezTo>
                    <a:pt x="181" y="37"/>
                    <a:pt x="167" y="46"/>
                    <a:pt x="157" y="46"/>
                  </a:cubicBezTo>
                  <a:moveTo>
                    <a:pt x="0" y="37"/>
                  </a:moveTo>
                  <a:cubicBezTo>
                    <a:pt x="4" y="36"/>
                    <a:pt x="9" y="40"/>
                    <a:pt x="13" y="40"/>
                  </a:cubicBezTo>
                  <a:cubicBezTo>
                    <a:pt x="18" y="40"/>
                    <a:pt x="23" y="38"/>
                    <a:pt x="26" y="36"/>
                  </a:cubicBezTo>
                  <a:cubicBezTo>
                    <a:pt x="18" y="30"/>
                    <a:pt x="11" y="30"/>
                    <a:pt x="2" y="36"/>
                  </a:cubicBezTo>
                  <a:moveTo>
                    <a:pt x="79" y="66"/>
                  </a:moveTo>
                  <a:cubicBezTo>
                    <a:pt x="83" y="63"/>
                    <a:pt x="87" y="68"/>
                    <a:pt x="91" y="68"/>
                  </a:cubicBezTo>
                  <a:cubicBezTo>
                    <a:pt x="95" y="69"/>
                    <a:pt x="99" y="69"/>
                    <a:pt x="103" y="67"/>
                  </a:cubicBezTo>
                  <a:cubicBezTo>
                    <a:pt x="95" y="56"/>
                    <a:pt x="92" y="64"/>
                    <a:pt x="81" y="65"/>
                  </a:cubicBezTo>
                </a:path>
              </a:pathLst>
            </a:custGeom>
            <a:solidFill>
              <a:schemeClr val="tx2">
                <a:lumMod val="60000"/>
                <a:lumOff val="4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0" name="Group 99">
            <a:extLst>
              <a:ext uri="{FF2B5EF4-FFF2-40B4-BE49-F238E27FC236}">
                <a16:creationId xmlns:a16="http://schemas.microsoft.com/office/drawing/2014/main" id="{BDFC6305-7BB2-48FA-8B15-611306066799}"/>
              </a:ext>
            </a:extLst>
          </p:cNvPr>
          <p:cNvGrpSpPr/>
          <p:nvPr/>
        </p:nvGrpSpPr>
        <p:grpSpPr>
          <a:xfrm>
            <a:off x="5420860" y="2097491"/>
            <a:ext cx="682874" cy="1102498"/>
            <a:chOff x="3957769" y="2560944"/>
            <a:chExt cx="1435577" cy="2006664"/>
          </a:xfrm>
        </p:grpSpPr>
        <p:sp>
          <p:nvSpPr>
            <p:cNvPr id="101" name="Freeform 584">
              <a:extLst>
                <a:ext uri="{FF2B5EF4-FFF2-40B4-BE49-F238E27FC236}">
                  <a16:creationId xmlns:a16="http://schemas.microsoft.com/office/drawing/2014/main" id="{1BAC31F4-93CD-4A14-BEAE-CC325172D1F9}"/>
                </a:ext>
              </a:extLst>
            </p:cNvPr>
            <p:cNvSpPr>
              <a:spLocks/>
            </p:cNvSpPr>
            <p:nvPr/>
          </p:nvSpPr>
          <p:spPr bwMode="auto">
            <a:xfrm>
              <a:off x="4700008" y="3530220"/>
              <a:ext cx="492499" cy="702072"/>
            </a:xfrm>
            <a:custGeom>
              <a:avLst/>
              <a:gdLst>
                <a:gd name="T0" fmla="*/ 119 w 119"/>
                <a:gd name="T1" fmla="*/ 27 h 170"/>
                <a:gd name="T2" fmla="*/ 92 w 119"/>
                <a:gd name="T3" fmla="*/ 120 h 170"/>
                <a:gd name="T4" fmla="*/ 46 w 119"/>
                <a:gd name="T5" fmla="*/ 170 h 170"/>
                <a:gd name="T6" fmla="*/ 28 w 119"/>
                <a:gd name="T7" fmla="*/ 155 h 170"/>
                <a:gd name="T8" fmla="*/ 71 w 119"/>
                <a:gd name="T9" fmla="*/ 69 h 170"/>
                <a:gd name="T10" fmla="*/ 14 w 119"/>
                <a:gd name="T11" fmla="*/ 126 h 170"/>
                <a:gd name="T12" fmla="*/ 0 w 119"/>
                <a:gd name="T13" fmla="*/ 111 h 170"/>
                <a:gd name="T14" fmla="*/ 34 w 119"/>
                <a:gd name="T15" fmla="*/ 59 h 170"/>
                <a:gd name="T16" fmla="*/ 32 w 119"/>
                <a:gd name="T17" fmla="*/ 0 h 170"/>
                <a:gd name="T18" fmla="*/ 119 w 119"/>
                <a:gd name="T19" fmla="*/ 2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70">
                  <a:moveTo>
                    <a:pt x="119" y="27"/>
                  </a:moveTo>
                  <a:cubicBezTo>
                    <a:pt x="92" y="120"/>
                    <a:pt x="92" y="120"/>
                    <a:pt x="92" y="120"/>
                  </a:cubicBezTo>
                  <a:cubicBezTo>
                    <a:pt x="92" y="120"/>
                    <a:pt x="75" y="149"/>
                    <a:pt x="46" y="170"/>
                  </a:cubicBezTo>
                  <a:cubicBezTo>
                    <a:pt x="28" y="155"/>
                    <a:pt x="28" y="155"/>
                    <a:pt x="28" y="155"/>
                  </a:cubicBezTo>
                  <a:cubicBezTo>
                    <a:pt x="28" y="155"/>
                    <a:pt x="61" y="98"/>
                    <a:pt x="71" y="69"/>
                  </a:cubicBezTo>
                  <a:cubicBezTo>
                    <a:pt x="71" y="69"/>
                    <a:pt x="37" y="107"/>
                    <a:pt x="14" y="126"/>
                  </a:cubicBezTo>
                  <a:cubicBezTo>
                    <a:pt x="0" y="111"/>
                    <a:pt x="0" y="111"/>
                    <a:pt x="0" y="111"/>
                  </a:cubicBezTo>
                  <a:cubicBezTo>
                    <a:pt x="0" y="111"/>
                    <a:pt x="26" y="85"/>
                    <a:pt x="34" y="59"/>
                  </a:cubicBezTo>
                  <a:cubicBezTo>
                    <a:pt x="44" y="24"/>
                    <a:pt x="32" y="0"/>
                    <a:pt x="32" y="0"/>
                  </a:cubicBezTo>
                  <a:lnTo>
                    <a:pt x="119" y="27"/>
                  </a:lnTo>
                  <a:close/>
                </a:path>
              </a:pathLst>
            </a:custGeom>
            <a:solidFill>
              <a:schemeClr val="accent4">
                <a:lumMod val="40000"/>
                <a:lumOff val="6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 name="Freeform 585">
              <a:extLst>
                <a:ext uri="{FF2B5EF4-FFF2-40B4-BE49-F238E27FC236}">
                  <a16:creationId xmlns:a16="http://schemas.microsoft.com/office/drawing/2014/main" id="{0753E742-599A-40B1-916D-104EF46CF9D9}"/>
                </a:ext>
              </a:extLst>
            </p:cNvPr>
            <p:cNvSpPr>
              <a:spLocks/>
            </p:cNvSpPr>
            <p:nvPr/>
          </p:nvSpPr>
          <p:spPr bwMode="auto">
            <a:xfrm>
              <a:off x="4518377" y="3191408"/>
              <a:ext cx="874969" cy="1185836"/>
            </a:xfrm>
            <a:custGeom>
              <a:avLst/>
              <a:gdLst>
                <a:gd name="T0" fmla="*/ 0 w 212"/>
                <a:gd name="T1" fmla="*/ 87 h 287"/>
                <a:gd name="T2" fmla="*/ 120 w 212"/>
                <a:gd name="T3" fmla="*/ 105 h 287"/>
                <a:gd name="T4" fmla="*/ 163 w 212"/>
                <a:gd name="T5" fmla="*/ 180 h 287"/>
                <a:gd name="T6" fmla="*/ 159 w 212"/>
                <a:gd name="T7" fmla="*/ 237 h 287"/>
                <a:gd name="T8" fmla="*/ 187 w 212"/>
                <a:gd name="T9" fmla="*/ 287 h 287"/>
                <a:gd name="T10" fmla="*/ 212 w 212"/>
                <a:gd name="T11" fmla="*/ 178 h 287"/>
                <a:gd name="T12" fmla="*/ 163 w 212"/>
                <a:gd name="T13" fmla="*/ 41 h 287"/>
                <a:gd name="T14" fmla="*/ 40 w 212"/>
                <a:gd name="T15" fmla="*/ 0 h 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287">
                  <a:moveTo>
                    <a:pt x="0" y="87"/>
                  </a:moveTo>
                  <a:cubicBezTo>
                    <a:pt x="86" y="119"/>
                    <a:pt x="120" y="105"/>
                    <a:pt x="120" y="105"/>
                  </a:cubicBezTo>
                  <a:cubicBezTo>
                    <a:pt x="163" y="180"/>
                    <a:pt x="163" y="180"/>
                    <a:pt x="163" y="180"/>
                  </a:cubicBezTo>
                  <a:cubicBezTo>
                    <a:pt x="163" y="180"/>
                    <a:pt x="160" y="192"/>
                    <a:pt x="159" y="237"/>
                  </a:cubicBezTo>
                  <a:cubicBezTo>
                    <a:pt x="158" y="282"/>
                    <a:pt x="187" y="287"/>
                    <a:pt x="187" y="287"/>
                  </a:cubicBezTo>
                  <a:cubicBezTo>
                    <a:pt x="190" y="258"/>
                    <a:pt x="212" y="178"/>
                    <a:pt x="212" y="178"/>
                  </a:cubicBezTo>
                  <a:cubicBezTo>
                    <a:pt x="163" y="41"/>
                    <a:pt x="163" y="41"/>
                    <a:pt x="163" y="41"/>
                  </a:cubicBezTo>
                  <a:cubicBezTo>
                    <a:pt x="163" y="41"/>
                    <a:pt x="97" y="14"/>
                    <a:pt x="40" y="0"/>
                  </a:cubicBezTo>
                </a:path>
              </a:pathLst>
            </a:custGeom>
            <a:solidFill>
              <a:schemeClr val="accent4">
                <a:lumMod val="20000"/>
                <a:lumOff val="8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 name="Freeform 596">
              <a:extLst>
                <a:ext uri="{FF2B5EF4-FFF2-40B4-BE49-F238E27FC236}">
                  <a16:creationId xmlns:a16="http://schemas.microsoft.com/office/drawing/2014/main" id="{ACCD43F3-3FFE-47E6-BD98-0555C2783B99}"/>
                </a:ext>
              </a:extLst>
            </p:cNvPr>
            <p:cNvSpPr>
              <a:spLocks/>
            </p:cNvSpPr>
            <p:nvPr/>
          </p:nvSpPr>
          <p:spPr bwMode="auto">
            <a:xfrm>
              <a:off x="4651106" y="3865538"/>
              <a:ext cx="227037" cy="202589"/>
            </a:xfrm>
            <a:custGeom>
              <a:avLst/>
              <a:gdLst>
                <a:gd name="T0" fmla="*/ 1 w 55"/>
                <a:gd name="T1" fmla="*/ 44 h 49"/>
                <a:gd name="T2" fmla="*/ 1 w 55"/>
                <a:gd name="T3" fmla="*/ 13 h 49"/>
                <a:gd name="T4" fmla="*/ 55 w 55"/>
                <a:gd name="T5" fmla="*/ 16 h 49"/>
                <a:gd name="T6" fmla="*/ 51 w 55"/>
                <a:gd name="T7" fmla="*/ 49 h 49"/>
                <a:gd name="T8" fmla="*/ 1 w 55"/>
                <a:gd name="T9" fmla="*/ 44 h 49"/>
              </a:gdLst>
              <a:ahLst/>
              <a:cxnLst>
                <a:cxn ang="0">
                  <a:pos x="T0" y="T1"/>
                </a:cxn>
                <a:cxn ang="0">
                  <a:pos x="T2" y="T3"/>
                </a:cxn>
                <a:cxn ang="0">
                  <a:pos x="T4" y="T5"/>
                </a:cxn>
                <a:cxn ang="0">
                  <a:pos x="T6" y="T7"/>
                </a:cxn>
                <a:cxn ang="0">
                  <a:pos x="T8" y="T9"/>
                </a:cxn>
              </a:cxnLst>
              <a:rect l="0" t="0" r="r" b="b"/>
              <a:pathLst>
                <a:path w="55" h="49">
                  <a:moveTo>
                    <a:pt x="1" y="44"/>
                  </a:moveTo>
                  <a:cubicBezTo>
                    <a:pt x="1" y="13"/>
                    <a:pt x="1" y="13"/>
                    <a:pt x="1" y="13"/>
                  </a:cubicBezTo>
                  <a:cubicBezTo>
                    <a:pt x="1" y="13"/>
                    <a:pt x="26" y="0"/>
                    <a:pt x="55" y="16"/>
                  </a:cubicBezTo>
                  <a:cubicBezTo>
                    <a:pt x="51" y="49"/>
                    <a:pt x="51" y="49"/>
                    <a:pt x="51" y="49"/>
                  </a:cubicBezTo>
                  <a:cubicBezTo>
                    <a:pt x="51" y="49"/>
                    <a:pt x="0" y="44"/>
                    <a:pt x="1" y="44"/>
                  </a:cubicBez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4" name="Freeform 597">
              <a:extLst>
                <a:ext uri="{FF2B5EF4-FFF2-40B4-BE49-F238E27FC236}">
                  <a16:creationId xmlns:a16="http://schemas.microsoft.com/office/drawing/2014/main" id="{58A717E3-0992-4B35-811A-533F72F6FABA}"/>
                </a:ext>
              </a:extLst>
            </p:cNvPr>
            <p:cNvSpPr>
              <a:spLocks/>
            </p:cNvSpPr>
            <p:nvPr/>
          </p:nvSpPr>
          <p:spPr bwMode="auto">
            <a:xfrm>
              <a:off x="4647614" y="3889989"/>
              <a:ext cx="130982" cy="165912"/>
            </a:xfrm>
            <a:custGeom>
              <a:avLst/>
              <a:gdLst>
                <a:gd name="T0" fmla="*/ 27 w 32"/>
                <a:gd name="T1" fmla="*/ 40 h 40"/>
                <a:gd name="T2" fmla="*/ 0 w 32"/>
                <a:gd name="T3" fmla="*/ 38 h 40"/>
                <a:gd name="T4" fmla="*/ 1 w 32"/>
                <a:gd name="T5" fmla="*/ 7 h 40"/>
                <a:gd name="T6" fmla="*/ 32 w 32"/>
                <a:gd name="T7" fmla="*/ 2 h 40"/>
              </a:gdLst>
              <a:ahLst/>
              <a:cxnLst>
                <a:cxn ang="0">
                  <a:pos x="T0" y="T1"/>
                </a:cxn>
                <a:cxn ang="0">
                  <a:pos x="T2" y="T3"/>
                </a:cxn>
                <a:cxn ang="0">
                  <a:pos x="T4" y="T5"/>
                </a:cxn>
                <a:cxn ang="0">
                  <a:pos x="T6" y="T7"/>
                </a:cxn>
              </a:cxnLst>
              <a:rect l="0" t="0" r="r" b="b"/>
              <a:pathLst>
                <a:path w="32" h="40">
                  <a:moveTo>
                    <a:pt x="27" y="40"/>
                  </a:moveTo>
                  <a:cubicBezTo>
                    <a:pt x="14" y="39"/>
                    <a:pt x="0" y="38"/>
                    <a:pt x="0" y="38"/>
                  </a:cubicBezTo>
                  <a:cubicBezTo>
                    <a:pt x="1" y="7"/>
                    <a:pt x="1" y="7"/>
                    <a:pt x="1" y="7"/>
                  </a:cubicBezTo>
                  <a:cubicBezTo>
                    <a:pt x="1" y="7"/>
                    <a:pt x="13" y="0"/>
                    <a:pt x="32" y="2"/>
                  </a:cubicBezTo>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 name="Freeform 598">
              <a:extLst>
                <a:ext uri="{FF2B5EF4-FFF2-40B4-BE49-F238E27FC236}">
                  <a16:creationId xmlns:a16="http://schemas.microsoft.com/office/drawing/2014/main" id="{B414886E-D92E-48B6-B8A8-301DE2ABA713}"/>
                </a:ext>
              </a:extLst>
            </p:cNvPr>
            <p:cNvSpPr>
              <a:spLocks/>
            </p:cNvSpPr>
            <p:nvPr/>
          </p:nvSpPr>
          <p:spPr bwMode="auto">
            <a:xfrm>
              <a:off x="4439787" y="3965085"/>
              <a:ext cx="202587" cy="160673"/>
            </a:xfrm>
            <a:custGeom>
              <a:avLst/>
              <a:gdLst>
                <a:gd name="T0" fmla="*/ 3 w 49"/>
                <a:gd name="T1" fmla="*/ 39 h 39"/>
                <a:gd name="T2" fmla="*/ 0 w 49"/>
                <a:gd name="T3" fmla="*/ 13 h 39"/>
                <a:gd name="T4" fmla="*/ 47 w 49"/>
                <a:gd name="T5" fmla="*/ 9 h 39"/>
                <a:gd name="T6" fmla="*/ 49 w 49"/>
                <a:gd name="T7" fmla="*/ 32 h 39"/>
                <a:gd name="T8" fmla="*/ 3 w 49"/>
                <a:gd name="T9" fmla="*/ 39 h 39"/>
              </a:gdLst>
              <a:ahLst/>
              <a:cxnLst>
                <a:cxn ang="0">
                  <a:pos x="T0" y="T1"/>
                </a:cxn>
                <a:cxn ang="0">
                  <a:pos x="T2" y="T3"/>
                </a:cxn>
                <a:cxn ang="0">
                  <a:pos x="T4" y="T5"/>
                </a:cxn>
                <a:cxn ang="0">
                  <a:pos x="T6" y="T7"/>
                </a:cxn>
                <a:cxn ang="0">
                  <a:pos x="T8" y="T9"/>
                </a:cxn>
              </a:cxnLst>
              <a:rect l="0" t="0" r="r" b="b"/>
              <a:pathLst>
                <a:path w="49" h="39">
                  <a:moveTo>
                    <a:pt x="3" y="39"/>
                  </a:moveTo>
                  <a:cubicBezTo>
                    <a:pt x="0" y="13"/>
                    <a:pt x="0" y="13"/>
                    <a:pt x="0" y="13"/>
                  </a:cubicBezTo>
                  <a:cubicBezTo>
                    <a:pt x="0" y="13"/>
                    <a:pt x="20" y="0"/>
                    <a:pt x="47" y="9"/>
                  </a:cubicBezTo>
                  <a:cubicBezTo>
                    <a:pt x="49" y="32"/>
                    <a:pt x="49" y="32"/>
                    <a:pt x="49" y="32"/>
                  </a:cubicBezTo>
                  <a:cubicBezTo>
                    <a:pt x="49" y="32"/>
                    <a:pt x="2" y="39"/>
                    <a:pt x="3" y="39"/>
                  </a:cubicBez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 name="Freeform 599">
              <a:extLst>
                <a:ext uri="{FF2B5EF4-FFF2-40B4-BE49-F238E27FC236}">
                  <a16:creationId xmlns:a16="http://schemas.microsoft.com/office/drawing/2014/main" id="{DD174C5F-939E-43FE-9EA2-0E17B9ED268C}"/>
                </a:ext>
              </a:extLst>
            </p:cNvPr>
            <p:cNvSpPr>
              <a:spLocks/>
            </p:cNvSpPr>
            <p:nvPr/>
          </p:nvSpPr>
          <p:spPr bwMode="auto">
            <a:xfrm>
              <a:off x="4439787" y="3989536"/>
              <a:ext cx="108279" cy="136222"/>
            </a:xfrm>
            <a:custGeom>
              <a:avLst/>
              <a:gdLst>
                <a:gd name="T0" fmla="*/ 26 w 26"/>
                <a:gd name="T1" fmla="*/ 29 h 33"/>
                <a:gd name="T2" fmla="*/ 3 w 26"/>
                <a:gd name="T3" fmla="*/ 33 h 33"/>
                <a:gd name="T4" fmla="*/ 0 w 26"/>
                <a:gd name="T5" fmla="*/ 7 h 33"/>
                <a:gd name="T6" fmla="*/ 24 w 26"/>
                <a:gd name="T7" fmla="*/ 0 h 33"/>
              </a:gdLst>
              <a:ahLst/>
              <a:cxnLst>
                <a:cxn ang="0">
                  <a:pos x="T0" y="T1"/>
                </a:cxn>
                <a:cxn ang="0">
                  <a:pos x="T2" y="T3"/>
                </a:cxn>
                <a:cxn ang="0">
                  <a:pos x="T4" y="T5"/>
                </a:cxn>
                <a:cxn ang="0">
                  <a:pos x="T6" y="T7"/>
                </a:cxn>
              </a:cxnLst>
              <a:rect l="0" t="0" r="r" b="b"/>
              <a:pathLst>
                <a:path w="26" h="33">
                  <a:moveTo>
                    <a:pt x="26" y="29"/>
                  </a:moveTo>
                  <a:cubicBezTo>
                    <a:pt x="14" y="31"/>
                    <a:pt x="2" y="33"/>
                    <a:pt x="3" y="33"/>
                  </a:cubicBezTo>
                  <a:cubicBezTo>
                    <a:pt x="0" y="7"/>
                    <a:pt x="0" y="7"/>
                    <a:pt x="0" y="7"/>
                  </a:cubicBezTo>
                  <a:cubicBezTo>
                    <a:pt x="0" y="7"/>
                    <a:pt x="9" y="1"/>
                    <a:pt x="24" y="0"/>
                  </a:cubicBezTo>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 name="Freeform 604">
              <a:extLst>
                <a:ext uri="{FF2B5EF4-FFF2-40B4-BE49-F238E27FC236}">
                  <a16:creationId xmlns:a16="http://schemas.microsoft.com/office/drawing/2014/main" id="{25CB0BA5-09F0-45E1-AD3B-9942926D3972}"/>
                </a:ext>
              </a:extLst>
            </p:cNvPr>
            <p:cNvSpPr>
              <a:spLocks/>
            </p:cNvSpPr>
            <p:nvPr/>
          </p:nvSpPr>
          <p:spPr bwMode="auto">
            <a:xfrm>
              <a:off x="4914821" y="3944129"/>
              <a:ext cx="223545" cy="169405"/>
            </a:xfrm>
            <a:custGeom>
              <a:avLst/>
              <a:gdLst>
                <a:gd name="T0" fmla="*/ 5 w 54"/>
                <a:gd name="T1" fmla="*/ 38 h 41"/>
                <a:gd name="T2" fmla="*/ 6 w 54"/>
                <a:gd name="T3" fmla="*/ 11 h 41"/>
                <a:gd name="T4" fmla="*/ 54 w 54"/>
                <a:gd name="T5" fmla="*/ 19 h 41"/>
                <a:gd name="T6" fmla="*/ 51 w 54"/>
                <a:gd name="T7" fmla="*/ 41 h 41"/>
                <a:gd name="T8" fmla="*/ 5 w 54"/>
                <a:gd name="T9" fmla="*/ 38 h 41"/>
              </a:gdLst>
              <a:ahLst/>
              <a:cxnLst>
                <a:cxn ang="0">
                  <a:pos x="T0" y="T1"/>
                </a:cxn>
                <a:cxn ang="0">
                  <a:pos x="T2" y="T3"/>
                </a:cxn>
                <a:cxn ang="0">
                  <a:pos x="T4" y="T5"/>
                </a:cxn>
                <a:cxn ang="0">
                  <a:pos x="T6" y="T7"/>
                </a:cxn>
                <a:cxn ang="0">
                  <a:pos x="T8" y="T9"/>
                </a:cxn>
              </a:cxnLst>
              <a:rect l="0" t="0" r="r" b="b"/>
              <a:pathLst>
                <a:path w="54" h="41">
                  <a:moveTo>
                    <a:pt x="5" y="38"/>
                  </a:moveTo>
                  <a:cubicBezTo>
                    <a:pt x="6" y="11"/>
                    <a:pt x="6" y="11"/>
                    <a:pt x="6" y="11"/>
                  </a:cubicBezTo>
                  <a:cubicBezTo>
                    <a:pt x="6" y="11"/>
                    <a:pt x="33" y="0"/>
                    <a:pt x="54" y="19"/>
                  </a:cubicBezTo>
                  <a:cubicBezTo>
                    <a:pt x="51" y="41"/>
                    <a:pt x="51" y="41"/>
                    <a:pt x="51" y="41"/>
                  </a:cubicBezTo>
                  <a:cubicBezTo>
                    <a:pt x="51" y="41"/>
                    <a:pt x="0" y="37"/>
                    <a:pt x="5" y="38"/>
                  </a:cubicBez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8" name="Freeform 605">
              <a:extLst>
                <a:ext uri="{FF2B5EF4-FFF2-40B4-BE49-F238E27FC236}">
                  <a16:creationId xmlns:a16="http://schemas.microsoft.com/office/drawing/2014/main" id="{D1462C09-E61A-4767-BE85-B6E4D1B6C83D}"/>
                </a:ext>
              </a:extLst>
            </p:cNvPr>
            <p:cNvSpPr>
              <a:spLocks/>
            </p:cNvSpPr>
            <p:nvPr/>
          </p:nvSpPr>
          <p:spPr bwMode="auto">
            <a:xfrm>
              <a:off x="4927045" y="3972071"/>
              <a:ext cx="99547" cy="132730"/>
            </a:xfrm>
            <a:custGeom>
              <a:avLst/>
              <a:gdLst>
                <a:gd name="T0" fmla="*/ 22 w 24"/>
                <a:gd name="T1" fmla="*/ 32 h 32"/>
                <a:gd name="T2" fmla="*/ 2 w 24"/>
                <a:gd name="T3" fmla="*/ 31 h 32"/>
                <a:gd name="T4" fmla="*/ 3 w 24"/>
                <a:gd name="T5" fmla="*/ 4 h 32"/>
                <a:gd name="T6" fmla="*/ 24 w 24"/>
                <a:gd name="T7" fmla="*/ 1 h 32"/>
              </a:gdLst>
              <a:ahLst/>
              <a:cxnLst>
                <a:cxn ang="0">
                  <a:pos x="T0" y="T1"/>
                </a:cxn>
                <a:cxn ang="0">
                  <a:pos x="T2" y="T3"/>
                </a:cxn>
                <a:cxn ang="0">
                  <a:pos x="T4" y="T5"/>
                </a:cxn>
                <a:cxn ang="0">
                  <a:pos x="T6" y="T7"/>
                </a:cxn>
              </a:cxnLst>
              <a:rect l="0" t="0" r="r" b="b"/>
              <a:pathLst>
                <a:path w="24" h="32">
                  <a:moveTo>
                    <a:pt x="22" y="32"/>
                  </a:moveTo>
                  <a:cubicBezTo>
                    <a:pt x="10" y="31"/>
                    <a:pt x="0" y="31"/>
                    <a:pt x="2" y="31"/>
                  </a:cubicBezTo>
                  <a:cubicBezTo>
                    <a:pt x="3" y="4"/>
                    <a:pt x="3" y="4"/>
                    <a:pt x="3" y="4"/>
                  </a:cubicBezTo>
                  <a:cubicBezTo>
                    <a:pt x="3" y="4"/>
                    <a:pt x="12" y="0"/>
                    <a:pt x="24" y="1"/>
                  </a:cubicBezTo>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9" name="Freeform 608">
              <a:extLst>
                <a:ext uri="{FF2B5EF4-FFF2-40B4-BE49-F238E27FC236}">
                  <a16:creationId xmlns:a16="http://schemas.microsoft.com/office/drawing/2014/main" id="{7E361357-AFF7-478A-B341-09FCA18C5064}"/>
                </a:ext>
              </a:extLst>
            </p:cNvPr>
            <p:cNvSpPr>
              <a:spLocks/>
            </p:cNvSpPr>
            <p:nvPr/>
          </p:nvSpPr>
          <p:spPr bwMode="auto">
            <a:xfrm>
              <a:off x="4403112" y="3938887"/>
              <a:ext cx="723028" cy="628721"/>
            </a:xfrm>
            <a:custGeom>
              <a:avLst/>
              <a:gdLst>
                <a:gd name="T0" fmla="*/ 168 w 414"/>
                <a:gd name="T1" fmla="*/ 0 h 360"/>
                <a:gd name="T2" fmla="*/ 0 w 414"/>
                <a:gd name="T3" fmla="*/ 100 h 360"/>
                <a:gd name="T4" fmla="*/ 17 w 414"/>
                <a:gd name="T5" fmla="*/ 320 h 360"/>
                <a:gd name="T6" fmla="*/ 414 w 414"/>
                <a:gd name="T7" fmla="*/ 360 h 360"/>
                <a:gd name="T8" fmla="*/ 168 w 414"/>
                <a:gd name="T9" fmla="*/ 0 h 360"/>
              </a:gdLst>
              <a:ahLst/>
              <a:cxnLst>
                <a:cxn ang="0">
                  <a:pos x="T0" y="T1"/>
                </a:cxn>
                <a:cxn ang="0">
                  <a:pos x="T2" y="T3"/>
                </a:cxn>
                <a:cxn ang="0">
                  <a:pos x="T4" y="T5"/>
                </a:cxn>
                <a:cxn ang="0">
                  <a:pos x="T6" y="T7"/>
                </a:cxn>
                <a:cxn ang="0">
                  <a:pos x="T8" y="T9"/>
                </a:cxn>
              </a:cxnLst>
              <a:rect l="0" t="0" r="r" b="b"/>
              <a:pathLst>
                <a:path w="414" h="360">
                  <a:moveTo>
                    <a:pt x="168" y="0"/>
                  </a:moveTo>
                  <a:lnTo>
                    <a:pt x="0" y="100"/>
                  </a:lnTo>
                  <a:lnTo>
                    <a:pt x="17" y="320"/>
                  </a:lnTo>
                  <a:lnTo>
                    <a:pt x="414" y="360"/>
                  </a:lnTo>
                  <a:lnTo>
                    <a:pt x="168" y="0"/>
                  </a:lnTo>
                  <a:close/>
                </a:path>
              </a:pathLst>
            </a:custGeom>
            <a:solidFill>
              <a:schemeClr val="accent4">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0" name="Freeform 609">
              <a:extLst>
                <a:ext uri="{FF2B5EF4-FFF2-40B4-BE49-F238E27FC236}">
                  <a16:creationId xmlns:a16="http://schemas.microsoft.com/office/drawing/2014/main" id="{791E0D77-58EC-4747-9A10-B1418D2C10CC}"/>
                </a:ext>
              </a:extLst>
            </p:cNvPr>
            <p:cNvSpPr>
              <a:spLocks/>
            </p:cNvSpPr>
            <p:nvPr/>
          </p:nvSpPr>
          <p:spPr bwMode="auto">
            <a:xfrm>
              <a:off x="4675557" y="3938887"/>
              <a:ext cx="511707" cy="625229"/>
            </a:xfrm>
            <a:custGeom>
              <a:avLst/>
              <a:gdLst>
                <a:gd name="T0" fmla="*/ 12 w 293"/>
                <a:gd name="T1" fmla="*/ 0 h 358"/>
                <a:gd name="T2" fmla="*/ 0 w 293"/>
                <a:gd name="T3" fmla="*/ 310 h 358"/>
                <a:gd name="T4" fmla="*/ 253 w 293"/>
                <a:gd name="T5" fmla="*/ 358 h 358"/>
                <a:gd name="T6" fmla="*/ 293 w 293"/>
                <a:gd name="T7" fmla="*/ 86 h 358"/>
                <a:gd name="T8" fmla="*/ 12 w 293"/>
                <a:gd name="T9" fmla="*/ 0 h 358"/>
              </a:gdLst>
              <a:ahLst/>
              <a:cxnLst>
                <a:cxn ang="0">
                  <a:pos x="T0" y="T1"/>
                </a:cxn>
                <a:cxn ang="0">
                  <a:pos x="T2" y="T3"/>
                </a:cxn>
                <a:cxn ang="0">
                  <a:pos x="T4" y="T5"/>
                </a:cxn>
                <a:cxn ang="0">
                  <a:pos x="T6" y="T7"/>
                </a:cxn>
                <a:cxn ang="0">
                  <a:pos x="T8" y="T9"/>
                </a:cxn>
              </a:cxnLst>
              <a:rect l="0" t="0" r="r" b="b"/>
              <a:pathLst>
                <a:path w="293" h="358">
                  <a:moveTo>
                    <a:pt x="12" y="0"/>
                  </a:moveTo>
                  <a:lnTo>
                    <a:pt x="0" y="310"/>
                  </a:lnTo>
                  <a:lnTo>
                    <a:pt x="253" y="358"/>
                  </a:lnTo>
                  <a:lnTo>
                    <a:pt x="293" y="86"/>
                  </a:lnTo>
                  <a:lnTo>
                    <a:pt x="12" y="0"/>
                  </a:lnTo>
                  <a:close/>
                </a:path>
              </a:pathLst>
            </a:custGeom>
            <a:solidFill>
              <a:schemeClr val="accent4"/>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Freeform 610">
              <a:extLst>
                <a:ext uri="{FF2B5EF4-FFF2-40B4-BE49-F238E27FC236}">
                  <a16:creationId xmlns:a16="http://schemas.microsoft.com/office/drawing/2014/main" id="{99D7AB53-4933-46A6-BF31-7C621A7A219E}"/>
                </a:ext>
              </a:extLst>
            </p:cNvPr>
            <p:cNvSpPr>
              <a:spLocks/>
            </p:cNvSpPr>
            <p:nvPr/>
          </p:nvSpPr>
          <p:spPr bwMode="auto">
            <a:xfrm>
              <a:off x="3957769" y="2560944"/>
              <a:ext cx="908151" cy="1758671"/>
            </a:xfrm>
            <a:custGeom>
              <a:avLst/>
              <a:gdLst>
                <a:gd name="T0" fmla="*/ 146 w 220"/>
                <a:gd name="T1" fmla="*/ 222 h 426"/>
                <a:gd name="T2" fmla="*/ 138 w 220"/>
                <a:gd name="T3" fmla="*/ 290 h 426"/>
                <a:gd name="T4" fmla="*/ 171 w 220"/>
                <a:gd name="T5" fmla="*/ 406 h 426"/>
                <a:gd name="T6" fmla="*/ 152 w 220"/>
                <a:gd name="T7" fmla="*/ 426 h 426"/>
                <a:gd name="T8" fmla="*/ 132 w 220"/>
                <a:gd name="T9" fmla="*/ 367 h 426"/>
                <a:gd name="T10" fmla="*/ 86 w 220"/>
                <a:gd name="T11" fmla="*/ 316 h 426"/>
                <a:gd name="T12" fmla="*/ 70 w 220"/>
                <a:gd name="T13" fmla="*/ 277 h 426"/>
                <a:gd name="T14" fmla="*/ 35 w 220"/>
                <a:gd name="T15" fmla="*/ 227 h 426"/>
                <a:gd name="T16" fmla="*/ 34 w 220"/>
                <a:gd name="T17" fmla="*/ 173 h 426"/>
                <a:gd name="T18" fmla="*/ 0 w 220"/>
                <a:gd name="T19" fmla="*/ 117 h 426"/>
                <a:gd name="T20" fmla="*/ 76 w 220"/>
                <a:gd name="T21" fmla="*/ 0 h 426"/>
                <a:gd name="T22" fmla="*/ 220 w 220"/>
                <a:gd name="T23" fmla="*/ 16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426">
                  <a:moveTo>
                    <a:pt x="146" y="222"/>
                  </a:moveTo>
                  <a:cubicBezTo>
                    <a:pt x="146" y="222"/>
                    <a:pt x="128" y="261"/>
                    <a:pt x="138" y="290"/>
                  </a:cubicBezTo>
                  <a:cubicBezTo>
                    <a:pt x="149" y="319"/>
                    <a:pt x="184" y="368"/>
                    <a:pt x="171" y="406"/>
                  </a:cubicBezTo>
                  <a:cubicBezTo>
                    <a:pt x="171" y="406"/>
                    <a:pt x="164" y="417"/>
                    <a:pt x="152" y="426"/>
                  </a:cubicBezTo>
                  <a:cubicBezTo>
                    <a:pt x="148" y="406"/>
                    <a:pt x="141" y="386"/>
                    <a:pt x="132" y="367"/>
                  </a:cubicBezTo>
                  <a:cubicBezTo>
                    <a:pt x="121" y="341"/>
                    <a:pt x="102" y="337"/>
                    <a:pt x="86" y="316"/>
                  </a:cubicBezTo>
                  <a:cubicBezTo>
                    <a:pt x="77" y="304"/>
                    <a:pt x="76" y="290"/>
                    <a:pt x="70" y="277"/>
                  </a:cubicBezTo>
                  <a:cubicBezTo>
                    <a:pt x="60" y="260"/>
                    <a:pt x="44" y="245"/>
                    <a:pt x="35" y="227"/>
                  </a:cubicBezTo>
                  <a:cubicBezTo>
                    <a:pt x="23" y="203"/>
                    <a:pt x="31" y="196"/>
                    <a:pt x="34" y="173"/>
                  </a:cubicBezTo>
                  <a:cubicBezTo>
                    <a:pt x="38" y="151"/>
                    <a:pt x="15" y="135"/>
                    <a:pt x="0" y="117"/>
                  </a:cubicBezTo>
                  <a:cubicBezTo>
                    <a:pt x="0" y="117"/>
                    <a:pt x="47" y="22"/>
                    <a:pt x="76" y="0"/>
                  </a:cubicBezTo>
                  <a:cubicBezTo>
                    <a:pt x="76" y="0"/>
                    <a:pt x="129" y="133"/>
                    <a:pt x="220" y="168"/>
                  </a:cubicBezTo>
                </a:path>
              </a:pathLst>
            </a:custGeom>
            <a:solidFill>
              <a:schemeClr val="accent4">
                <a:lumMod val="20000"/>
                <a:lumOff val="8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12" name="Group 111">
            <a:extLst>
              <a:ext uri="{FF2B5EF4-FFF2-40B4-BE49-F238E27FC236}">
                <a16:creationId xmlns:a16="http://schemas.microsoft.com/office/drawing/2014/main" id="{5F66E81E-4E2D-487D-8B30-477437722B9B}"/>
              </a:ext>
            </a:extLst>
          </p:cNvPr>
          <p:cNvGrpSpPr/>
          <p:nvPr/>
        </p:nvGrpSpPr>
        <p:grpSpPr>
          <a:xfrm>
            <a:off x="6920183" y="3953236"/>
            <a:ext cx="1101035" cy="816170"/>
            <a:chOff x="5982862" y="4995631"/>
            <a:chExt cx="2314660" cy="1485517"/>
          </a:xfrm>
        </p:grpSpPr>
        <p:sp>
          <p:nvSpPr>
            <p:cNvPr id="113" name="Freeform 621">
              <a:extLst>
                <a:ext uri="{FF2B5EF4-FFF2-40B4-BE49-F238E27FC236}">
                  <a16:creationId xmlns:a16="http://schemas.microsoft.com/office/drawing/2014/main" id="{1DEBE224-7EB4-4C50-A9A9-A59E087D7CE7}"/>
                </a:ext>
              </a:extLst>
            </p:cNvPr>
            <p:cNvSpPr>
              <a:spLocks noEditPoints="1"/>
            </p:cNvSpPr>
            <p:nvPr/>
          </p:nvSpPr>
          <p:spPr bwMode="auto">
            <a:xfrm>
              <a:off x="5982862" y="5777295"/>
              <a:ext cx="2314660" cy="703853"/>
            </a:xfrm>
            <a:custGeom>
              <a:avLst/>
              <a:gdLst>
                <a:gd name="T0" fmla="*/ 837 w 839"/>
                <a:gd name="T1" fmla="*/ 192 h 255"/>
                <a:gd name="T2" fmla="*/ 811 w 839"/>
                <a:gd name="T3" fmla="*/ 221 h 255"/>
                <a:gd name="T4" fmla="*/ 741 w 839"/>
                <a:gd name="T5" fmla="*/ 243 h 255"/>
                <a:gd name="T6" fmla="*/ 680 w 839"/>
                <a:gd name="T7" fmla="*/ 250 h 255"/>
                <a:gd name="T8" fmla="*/ 666 w 839"/>
                <a:gd name="T9" fmla="*/ 251 h 255"/>
                <a:gd name="T10" fmla="*/ 609 w 839"/>
                <a:gd name="T11" fmla="*/ 254 h 255"/>
                <a:gd name="T12" fmla="*/ 561 w 839"/>
                <a:gd name="T13" fmla="*/ 254 h 255"/>
                <a:gd name="T14" fmla="*/ 528 w 839"/>
                <a:gd name="T15" fmla="*/ 252 h 255"/>
                <a:gd name="T16" fmla="*/ 522 w 839"/>
                <a:gd name="T17" fmla="*/ 252 h 255"/>
                <a:gd name="T18" fmla="*/ 519 w 839"/>
                <a:gd name="T19" fmla="*/ 251 h 255"/>
                <a:gd name="T20" fmla="*/ 476 w 839"/>
                <a:gd name="T21" fmla="*/ 245 h 255"/>
                <a:gd name="T22" fmla="*/ 370 w 839"/>
                <a:gd name="T23" fmla="*/ 233 h 255"/>
                <a:gd name="T24" fmla="*/ 350 w 839"/>
                <a:gd name="T25" fmla="*/ 233 h 255"/>
                <a:gd name="T26" fmla="*/ 340 w 839"/>
                <a:gd name="T27" fmla="*/ 233 h 255"/>
                <a:gd name="T28" fmla="*/ 290 w 839"/>
                <a:gd name="T29" fmla="*/ 225 h 255"/>
                <a:gd name="T30" fmla="*/ 173 w 839"/>
                <a:gd name="T31" fmla="*/ 191 h 255"/>
                <a:gd name="T32" fmla="*/ 55 w 839"/>
                <a:gd name="T33" fmla="*/ 144 h 255"/>
                <a:gd name="T34" fmla="*/ 28 w 839"/>
                <a:gd name="T35" fmla="*/ 125 h 255"/>
                <a:gd name="T36" fmla="*/ 6 w 839"/>
                <a:gd name="T37" fmla="*/ 97 h 255"/>
                <a:gd name="T38" fmla="*/ 1 w 839"/>
                <a:gd name="T39" fmla="*/ 70 h 255"/>
                <a:gd name="T40" fmla="*/ 1 w 839"/>
                <a:gd name="T41" fmla="*/ 68 h 255"/>
                <a:gd name="T42" fmla="*/ 3 w 839"/>
                <a:gd name="T43" fmla="*/ 62 h 255"/>
                <a:gd name="T44" fmla="*/ 12 w 839"/>
                <a:gd name="T45" fmla="*/ 47 h 255"/>
                <a:gd name="T46" fmla="*/ 72 w 839"/>
                <a:gd name="T47" fmla="*/ 17 h 255"/>
                <a:gd name="T48" fmla="*/ 319 w 839"/>
                <a:gd name="T49" fmla="*/ 5 h 255"/>
                <a:gd name="T50" fmla="*/ 603 w 839"/>
                <a:gd name="T51" fmla="*/ 53 h 255"/>
                <a:gd name="T52" fmla="*/ 757 w 839"/>
                <a:gd name="T53" fmla="*/ 108 h 255"/>
                <a:gd name="T54" fmla="*/ 819 w 839"/>
                <a:gd name="T55" fmla="*/ 147 h 255"/>
                <a:gd name="T56" fmla="*/ 839 w 839"/>
                <a:gd name="T57" fmla="*/ 181 h 255"/>
                <a:gd name="T58" fmla="*/ 838 w 839"/>
                <a:gd name="T59" fmla="*/ 187 h 255"/>
                <a:gd name="T60" fmla="*/ 836 w 839"/>
                <a:gd name="T61" fmla="*/ 185 h 255"/>
                <a:gd name="T62" fmla="*/ 832 w 839"/>
                <a:gd name="T63" fmla="*/ 168 h 255"/>
                <a:gd name="T64" fmla="*/ 756 w 839"/>
                <a:gd name="T65" fmla="*/ 110 h 255"/>
                <a:gd name="T66" fmla="*/ 602 w 839"/>
                <a:gd name="T67" fmla="*/ 60 h 255"/>
                <a:gd name="T68" fmla="*/ 395 w 839"/>
                <a:gd name="T69" fmla="*/ 26 h 255"/>
                <a:gd name="T70" fmla="*/ 158 w 839"/>
                <a:gd name="T71" fmla="*/ 21 h 255"/>
                <a:gd name="T72" fmla="*/ 40 w 839"/>
                <a:gd name="T73" fmla="*/ 49 h 255"/>
                <a:gd name="T74" fmla="*/ 22 w 839"/>
                <a:gd name="T75" fmla="*/ 66 h 255"/>
                <a:gd name="T76" fmla="*/ 21 w 839"/>
                <a:gd name="T77" fmla="*/ 69 h 255"/>
                <a:gd name="T78" fmla="*/ 21 w 839"/>
                <a:gd name="T79" fmla="*/ 72 h 255"/>
                <a:gd name="T80" fmla="*/ 21 w 839"/>
                <a:gd name="T81" fmla="*/ 73 h 255"/>
                <a:gd name="T82" fmla="*/ 34 w 839"/>
                <a:gd name="T83" fmla="*/ 103 h 255"/>
                <a:gd name="T84" fmla="*/ 49 w 839"/>
                <a:gd name="T85" fmla="*/ 115 h 255"/>
                <a:gd name="T86" fmla="*/ 141 w 839"/>
                <a:gd name="T87" fmla="*/ 157 h 255"/>
                <a:gd name="T88" fmla="*/ 219 w 839"/>
                <a:gd name="T89" fmla="*/ 180 h 255"/>
                <a:gd name="T90" fmla="*/ 333 w 839"/>
                <a:gd name="T91" fmla="*/ 207 h 255"/>
                <a:gd name="T92" fmla="*/ 389 w 839"/>
                <a:gd name="T93" fmla="*/ 209 h 255"/>
                <a:gd name="T94" fmla="*/ 427 w 839"/>
                <a:gd name="T95" fmla="*/ 213 h 255"/>
                <a:gd name="T96" fmla="*/ 481 w 839"/>
                <a:gd name="T97" fmla="*/ 223 h 255"/>
                <a:gd name="T98" fmla="*/ 514 w 839"/>
                <a:gd name="T99" fmla="*/ 230 h 255"/>
                <a:gd name="T100" fmla="*/ 530 w 839"/>
                <a:gd name="T101" fmla="*/ 232 h 255"/>
                <a:gd name="T102" fmla="*/ 563 w 839"/>
                <a:gd name="T103" fmla="*/ 236 h 255"/>
                <a:gd name="T104" fmla="*/ 609 w 839"/>
                <a:gd name="T105" fmla="*/ 239 h 255"/>
                <a:gd name="T106" fmla="*/ 666 w 839"/>
                <a:gd name="T107" fmla="*/ 240 h 255"/>
                <a:gd name="T108" fmla="*/ 679 w 839"/>
                <a:gd name="T109" fmla="*/ 240 h 255"/>
                <a:gd name="T110" fmla="*/ 740 w 839"/>
                <a:gd name="T111" fmla="*/ 237 h 255"/>
                <a:gd name="T112" fmla="*/ 828 w 839"/>
                <a:gd name="T113" fmla="*/ 204 h 255"/>
                <a:gd name="T114" fmla="*/ 836 w 839"/>
                <a:gd name="T115" fmla="*/ 18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9" h="255">
                  <a:moveTo>
                    <a:pt x="838" y="187"/>
                  </a:moveTo>
                  <a:cubicBezTo>
                    <a:pt x="838" y="187"/>
                    <a:pt x="838" y="188"/>
                    <a:pt x="837" y="192"/>
                  </a:cubicBezTo>
                  <a:cubicBezTo>
                    <a:pt x="836" y="195"/>
                    <a:pt x="835" y="200"/>
                    <a:pt x="830" y="206"/>
                  </a:cubicBezTo>
                  <a:cubicBezTo>
                    <a:pt x="826" y="211"/>
                    <a:pt x="820" y="217"/>
                    <a:pt x="811" y="221"/>
                  </a:cubicBezTo>
                  <a:cubicBezTo>
                    <a:pt x="803" y="226"/>
                    <a:pt x="793" y="230"/>
                    <a:pt x="781" y="234"/>
                  </a:cubicBezTo>
                  <a:cubicBezTo>
                    <a:pt x="769" y="238"/>
                    <a:pt x="755" y="240"/>
                    <a:pt x="741" y="243"/>
                  </a:cubicBezTo>
                  <a:cubicBezTo>
                    <a:pt x="726" y="245"/>
                    <a:pt x="710" y="247"/>
                    <a:pt x="693" y="249"/>
                  </a:cubicBezTo>
                  <a:cubicBezTo>
                    <a:pt x="689" y="249"/>
                    <a:pt x="684" y="249"/>
                    <a:pt x="680" y="250"/>
                  </a:cubicBezTo>
                  <a:cubicBezTo>
                    <a:pt x="678" y="250"/>
                    <a:pt x="675" y="250"/>
                    <a:pt x="673" y="250"/>
                  </a:cubicBezTo>
                  <a:cubicBezTo>
                    <a:pt x="671" y="251"/>
                    <a:pt x="669" y="251"/>
                    <a:pt x="666" y="251"/>
                  </a:cubicBezTo>
                  <a:cubicBezTo>
                    <a:pt x="657" y="252"/>
                    <a:pt x="648" y="252"/>
                    <a:pt x="639" y="253"/>
                  </a:cubicBezTo>
                  <a:cubicBezTo>
                    <a:pt x="629" y="254"/>
                    <a:pt x="619" y="254"/>
                    <a:pt x="609" y="254"/>
                  </a:cubicBezTo>
                  <a:cubicBezTo>
                    <a:pt x="599" y="255"/>
                    <a:pt x="588" y="255"/>
                    <a:pt x="578" y="254"/>
                  </a:cubicBezTo>
                  <a:cubicBezTo>
                    <a:pt x="572" y="254"/>
                    <a:pt x="567" y="254"/>
                    <a:pt x="561" y="254"/>
                  </a:cubicBezTo>
                  <a:cubicBezTo>
                    <a:pt x="556" y="254"/>
                    <a:pt x="550" y="254"/>
                    <a:pt x="545" y="253"/>
                  </a:cubicBezTo>
                  <a:cubicBezTo>
                    <a:pt x="539" y="253"/>
                    <a:pt x="534" y="252"/>
                    <a:pt x="528" y="252"/>
                  </a:cubicBezTo>
                  <a:cubicBezTo>
                    <a:pt x="524" y="252"/>
                    <a:pt x="524" y="252"/>
                    <a:pt x="524" y="252"/>
                  </a:cubicBezTo>
                  <a:cubicBezTo>
                    <a:pt x="522" y="252"/>
                    <a:pt x="522" y="252"/>
                    <a:pt x="522" y="252"/>
                  </a:cubicBezTo>
                  <a:cubicBezTo>
                    <a:pt x="521" y="252"/>
                    <a:pt x="521" y="252"/>
                    <a:pt x="521" y="252"/>
                  </a:cubicBezTo>
                  <a:cubicBezTo>
                    <a:pt x="519" y="251"/>
                    <a:pt x="519" y="251"/>
                    <a:pt x="519" y="251"/>
                  </a:cubicBezTo>
                  <a:cubicBezTo>
                    <a:pt x="517" y="251"/>
                    <a:pt x="514" y="251"/>
                    <a:pt x="511" y="250"/>
                  </a:cubicBezTo>
                  <a:cubicBezTo>
                    <a:pt x="500" y="249"/>
                    <a:pt x="488" y="247"/>
                    <a:pt x="476" y="245"/>
                  </a:cubicBezTo>
                  <a:cubicBezTo>
                    <a:pt x="465" y="243"/>
                    <a:pt x="453" y="241"/>
                    <a:pt x="441" y="239"/>
                  </a:cubicBezTo>
                  <a:cubicBezTo>
                    <a:pt x="418" y="236"/>
                    <a:pt x="394" y="233"/>
                    <a:pt x="370" y="233"/>
                  </a:cubicBezTo>
                  <a:cubicBezTo>
                    <a:pt x="367" y="234"/>
                    <a:pt x="364" y="234"/>
                    <a:pt x="360" y="234"/>
                  </a:cubicBezTo>
                  <a:cubicBezTo>
                    <a:pt x="357" y="234"/>
                    <a:pt x="354" y="233"/>
                    <a:pt x="350" y="233"/>
                  </a:cubicBezTo>
                  <a:cubicBezTo>
                    <a:pt x="345" y="233"/>
                    <a:pt x="345" y="233"/>
                    <a:pt x="345" y="233"/>
                  </a:cubicBezTo>
                  <a:cubicBezTo>
                    <a:pt x="340" y="233"/>
                    <a:pt x="340" y="233"/>
                    <a:pt x="340" y="233"/>
                  </a:cubicBezTo>
                  <a:cubicBezTo>
                    <a:pt x="337" y="233"/>
                    <a:pt x="333" y="232"/>
                    <a:pt x="330" y="232"/>
                  </a:cubicBezTo>
                  <a:cubicBezTo>
                    <a:pt x="317" y="230"/>
                    <a:pt x="303" y="228"/>
                    <a:pt x="290" y="225"/>
                  </a:cubicBezTo>
                  <a:cubicBezTo>
                    <a:pt x="264" y="220"/>
                    <a:pt x="238" y="212"/>
                    <a:pt x="212" y="204"/>
                  </a:cubicBezTo>
                  <a:cubicBezTo>
                    <a:pt x="199" y="200"/>
                    <a:pt x="186" y="196"/>
                    <a:pt x="173" y="191"/>
                  </a:cubicBezTo>
                  <a:cubicBezTo>
                    <a:pt x="160" y="187"/>
                    <a:pt x="147" y="183"/>
                    <a:pt x="134" y="178"/>
                  </a:cubicBezTo>
                  <a:cubicBezTo>
                    <a:pt x="107" y="169"/>
                    <a:pt x="81" y="159"/>
                    <a:pt x="55" y="144"/>
                  </a:cubicBezTo>
                  <a:cubicBezTo>
                    <a:pt x="49" y="140"/>
                    <a:pt x="43" y="136"/>
                    <a:pt x="37" y="132"/>
                  </a:cubicBezTo>
                  <a:cubicBezTo>
                    <a:pt x="34" y="130"/>
                    <a:pt x="31" y="127"/>
                    <a:pt x="28" y="125"/>
                  </a:cubicBezTo>
                  <a:cubicBezTo>
                    <a:pt x="25" y="122"/>
                    <a:pt x="22" y="120"/>
                    <a:pt x="20" y="117"/>
                  </a:cubicBezTo>
                  <a:cubicBezTo>
                    <a:pt x="14" y="111"/>
                    <a:pt x="9" y="105"/>
                    <a:pt x="6" y="97"/>
                  </a:cubicBezTo>
                  <a:cubicBezTo>
                    <a:pt x="2" y="90"/>
                    <a:pt x="0" y="81"/>
                    <a:pt x="1" y="72"/>
                  </a:cubicBezTo>
                  <a:cubicBezTo>
                    <a:pt x="1" y="70"/>
                    <a:pt x="1" y="70"/>
                    <a:pt x="1" y="70"/>
                  </a:cubicBezTo>
                  <a:cubicBezTo>
                    <a:pt x="1" y="69"/>
                    <a:pt x="1" y="69"/>
                    <a:pt x="1" y="69"/>
                  </a:cubicBezTo>
                  <a:cubicBezTo>
                    <a:pt x="1" y="69"/>
                    <a:pt x="1" y="69"/>
                    <a:pt x="1" y="68"/>
                  </a:cubicBezTo>
                  <a:cubicBezTo>
                    <a:pt x="2" y="65"/>
                    <a:pt x="2" y="65"/>
                    <a:pt x="2" y="65"/>
                  </a:cubicBezTo>
                  <a:cubicBezTo>
                    <a:pt x="2" y="64"/>
                    <a:pt x="3" y="63"/>
                    <a:pt x="3" y="62"/>
                  </a:cubicBezTo>
                  <a:cubicBezTo>
                    <a:pt x="3" y="60"/>
                    <a:pt x="4" y="59"/>
                    <a:pt x="4" y="58"/>
                  </a:cubicBezTo>
                  <a:cubicBezTo>
                    <a:pt x="6" y="54"/>
                    <a:pt x="9" y="50"/>
                    <a:pt x="12" y="47"/>
                  </a:cubicBezTo>
                  <a:cubicBezTo>
                    <a:pt x="18" y="41"/>
                    <a:pt x="24" y="36"/>
                    <a:pt x="31" y="33"/>
                  </a:cubicBezTo>
                  <a:cubicBezTo>
                    <a:pt x="44" y="25"/>
                    <a:pt x="58" y="21"/>
                    <a:pt x="72" y="17"/>
                  </a:cubicBezTo>
                  <a:cubicBezTo>
                    <a:pt x="100" y="10"/>
                    <a:pt x="128" y="6"/>
                    <a:pt x="156" y="4"/>
                  </a:cubicBezTo>
                  <a:cubicBezTo>
                    <a:pt x="212" y="0"/>
                    <a:pt x="267" y="1"/>
                    <a:pt x="319" y="5"/>
                  </a:cubicBezTo>
                  <a:cubicBezTo>
                    <a:pt x="372" y="9"/>
                    <a:pt x="423" y="15"/>
                    <a:pt x="470" y="24"/>
                  </a:cubicBezTo>
                  <a:cubicBezTo>
                    <a:pt x="518" y="32"/>
                    <a:pt x="563" y="42"/>
                    <a:pt x="603" y="53"/>
                  </a:cubicBezTo>
                  <a:cubicBezTo>
                    <a:pt x="644" y="64"/>
                    <a:pt x="681" y="77"/>
                    <a:pt x="713" y="89"/>
                  </a:cubicBezTo>
                  <a:cubicBezTo>
                    <a:pt x="729" y="95"/>
                    <a:pt x="743" y="102"/>
                    <a:pt x="757" y="108"/>
                  </a:cubicBezTo>
                  <a:cubicBezTo>
                    <a:pt x="770" y="115"/>
                    <a:pt x="782" y="121"/>
                    <a:pt x="793" y="128"/>
                  </a:cubicBezTo>
                  <a:cubicBezTo>
                    <a:pt x="803" y="134"/>
                    <a:pt x="812" y="141"/>
                    <a:pt x="819" y="147"/>
                  </a:cubicBezTo>
                  <a:cubicBezTo>
                    <a:pt x="826" y="154"/>
                    <a:pt x="831" y="161"/>
                    <a:pt x="834" y="167"/>
                  </a:cubicBezTo>
                  <a:cubicBezTo>
                    <a:pt x="837" y="172"/>
                    <a:pt x="839" y="178"/>
                    <a:pt x="839" y="181"/>
                  </a:cubicBezTo>
                  <a:cubicBezTo>
                    <a:pt x="839" y="183"/>
                    <a:pt x="839" y="184"/>
                    <a:pt x="839" y="185"/>
                  </a:cubicBezTo>
                  <a:cubicBezTo>
                    <a:pt x="838" y="187"/>
                    <a:pt x="838" y="187"/>
                    <a:pt x="838" y="187"/>
                  </a:cubicBezTo>
                  <a:close/>
                  <a:moveTo>
                    <a:pt x="836" y="186"/>
                  </a:moveTo>
                  <a:cubicBezTo>
                    <a:pt x="836" y="186"/>
                    <a:pt x="836" y="186"/>
                    <a:pt x="836" y="185"/>
                  </a:cubicBezTo>
                  <a:cubicBezTo>
                    <a:pt x="836" y="184"/>
                    <a:pt x="836" y="183"/>
                    <a:pt x="836" y="181"/>
                  </a:cubicBezTo>
                  <a:cubicBezTo>
                    <a:pt x="836" y="178"/>
                    <a:pt x="835" y="173"/>
                    <a:pt x="832" y="168"/>
                  </a:cubicBezTo>
                  <a:cubicBezTo>
                    <a:pt x="826" y="156"/>
                    <a:pt x="812" y="142"/>
                    <a:pt x="791" y="130"/>
                  </a:cubicBezTo>
                  <a:cubicBezTo>
                    <a:pt x="781" y="123"/>
                    <a:pt x="769" y="117"/>
                    <a:pt x="756" y="110"/>
                  </a:cubicBezTo>
                  <a:cubicBezTo>
                    <a:pt x="742" y="104"/>
                    <a:pt x="728" y="98"/>
                    <a:pt x="712" y="92"/>
                  </a:cubicBezTo>
                  <a:cubicBezTo>
                    <a:pt x="680" y="81"/>
                    <a:pt x="643" y="70"/>
                    <a:pt x="602" y="60"/>
                  </a:cubicBezTo>
                  <a:cubicBezTo>
                    <a:pt x="561" y="51"/>
                    <a:pt x="516" y="42"/>
                    <a:pt x="469" y="35"/>
                  </a:cubicBezTo>
                  <a:cubicBezTo>
                    <a:pt x="445" y="32"/>
                    <a:pt x="420" y="28"/>
                    <a:pt x="395" y="26"/>
                  </a:cubicBezTo>
                  <a:cubicBezTo>
                    <a:pt x="370" y="23"/>
                    <a:pt x="345" y="21"/>
                    <a:pt x="318" y="19"/>
                  </a:cubicBezTo>
                  <a:cubicBezTo>
                    <a:pt x="266" y="17"/>
                    <a:pt x="212" y="16"/>
                    <a:pt x="158" y="21"/>
                  </a:cubicBezTo>
                  <a:cubicBezTo>
                    <a:pt x="130" y="23"/>
                    <a:pt x="103" y="27"/>
                    <a:pt x="77" y="35"/>
                  </a:cubicBezTo>
                  <a:cubicBezTo>
                    <a:pt x="64" y="38"/>
                    <a:pt x="51" y="43"/>
                    <a:pt x="40" y="49"/>
                  </a:cubicBezTo>
                  <a:cubicBezTo>
                    <a:pt x="35" y="52"/>
                    <a:pt x="30" y="56"/>
                    <a:pt x="26" y="60"/>
                  </a:cubicBezTo>
                  <a:cubicBezTo>
                    <a:pt x="24" y="62"/>
                    <a:pt x="23" y="64"/>
                    <a:pt x="22" y="66"/>
                  </a:cubicBezTo>
                  <a:cubicBezTo>
                    <a:pt x="21" y="68"/>
                    <a:pt x="21" y="68"/>
                    <a:pt x="21" y="68"/>
                  </a:cubicBezTo>
                  <a:cubicBezTo>
                    <a:pt x="21" y="68"/>
                    <a:pt x="21" y="69"/>
                    <a:pt x="21" y="69"/>
                  </a:cubicBezTo>
                  <a:cubicBezTo>
                    <a:pt x="21" y="72"/>
                    <a:pt x="21" y="72"/>
                    <a:pt x="21" y="72"/>
                  </a:cubicBezTo>
                  <a:cubicBezTo>
                    <a:pt x="21" y="71"/>
                    <a:pt x="21" y="72"/>
                    <a:pt x="21" y="72"/>
                  </a:cubicBezTo>
                  <a:cubicBezTo>
                    <a:pt x="21" y="72"/>
                    <a:pt x="21" y="72"/>
                    <a:pt x="21" y="72"/>
                  </a:cubicBezTo>
                  <a:cubicBezTo>
                    <a:pt x="21" y="73"/>
                    <a:pt x="21" y="73"/>
                    <a:pt x="21" y="73"/>
                  </a:cubicBezTo>
                  <a:cubicBezTo>
                    <a:pt x="20" y="78"/>
                    <a:pt x="21" y="84"/>
                    <a:pt x="24" y="89"/>
                  </a:cubicBezTo>
                  <a:cubicBezTo>
                    <a:pt x="26" y="94"/>
                    <a:pt x="30" y="98"/>
                    <a:pt x="34" y="103"/>
                  </a:cubicBezTo>
                  <a:cubicBezTo>
                    <a:pt x="37" y="105"/>
                    <a:pt x="39" y="107"/>
                    <a:pt x="41" y="109"/>
                  </a:cubicBezTo>
                  <a:cubicBezTo>
                    <a:pt x="44" y="111"/>
                    <a:pt x="46" y="113"/>
                    <a:pt x="49" y="115"/>
                  </a:cubicBezTo>
                  <a:cubicBezTo>
                    <a:pt x="54" y="119"/>
                    <a:pt x="60" y="122"/>
                    <a:pt x="66" y="126"/>
                  </a:cubicBezTo>
                  <a:cubicBezTo>
                    <a:pt x="89" y="139"/>
                    <a:pt x="115" y="148"/>
                    <a:pt x="141" y="157"/>
                  </a:cubicBezTo>
                  <a:cubicBezTo>
                    <a:pt x="154" y="161"/>
                    <a:pt x="167" y="165"/>
                    <a:pt x="180" y="169"/>
                  </a:cubicBezTo>
                  <a:cubicBezTo>
                    <a:pt x="193" y="172"/>
                    <a:pt x="206" y="176"/>
                    <a:pt x="219" y="180"/>
                  </a:cubicBezTo>
                  <a:cubicBezTo>
                    <a:pt x="245" y="188"/>
                    <a:pt x="270" y="195"/>
                    <a:pt x="295" y="200"/>
                  </a:cubicBezTo>
                  <a:cubicBezTo>
                    <a:pt x="308" y="203"/>
                    <a:pt x="320" y="205"/>
                    <a:pt x="333" y="207"/>
                  </a:cubicBezTo>
                  <a:cubicBezTo>
                    <a:pt x="345" y="208"/>
                    <a:pt x="357" y="208"/>
                    <a:pt x="369" y="208"/>
                  </a:cubicBezTo>
                  <a:cubicBezTo>
                    <a:pt x="376" y="208"/>
                    <a:pt x="383" y="208"/>
                    <a:pt x="389" y="209"/>
                  </a:cubicBezTo>
                  <a:cubicBezTo>
                    <a:pt x="396" y="209"/>
                    <a:pt x="402" y="210"/>
                    <a:pt x="408" y="210"/>
                  </a:cubicBezTo>
                  <a:cubicBezTo>
                    <a:pt x="415" y="211"/>
                    <a:pt x="421" y="212"/>
                    <a:pt x="427" y="213"/>
                  </a:cubicBezTo>
                  <a:cubicBezTo>
                    <a:pt x="433" y="214"/>
                    <a:pt x="439" y="215"/>
                    <a:pt x="445" y="216"/>
                  </a:cubicBezTo>
                  <a:cubicBezTo>
                    <a:pt x="457" y="218"/>
                    <a:pt x="469" y="221"/>
                    <a:pt x="481" y="223"/>
                  </a:cubicBezTo>
                  <a:cubicBezTo>
                    <a:pt x="486" y="224"/>
                    <a:pt x="492" y="225"/>
                    <a:pt x="497" y="227"/>
                  </a:cubicBezTo>
                  <a:cubicBezTo>
                    <a:pt x="503" y="228"/>
                    <a:pt x="509" y="229"/>
                    <a:pt x="514" y="230"/>
                  </a:cubicBezTo>
                  <a:cubicBezTo>
                    <a:pt x="517" y="230"/>
                    <a:pt x="520" y="231"/>
                    <a:pt x="522" y="231"/>
                  </a:cubicBezTo>
                  <a:cubicBezTo>
                    <a:pt x="525" y="232"/>
                    <a:pt x="528" y="232"/>
                    <a:pt x="530" y="232"/>
                  </a:cubicBezTo>
                  <a:cubicBezTo>
                    <a:pt x="536" y="233"/>
                    <a:pt x="541" y="234"/>
                    <a:pt x="547" y="234"/>
                  </a:cubicBezTo>
                  <a:cubicBezTo>
                    <a:pt x="552" y="235"/>
                    <a:pt x="557" y="236"/>
                    <a:pt x="563" y="236"/>
                  </a:cubicBezTo>
                  <a:cubicBezTo>
                    <a:pt x="568" y="237"/>
                    <a:pt x="573" y="237"/>
                    <a:pt x="578" y="238"/>
                  </a:cubicBezTo>
                  <a:cubicBezTo>
                    <a:pt x="589" y="238"/>
                    <a:pt x="599" y="239"/>
                    <a:pt x="609" y="239"/>
                  </a:cubicBezTo>
                  <a:cubicBezTo>
                    <a:pt x="619" y="240"/>
                    <a:pt x="628" y="240"/>
                    <a:pt x="638" y="240"/>
                  </a:cubicBezTo>
                  <a:cubicBezTo>
                    <a:pt x="648" y="240"/>
                    <a:pt x="657" y="240"/>
                    <a:pt x="666" y="240"/>
                  </a:cubicBezTo>
                  <a:cubicBezTo>
                    <a:pt x="668" y="240"/>
                    <a:pt x="671" y="240"/>
                    <a:pt x="673" y="240"/>
                  </a:cubicBezTo>
                  <a:cubicBezTo>
                    <a:pt x="675" y="240"/>
                    <a:pt x="677" y="240"/>
                    <a:pt x="679" y="240"/>
                  </a:cubicBezTo>
                  <a:cubicBezTo>
                    <a:pt x="684" y="240"/>
                    <a:pt x="688" y="240"/>
                    <a:pt x="692" y="240"/>
                  </a:cubicBezTo>
                  <a:cubicBezTo>
                    <a:pt x="709" y="239"/>
                    <a:pt x="725" y="238"/>
                    <a:pt x="740" y="237"/>
                  </a:cubicBezTo>
                  <a:cubicBezTo>
                    <a:pt x="754" y="235"/>
                    <a:pt x="768" y="233"/>
                    <a:pt x="780" y="230"/>
                  </a:cubicBezTo>
                  <a:cubicBezTo>
                    <a:pt x="803" y="224"/>
                    <a:pt x="820" y="214"/>
                    <a:pt x="828" y="204"/>
                  </a:cubicBezTo>
                  <a:cubicBezTo>
                    <a:pt x="832" y="199"/>
                    <a:pt x="834" y="194"/>
                    <a:pt x="835" y="191"/>
                  </a:cubicBezTo>
                  <a:cubicBezTo>
                    <a:pt x="836" y="188"/>
                    <a:pt x="836" y="187"/>
                    <a:pt x="836" y="186"/>
                  </a:cubicBezTo>
                  <a:close/>
                </a:path>
              </a:pathLst>
            </a:custGeom>
            <a:solidFill>
              <a:schemeClr val="accent2">
                <a:lumMod val="60000"/>
                <a:lumOff val="40000"/>
                <a:alpha val="66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4" name="Freeform 656">
              <a:extLst>
                <a:ext uri="{FF2B5EF4-FFF2-40B4-BE49-F238E27FC236}">
                  <a16:creationId xmlns:a16="http://schemas.microsoft.com/office/drawing/2014/main" id="{B151069C-E71F-4E24-A7D3-7AC1E5B8A2D9}"/>
                </a:ext>
              </a:extLst>
            </p:cNvPr>
            <p:cNvSpPr>
              <a:spLocks/>
            </p:cNvSpPr>
            <p:nvPr/>
          </p:nvSpPr>
          <p:spPr bwMode="auto">
            <a:xfrm>
              <a:off x="6435757" y="5880013"/>
              <a:ext cx="1296816" cy="388695"/>
            </a:xfrm>
            <a:custGeom>
              <a:avLst/>
              <a:gdLst>
                <a:gd name="T0" fmla="*/ 452 w 470"/>
                <a:gd name="T1" fmla="*/ 101 h 141"/>
                <a:gd name="T2" fmla="*/ 261 w 470"/>
                <a:gd name="T3" fmla="*/ 130 h 141"/>
                <a:gd name="T4" fmla="*/ 3 w 470"/>
                <a:gd name="T5" fmla="*/ 38 h 141"/>
                <a:gd name="T6" fmla="*/ 202 w 470"/>
                <a:gd name="T7" fmla="*/ 20 h 141"/>
                <a:gd name="T8" fmla="*/ 452 w 470"/>
                <a:gd name="T9" fmla="*/ 101 h 141"/>
              </a:gdLst>
              <a:ahLst/>
              <a:cxnLst>
                <a:cxn ang="0">
                  <a:pos x="T0" y="T1"/>
                </a:cxn>
                <a:cxn ang="0">
                  <a:pos x="T2" y="T3"/>
                </a:cxn>
                <a:cxn ang="0">
                  <a:pos x="T4" y="T5"/>
                </a:cxn>
                <a:cxn ang="0">
                  <a:pos x="T6" y="T7"/>
                </a:cxn>
                <a:cxn ang="0">
                  <a:pos x="T8" y="T9"/>
                </a:cxn>
              </a:cxnLst>
              <a:rect l="0" t="0" r="r" b="b"/>
              <a:pathLst>
                <a:path w="470" h="141">
                  <a:moveTo>
                    <a:pt x="452" y="101"/>
                  </a:moveTo>
                  <a:cubicBezTo>
                    <a:pt x="431" y="117"/>
                    <a:pt x="405" y="141"/>
                    <a:pt x="261" y="130"/>
                  </a:cubicBezTo>
                  <a:cubicBezTo>
                    <a:pt x="130" y="120"/>
                    <a:pt x="0" y="59"/>
                    <a:pt x="3" y="38"/>
                  </a:cubicBezTo>
                  <a:cubicBezTo>
                    <a:pt x="7" y="17"/>
                    <a:pt x="46" y="0"/>
                    <a:pt x="202" y="20"/>
                  </a:cubicBezTo>
                  <a:cubicBezTo>
                    <a:pt x="332" y="36"/>
                    <a:pt x="470" y="87"/>
                    <a:pt x="452" y="101"/>
                  </a:cubicBezTo>
                  <a:close/>
                </a:path>
              </a:pathLst>
            </a:custGeom>
            <a:solidFill>
              <a:schemeClr val="accent2">
                <a:alpha val="6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5" name="Freeform 658">
              <a:extLst>
                <a:ext uri="{FF2B5EF4-FFF2-40B4-BE49-F238E27FC236}">
                  <a16:creationId xmlns:a16="http://schemas.microsoft.com/office/drawing/2014/main" id="{4DD76E2B-5545-4A26-9084-43179F3B933C}"/>
                </a:ext>
              </a:extLst>
            </p:cNvPr>
            <p:cNvSpPr>
              <a:spLocks/>
            </p:cNvSpPr>
            <p:nvPr/>
          </p:nvSpPr>
          <p:spPr bwMode="auto">
            <a:xfrm>
              <a:off x="6883873" y="4995631"/>
              <a:ext cx="234737" cy="190723"/>
            </a:xfrm>
            <a:custGeom>
              <a:avLst/>
              <a:gdLst>
                <a:gd name="T0" fmla="*/ 1 w 68"/>
                <a:gd name="T1" fmla="*/ 43 h 55"/>
                <a:gd name="T2" fmla="*/ 5 w 68"/>
                <a:gd name="T3" fmla="*/ 11 h 55"/>
                <a:gd name="T4" fmla="*/ 68 w 68"/>
                <a:gd name="T5" fmla="*/ 20 h 55"/>
                <a:gd name="T6" fmla="*/ 60 w 68"/>
                <a:gd name="T7" fmla="*/ 55 h 55"/>
                <a:gd name="T8" fmla="*/ 1 w 68"/>
                <a:gd name="T9" fmla="*/ 43 h 55"/>
              </a:gdLst>
              <a:ahLst/>
              <a:cxnLst>
                <a:cxn ang="0">
                  <a:pos x="T0" y="T1"/>
                </a:cxn>
                <a:cxn ang="0">
                  <a:pos x="T2" y="T3"/>
                </a:cxn>
                <a:cxn ang="0">
                  <a:pos x="T4" y="T5"/>
                </a:cxn>
                <a:cxn ang="0">
                  <a:pos x="T6" y="T7"/>
                </a:cxn>
                <a:cxn ang="0">
                  <a:pos x="T8" y="T9"/>
                </a:cxn>
              </a:cxnLst>
              <a:rect l="0" t="0" r="r" b="b"/>
              <a:pathLst>
                <a:path w="68" h="55">
                  <a:moveTo>
                    <a:pt x="1" y="43"/>
                  </a:moveTo>
                  <a:cubicBezTo>
                    <a:pt x="5" y="11"/>
                    <a:pt x="5" y="11"/>
                    <a:pt x="5" y="11"/>
                  </a:cubicBezTo>
                  <a:cubicBezTo>
                    <a:pt x="5" y="11"/>
                    <a:pt x="35" y="0"/>
                    <a:pt x="68" y="20"/>
                  </a:cubicBezTo>
                  <a:cubicBezTo>
                    <a:pt x="60" y="55"/>
                    <a:pt x="60" y="55"/>
                    <a:pt x="60" y="55"/>
                  </a:cubicBezTo>
                  <a:cubicBezTo>
                    <a:pt x="60" y="55"/>
                    <a:pt x="0" y="43"/>
                    <a:pt x="1" y="43"/>
                  </a:cubicBezTo>
                  <a:close/>
                </a:path>
              </a:pathLst>
            </a:custGeom>
            <a:solidFill>
              <a:schemeClr val="accent2"/>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6" name="Freeform 659">
              <a:extLst>
                <a:ext uri="{FF2B5EF4-FFF2-40B4-BE49-F238E27FC236}">
                  <a16:creationId xmlns:a16="http://schemas.microsoft.com/office/drawing/2014/main" id="{DA9E5C1D-BA28-4FB3-8708-9406ABAAB02B}"/>
                </a:ext>
              </a:extLst>
            </p:cNvPr>
            <p:cNvSpPr>
              <a:spLocks/>
            </p:cNvSpPr>
            <p:nvPr/>
          </p:nvSpPr>
          <p:spPr bwMode="auto">
            <a:xfrm>
              <a:off x="6883873" y="5013235"/>
              <a:ext cx="137907" cy="152579"/>
            </a:xfrm>
            <a:custGeom>
              <a:avLst/>
              <a:gdLst>
                <a:gd name="T0" fmla="*/ 31 w 40"/>
                <a:gd name="T1" fmla="*/ 44 h 44"/>
                <a:gd name="T2" fmla="*/ 1 w 40"/>
                <a:gd name="T3" fmla="*/ 38 h 44"/>
                <a:gd name="T4" fmla="*/ 5 w 40"/>
                <a:gd name="T5" fmla="*/ 6 h 44"/>
                <a:gd name="T6" fmla="*/ 40 w 40"/>
                <a:gd name="T7" fmla="*/ 4 h 44"/>
              </a:gdLst>
              <a:ahLst/>
              <a:cxnLst>
                <a:cxn ang="0">
                  <a:pos x="T0" y="T1"/>
                </a:cxn>
                <a:cxn ang="0">
                  <a:pos x="T2" y="T3"/>
                </a:cxn>
                <a:cxn ang="0">
                  <a:pos x="T4" y="T5"/>
                </a:cxn>
                <a:cxn ang="0">
                  <a:pos x="T6" y="T7"/>
                </a:cxn>
              </a:cxnLst>
              <a:rect l="0" t="0" r="r" b="b"/>
              <a:pathLst>
                <a:path w="40" h="44">
                  <a:moveTo>
                    <a:pt x="31" y="44"/>
                  </a:moveTo>
                  <a:cubicBezTo>
                    <a:pt x="16" y="41"/>
                    <a:pt x="0" y="38"/>
                    <a:pt x="1" y="38"/>
                  </a:cubicBezTo>
                  <a:cubicBezTo>
                    <a:pt x="5" y="6"/>
                    <a:pt x="5" y="6"/>
                    <a:pt x="5" y="6"/>
                  </a:cubicBezTo>
                  <a:cubicBezTo>
                    <a:pt x="5" y="6"/>
                    <a:pt x="20" y="0"/>
                    <a:pt x="40" y="4"/>
                  </a:cubicBezTo>
                </a:path>
              </a:pathLst>
            </a:custGeom>
            <a:solidFill>
              <a:schemeClr val="accent2">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7" name="Freeform 660">
              <a:extLst>
                <a:ext uri="{FF2B5EF4-FFF2-40B4-BE49-F238E27FC236}">
                  <a16:creationId xmlns:a16="http://schemas.microsoft.com/office/drawing/2014/main" id="{E15DE8AF-42A0-4575-A77D-D2CC069A5681}"/>
                </a:ext>
              </a:extLst>
            </p:cNvPr>
            <p:cNvSpPr>
              <a:spLocks/>
            </p:cNvSpPr>
            <p:nvPr/>
          </p:nvSpPr>
          <p:spPr bwMode="auto">
            <a:xfrm>
              <a:off x="6634463" y="5013235"/>
              <a:ext cx="217133" cy="159914"/>
            </a:xfrm>
            <a:custGeom>
              <a:avLst/>
              <a:gdLst>
                <a:gd name="T0" fmla="*/ 2 w 63"/>
                <a:gd name="T1" fmla="*/ 43 h 46"/>
                <a:gd name="T2" fmla="*/ 4 w 63"/>
                <a:gd name="T3" fmla="*/ 11 h 46"/>
                <a:gd name="T4" fmla="*/ 63 w 63"/>
                <a:gd name="T5" fmla="*/ 18 h 46"/>
                <a:gd name="T6" fmla="*/ 60 w 63"/>
                <a:gd name="T7" fmla="*/ 46 h 46"/>
                <a:gd name="T8" fmla="*/ 2 w 63"/>
                <a:gd name="T9" fmla="*/ 43 h 46"/>
              </a:gdLst>
              <a:ahLst/>
              <a:cxnLst>
                <a:cxn ang="0">
                  <a:pos x="T0" y="T1"/>
                </a:cxn>
                <a:cxn ang="0">
                  <a:pos x="T2" y="T3"/>
                </a:cxn>
                <a:cxn ang="0">
                  <a:pos x="T4" y="T5"/>
                </a:cxn>
                <a:cxn ang="0">
                  <a:pos x="T6" y="T7"/>
                </a:cxn>
                <a:cxn ang="0">
                  <a:pos x="T8" y="T9"/>
                </a:cxn>
              </a:cxnLst>
              <a:rect l="0" t="0" r="r" b="b"/>
              <a:pathLst>
                <a:path w="63" h="46">
                  <a:moveTo>
                    <a:pt x="2" y="43"/>
                  </a:moveTo>
                  <a:cubicBezTo>
                    <a:pt x="4" y="11"/>
                    <a:pt x="4" y="11"/>
                    <a:pt x="4" y="11"/>
                  </a:cubicBezTo>
                  <a:cubicBezTo>
                    <a:pt x="4" y="11"/>
                    <a:pt x="32" y="0"/>
                    <a:pt x="63" y="18"/>
                  </a:cubicBezTo>
                  <a:cubicBezTo>
                    <a:pt x="60" y="46"/>
                    <a:pt x="60" y="46"/>
                    <a:pt x="60" y="46"/>
                  </a:cubicBezTo>
                  <a:cubicBezTo>
                    <a:pt x="60" y="46"/>
                    <a:pt x="0" y="43"/>
                    <a:pt x="2" y="43"/>
                  </a:cubicBezTo>
                  <a:close/>
                </a:path>
              </a:pathLst>
            </a:custGeom>
            <a:solidFill>
              <a:schemeClr val="accent2"/>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8" name="Freeform 661">
              <a:extLst>
                <a:ext uri="{FF2B5EF4-FFF2-40B4-BE49-F238E27FC236}">
                  <a16:creationId xmlns:a16="http://schemas.microsoft.com/office/drawing/2014/main" id="{854B5540-78D5-4328-A6E1-842ADF107554}"/>
                </a:ext>
              </a:extLst>
            </p:cNvPr>
            <p:cNvSpPr>
              <a:spLocks/>
            </p:cNvSpPr>
            <p:nvPr/>
          </p:nvSpPr>
          <p:spPr bwMode="auto">
            <a:xfrm>
              <a:off x="7206637" y="5114467"/>
              <a:ext cx="211263" cy="170186"/>
            </a:xfrm>
            <a:custGeom>
              <a:avLst/>
              <a:gdLst>
                <a:gd name="T0" fmla="*/ 2 w 61"/>
                <a:gd name="T1" fmla="*/ 36 h 49"/>
                <a:gd name="T2" fmla="*/ 6 w 61"/>
                <a:gd name="T3" fmla="*/ 9 h 49"/>
                <a:gd name="T4" fmla="*/ 61 w 61"/>
                <a:gd name="T5" fmla="*/ 21 h 49"/>
                <a:gd name="T6" fmla="*/ 53 w 61"/>
                <a:gd name="T7" fmla="*/ 49 h 49"/>
                <a:gd name="T8" fmla="*/ 2 w 61"/>
                <a:gd name="T9" fmla="*/ 36 h 49"/>
              </a:gdLst>
              <a:ahLst/>
              <a:cxnLst>
                <a:cxn ang="0">
                  <a:pos x="T0" y="T1"/>
                </a:cxn>
                <a:cxn ang="0">
                  <a:pos x="T2" y="T3"/>
                </a:cxn>
                <a:cxn ang="0">
                  <a:pos x="T4" y="T5"/>
                </a:cxn>
                <a:cxn ang="0">
                  <a:pos x="T6" y="T7"/>
                </a:cxn>
                <a:cxn ang="0">
                  <a:pos x="T8" y="T9"/>
                </a:cxn>
              </a:cxnLst>
              <a:rect l="0" t="0" r="r" b="b"/>
              <a:pathLst>
                <a:path w="61" h="49">
                  <a:moveTo>
                    <a:pt x="2" y="36"/>
                  </a:moveTo>
                  <a:cubicBezTo>
                    <a:pt x="6" y="9"/>
                    <a:pt x="6" y="9"/>
                    <a:pt x="6" y="9"/>
                  </a:cubicBezTo>
                  <a:cubicBezTo>
                    <a:pt x="6" y="9"/>
                    <a:pt x="37" y="0"/>
                    <a:pt x="61" y="21"/>
                  </a:cubicBezTo>
                  <a:cubicBezTo>
                    <a:pt x="53" y="49"/>
                    <a:pt x="53" y="49"/>
                    <a:pt x="53" y="49"/>
                  </a:cubicBezTo>
                  <a:cubicBezTo>
                    <a:pt x="53" y="49"/>
                    <a:pt x="0" y="36"/>
                    <a:pt x="2" y="36"/>
                  </a:cubicBezTo>
                  <a:close/>
                </a:path>
              </a:pathLst>
            </a:custGeom>
            <a:solidFill>
              <a:schemeClr val="accent2">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9" name="Freeform 662">
              <a:extLst>
                <a:ext uri="{FF2B5EF4-FFF2-40B4-BE49-F238E27FC236}">
                  <a16:creationId xmlns:a16="http://schemas.microsoft.com/office/drawing/2014/main" id="{1E944BF0-4C70-4753-BF33-C82D556F0B1C}"/>
                </a:ext>
              </a:extLst>
            </p:cNvPr>
            <p:cNvSpPr>
              <a:spLocks/>
            </p:cNvSpPr>
            <p:nvPr/>
          </p:nvSpPr>
          <p:spPr bwMode="auto">
            <a:xfrm>
              <a:off x="6418798" y="5071920"/>
              <a:ext cx="513489" cy="1024043"/>
            </a:xfrm>
            <a:custGeom>
              <a:avLst/>
              <a:gdLst>
                <a:gd name="T0" fmla="*/ 3 w 148"/>
                <a:gd name="T1" fmla="*/ 240 h 295"/>
                <a:gd name="T2" fmla="*/ 4 w 148"/>
                <a:gd name="T3" fmla="*/ 214 h 295"/>
                <a:gd name="T4" fmla="*/ 14 w 148"/>
                <a:gd name="T5" fmla="*/ 140 h 295"/>
                <a:gd name="T6" fmla="*/ 18 w 148"/>
                <a:gd name="T7" fmla="*/ 16 h 295"/>
                <a:gd name="T8" fmla="*/ 148 w 148"/>
                <a:gd name="T9" fmla="*/ 0 h 295"/>
                <a:gd name="T10" fmla="*/ 101 w 148"/>
                <a:gd name="T11" fmla="*/ 295 h 295"/>
                <a:gd name="T12" fmla="*/ 21 w 148"/>
                <a:gd name="T13" fmla="*/ 254 h 295"/>
                <a:gd name="T14" fmla="*/ 3 w 148"/>
                <a:gd name="T15" fmla="*/ 240 h 2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95">
                  <a:moveTo>
                    <a:pt x="3" y="240"/>
                  </a:moveTo>
                  <a:cubicBezTo>
                    <a:pt x="0" y="235"/>
                    <a:pt x="2" y="228"/>
                    <a:pt x="4" y="214"/>
                  </a:cubicBezTo>
                  <a:cubicBezTo>
                    <a:pt x="8" y="190"/>
                    <a:pt x="10" y="164"/>
                    <a:pt x="14" y="140"/>
                  </a:cubicBezTo>
                  <a:cubicBezTo>
                    <a:pt x="22" y="101"/>
                    <a:pt x="16" y="56"/>
                    <a:pt x="18" y="16"/>
                  </a:cubicBezTo>
                  <a:cubicBezTo>
                    <a:pt x="31" y="15"/>
                    <a:pt x="147" y="6"/>
                    <a:pt x="148" y="0"/>
                  </a:cubicBezTo>
                  <a:cubicBezTo>
                    <a:pt x="147" y="4"/>
                    <a:pt x="101" y="295"/>
                    <a:pt x="101" y="295"/>
                  </a:cubicBezTo>
                  <a:cubicBezTo>
                    <a:pt x="102" y="290"/>
                    <a:pt x="28" y="258"/>
                    <a:pt x="21" y="254"/>
                  </a:cubicBezTo>
                  <a:cubicBezTo>
                    <a:pt x="10" y="248"/>
                    <a:pt x="5" y="245"/>
                    <a:pt x="3" y="240"/>
                  </a:cubicBezTo>
                  <a:close/>
                </a:path>
              </a:pathLst>
            </a:custGeom>
            <a:solidFill>
              <a:schemeClr val="accent2">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0" name="Freeform 663">
              <a:extLst>
                <a:ext uri="{FF2B5EF4-FFF2-40B4-BE49-F238E27FC236}">
                  <a16:creationId xmlns:a16="http://schemas.microsoft.com/office/drawing/2014/main" id="{04BF76E0-5C81-482D-9BCF-41B7C2861846}"/>
                </a:ext>
              </a:extLst>
            </p:cNvPr>
            <p:cNvSpPr>
              <a:spLocks/>
            </p:cNvSpPr>
            <p:nvPr/>
          </p:nvSpPr>
          <p:spPr bwMode="auto">
            <a:xfrm>
              <a:off x="6637399" y="5033775"/>
              <a:ext cx="121769" cy="136442"/>
            </a:xfrm>
            <a:custGeom>
              <a:avLst/>
              <a:gdLst>
                <a:gd name="T0" fmla="*/ 30 w 35"/>
                <a:gd name="T1" fmla="*/ 39 h 39"/>
                <a:gd name="T2" fmla="*/ 1 w 35"/>
                <a:gd name="T3" fmla="*/ 37 h 39"/>
                <a:gd name="T4" fmla="*/ 3 w 35"/>
                <a:gd name="T5" fmla="*/ 5 h 39"/>
                <a:gd name="T6" fmla="*/ 35 w 35"/>
                <a:gd name="T7" fmla="*/ 2 h 39"/>
              </a:gdLst>
              <a:ahLst/>
              <a:cxnLst>
                <a:cxn ang="0">
                  <a:pos x="T0" y="T1"/>
                </a:cxn>
                <a:cxn ang="0">
                  <a:pos x="T2" y="T3"/>
                </a:cxn>
                <a:cxn ang="0">
                  <a:pos x="T4" y="T5"/>
                </a:cxn>
                <a:cxn ang="0">
                  <a:pos x="T6" y="T7"/>
                </a:cxn>
              </a:cxnLst>
              <a:rect l="0" t="0" r="r" b="b"/>
              <a:pathLst>
                <a:path w="35" h="39">
                  <a:moveTo>
                    <a:pt x="30" y="39"/>
                  </a:moveTo>
                  <a:cubicBezTo>
                    <a:pt x="15" y="38"/>
                    <a:pt x="0" y="37"/>
                    <a:pt x="1" y="37"/>
                  </a:cubicBezTo>
                  <a:cubicBezTo>
                    <a:pt x="3" y="5"/>
                    <a:pt x="3" y="5"/>
                    <a:pt x="3" y="5"/>
                  </a:cubicBezTo>
                  <a:cubicBezTo>
                    <a:pt x="3" y="5"/>
                    <a:pt x="16" y="0"/>
                    <a:pt x="35" y="2"/>
                  </a:cubicBezTo>
                </a:path>
              </a:pathLst>
            </a:custGeom>
            <a:solidFill>
              <a:schemeClr val="accent2">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1" name="Freeform 664">
              <a:extLst>
                <a:ext uri="{FF2B5EF4-FFF2-40B4-BE49-F238E27FC236}">
                  <a16:creationId xmlns:a16="http://schemas.microsoft.com/office/drawing/2014/main" id="{8C2BC49E-18F3-4B44-9E73-6FCD963F6A0F}"/>
                </a:ext>
              </a:extLst>
            </p:cNvPr>
            <p:cNvSpPr>
              <a:spLocks/>
            </p:cNvSpPr>
            <p:nvPr/>
          </p:nvSpPr>
          <p:spPr bwMode="auto">
            <a:xfrm>
              <a:off x="7181696" y="5132071"/>
              <a:ext cx="117370" cy="142309"/>
            </a:xfrm>
            <a:custGeom>
              <a:avLst/>
              <a:gdLst>
                <a:gd name="T0" fmla="*/ 24 w 34"/>
                <a:gd name="T1" fmla="*/ 41 h 41"/>
                <a:gd name="T2" fmla="*/ 1 w 34"/>
                <a:gd name="T3" fmla="*/ 35 h 41"/>
                <a:gd name="T4" fmla="*/ 5 w 34"/>
                <a:gd name="T5" fmla="*/ 4 h 41"/>
                <a:gd name="T6" fmla="*/ 34 w 34"/>
                <a:gd name="T7" fmla="*/ 3 h 41"/>
              </a:gdLst>
              <a:ahLst/>
              <a:cxnLst>
                <a:cxn ang="0">
                  <a:pos x="T0" y="T1"/>
                </a:cxn>
                <a:cxn ang="0">
                  <a:pos x="T2" y="T3"/>
                </a:cxn>
                <a:cxn ang="0">
                  <a:pos x="T4" y="T5"/>
                </a:cxn>
                <a:cxn ang="0">
                  <a:pos x="T6" y="T7"/>
                </a:cxn>
              </a:cxnLst>
              <a:rect l="0" t="0" r="r" b="b"/>
              <a:pathLst>
                <a:path w="34" h="41">
                  <a:moveTo>
                    <a:pt x="24" y="41"/>
                  </a:moveTo>
                  <a:cubicBezTo>
                    <a:pt x="11" y="37"/>
                    <a:pt x="0" y="35"/>
                    <a:pt x="1" y="35"/>
                  </a:cubicBezTo>
                  <a:cubicBezTo>
                    <a:pt x="5" y="4"/>
                    <a:pt x="5" y="4"/>
                    <a:pt x="5" y="4"/>
                  </a:cubicBezTo>
                  <a:cubicBezTo>
                    <a:pt x="5" y="4"/>
                    <a:pt x="24" y="0"/>
                    <a:pt x="34" y="3"/>
                  </a:cubicBezTo>
                </a:path>
              </a:pathLst>
            </a:custGeom>
            <a:solidFill>
              <a:schemeClr val="accent2"/>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Freeform 665">
              <a:extLst>
                <a:ext uri="{FF2B5EF4-FFF2-40B4-BE49-F238E27FC236}">
                  <a16:creationId xmlns:a16="http://schemas.microsoft.com/office/drawing/2014/main" id="{2A17A851-227D-4D19-A335-5DDDC1C94EC8}"/>
                </a:ext>
              </a:extLst>
            </p:cNvPr>
            <p:cNvSpPr>
              <a:spLocks/>
            </p:cNvSpPr>
            <p:nvPr/>
          </p:nvSpPr>
          <p:spPr bwMode="auto">
            <a:xfrm>
              <a:off x="6765039" y="5076322"/>
              <a:ext cx="1082727" cy="1092997"/>
            </a:xfrm>
            <a:custGeom>
              <a:avLst/>
              <a:gdLst>
                <a:gd name="T0" fmla="*/ 47 w 312"/>
                <a:gd name="T1" fmla="*/ 0 h 315"/>
                <a:gd name="T2" fmla="*/ 305 w 312"/>
                <a:gd name="T3" fmla="*/ 101 h 315"/>
                <a:gd name="T4" fmla="*/ 271 w 312"/>
                <a:gd name="T5" fmla="*/ 244 h 315"/>
                <a:gd name="T6" fmla="*/ 257 w 312"/>
                <a:gd name="T7" fmla="*/ 313 h 315"/>
                <a:gd name="T8" fmla="*/ 228 w 312"/>
                <a:gd name="T9" fmla="*/ 310 h 315"/>
                <a:gd name="T10" fmla="*/ 137 w 312"/>
                <a:gd name="T11" fmla="*/ 304 h 315"/>
                <a:gd name="T12" fmla="*/ 0 w 312"/>
                <a:gd name="T13" fmla="*/ 294 h 315"/>
                <a:gd name="T14" fmla="*/ 47 w 312"/>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15">
                  <a:moveTo>
                    <a:pt x="47" y="0"/>
                  </a:moveTo>
                  <a:cubicBezTo>
                    <a:pt x="305" y="101"/>
                    <a:pt x="305" y="101"/>
                    <a:pt x="305" y="101"/>
                  </a:cubicBezTo>
                  <a:cubicBezTo>
                    <a:pt x="312" y="103"/>
                    <a:pt x="274" y="233"/>
                    <a:pt x="271" y="244"/>
                  </a:cubicBezTo>
                  <a:cubicBezTo>
                    <a:pt x="267" y="262"/>
                    <a:pt x="274" y="304"/>
                    <a:pt x="257" y="313"/>
                  </a:cubicBezTo>
                  <a:cubicBezTo>
                    <a:pt x="252" y="315"/>
                    <a:pt x="234" y="311"/>
                    <a:pt x="228" y="310"/>
                  </a:cubicBezTo>
                  <a:cubicBezTo>
                    <a:pt x="198" y="308"/>
                    <a:pt x="167" y="306"/>
                    <a:pt x="137" y="304"/>
                  </a:cubicBezTo>
                  <a:cubicBezTo>
                    <a:pt x="91" y="301"/>
                    <a:pt x="46" y="297"/>
                    <a:pt x="0" y="294"/>
                  </a:cubicBezTo>
                  <a:lnTo>
                    <a:pt x="47" y="0"/>
                  </a:lnTo>
                  <a:close/>
                </a:path>
              </a:pathLst>
            </a:custGeom>
            <a:solidFill>
              <a:schemeClr val="accent2"/>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3" name="Freeform 668">
              <a:extLst>
                <a:ext uri="{FF2B5EF4-FFF2-40B4-BE49-F238E27FC236}">
                  <a16:creationId xmlns:a16="http://schemas.microsoft.com/office/drawing/2014/main" id="{2712E44F-A497-4D76-BBC1-71E816F4A41A}"/>
                </a:ext>
              </a:extLst>
            </p:cNvPr>
            <p:cNvSpPr>
              <a:spLocks/>
            </p:cNvSpPr>
            <p:nvPr/>
          </p:nvSpPr>
          <p:spPr bwMode="auto">
            <a:xfrm>
              <a:off x="6443740" y="5554599"/>
              <a:ext cx="262613" cy="45481"/>
            </a:xfrm>
            <a:custGeom>
              <a:avLst/>
              <a:gdLst>
                <a:gd name="T0" fmla="*/ 26 w 179"/>
                <a:gd name="T1" fmla="*/ 0 h 31"/>
                <a:gd name="T2" fmla="*/ 179 w 179"/>
                <a:gd name="T3" fmla="*/ 31 h 31"/>
                <a:gd name="T4" fmla="*/ 0 w 179"/>
                <a:gd name="T5" fmla="*/ 10 h 31"/>
                <a:gd name="T6" fmla="*/ 26 w 179"/>
                <a:gd name="T7" fmla="*/ 0 h 31"/>
              </a:gdLst>
              <a:ahLst/>
              <a:cxnLst>
                <a:cxn ang="0">
                  <a:pos x="T0" y="T1"/>
                </a:cxn>
                <a:cxn ang="0">
                  <a:pos x="T2" y="T3"/>
                </a:cxn>
                <a:cxn ang="0">
                  <a:pos x="T4" y="T5"/>
                </a:cxn>
                <a:cxn ang="0">
                  <a:pos x="T6" y="T7"/>
                </a:cxn>
              </a:cxnLst>
              <a:rect l="0" t="0" r="r" b="b"/>
              <a:pathLst>
                <a:path w="179" h="31">
                  <a:moveTo>
                    <a:pt x="26" y="0"/>
                  </a:moveTo>
                  <a:lnTo>
                    <a:pt x="179" y="31"/>
                  </a:lnTo>
                  <a:lnTo>
                    <a:pt x="0" y="10"/>
                  </a:lnTo>
                  <a:lnTo>
                    <a:pt x="26" y="0"/>
                  </a:lnTo>
                  <a:close/>
                </a:path>
              </a:pathLst>
            </a:custGeom>
            <a:solidFill>
              <a:schemeClr val="accent2"/>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4" name="Freeform 673">
              <a:extLst>
                <a:ext uri="{FF2B5EF4-FFF2-40B4-BE49-F238E27FC236}">
                  <a16:creationId xmlns:a16="http://schemas.microsoft.com/office/drawing/2014/main" id="{42663202-4897-4ECF-AF94-873CE40F8C78}"/>
                </a:ext>
              </a:extLst>
            </p:cNvPr>
            <p:cNvSpPr>
              <a:spLocks/>
            </p:cNvSpPr>
            <p:nvPr/>
          </p:nvSpPr>
          <p:spPr bwMode="auto">
            <a:xfrm>
              <a:off x="6841327" y="5617684"/>
              <a:ext cx="658732" cy="145244"/>
            </a:xfrm>
            <a:custGeom>
              <a:avLst/>
              <a:gdLst>
                <a:gd name="T0" fmla="*/ 0 w 449"/>
                <a:gd name="T1" fmla="*/ 0 h 99"/>
                <a:gd name="T2" fmla="*/ 449 w 449"/>
                <a:gd name="T3" fmla="*/ 99 h 99"/>
                <a:gd name="T4" fmla="*/ 0 w 449"/>
                <a:gd name="T5" fmla="*/ 9 h 99"/>
                <a:gd name="T6" fmla="*/ 0 w 449"/>
                <a:gd name="T7" fmla="*/ 0 h 99"/>
              </a:gdLst>
              <a:ahLst/>
              <a:cxnLst>
                <a:cxn ang="0">
                  <a:pos x="T0" y="T1"/>
                </a:cxn>
                <a:cxn ang="0">
                  <a:pos x="T2" y="T3"/>
                </a:cxn>
                <a:cxn ang="0">
                  <a:pos x="T4" y="T5"/>
                </a:cxn>
                <a:cxn ang="0">
                  <a:pos x="T6" y="T7"/>
                </a:cxn>
              </a:cxnLst>
              <a:rect l="0" t="0" r="r" b="b"/>
              <a:pathLst>
                <a:path w="449" h="99">
                  <a:moveTo>
                    <a:pt x="0" y="0"/>
                  </a:moveTo>
                  <a:lnTo>
                    <a:pt x="449" y="99"/>
                  </a:lnTo>
                  <a:lnTo>
                    <a:pt x="0" y="9"/>
                  </a:lnTo>
                  <a:lnTo>
                    <a:pt x="0" y="0"/>
                  </a:lnTo>
                  <a:close/>
                </a:path>
              </a:pathLst>
            </a:custGeom>
            <a:solidFill>
              <a:schemeClr val="accent2">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596D1634-F946-46B0-A0F2-61859DA60F07}"/>
              </a:ext>
            </a:extLst>
          </p:cNvPr>
          <p:cNvGrpSpPr/>
          <p:nvPr/>
        </p:nvGrpSpPr>
        <p:grpSpPr>
          <a:xfrm>
            <a:off x="6980410" y="2726681"/>
            <a:ext cx="598775" cy="1225208"/>
            <a:chOff x="6477484" y="2585169"/>
            <a:chExt cx="1258779" cy="2230008"/>
          </a:xfrm>
        </p:grpSpPr>
        <p:sp>
          <p:nvSpPr>
            <p:cNvPr id="126" name="Freeform 666">
              <a:extLst>
                <a:ext uri="{FF2B5EF4-FFF2-40B4-BE49-F238E27FC236}">
                  <a16:creationId xmlns:a16="http://schemas.microsoft.com/office/drawing/2014/main" id="{6973A77E-50AE-4144-8C42-D86BE3485C59}"/>
                </a:ext>
              </a:extLst>
            </p:cNvPr>
            <p:cNvSpPr>
              <a:spLocks/>
            </p:cNvSpPr>
            <p:nvPr/>
          </p:nvSpPr>
          <p:spPr bwMode="auto">
            <a:xfrm>
              <a:off x="7098072" y="3497712"/>
              <a:ext cx="468008" cy="635258"/>
            </a:xfrm>
            <a:custGeom>
              <a:avLst/>
              <a:gdLst>
                <a:gd name="T0" fmla="*/ 135 w 135"/>
                <a:gd name="T1" fmla="*/ 45 h 183"/>
                <a:gd name="T2" fmla="*/ 89 w 135"/>
                <a:gd name="T3" fmla="*/ 139 h 183"/>
                <a:gd name="T4" fmla="*/ 30 w 135"/>
                <a:gd name="T5" fmla="*/ 183 h 183"/>
                <a:gd name="T6" fmla="*/ 14 w 135"/>
                <a:gd name="T7" fmla="*/ 164 h 183"/>
                <a:gd name="T8" fmla="*/ 76 w 135"/>
                <a:gd name="T9" fmla="*/ 81 h 183"/>
                <a:gd name="T10" fmla="*/ 2 w 135"/>
                <a:gd name="T11" fmla="*/ 113 h 183"/>
                <a:gd name="T12" fmla="*/ 0 w 135"/>
                <a:gd name="T13" fmla="*/ 91 h 183"/>
                <a:gd name="T14" fmla="*/ 38 w 135"/>
                <a:gd name="T15" fmla="*/ 63 h 183"/>
                <a:gd name="T16" fmla="*/ 47 w 135"/>
                <a:gd name="T17" fmla="*/ 0 h 183"/>
                <a:gd name="T18" fmla="*/ 135 w 135"/>
                <a:gd name="T19" fmla="*/ 4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83">
                  <a:moveTo>
                    <a:pt x="135" y="45"/>
                  </a:moveTo>
                  <a:cubicBezTo>
                    <a:pt x="89" y="139"/>
                    <a:pt x="89" y="139"/>
                    <a:pt x="89" y="139"/>
                  </a:cubicBezTo>
                  <a:cubicBezTo>
                    <a:pt x="89" y="139"/>
                    <a:pt x="65" y="166"/>
                    <a:pt x="30" y="183"/>
                  </a:cubicBezTo>
                  <a:cubicBezTo>
                    <a:pt x="14" y="164"/>
                    <a:pt x="14" y="164"/>
                    <a:pt x="14" y="164"/>
                  </a:cubicBezTo>
                  <a:cubicBezTo>
                    <a:pt x="14" y="164"/>
                    <a:pt x="60" y="109"/>
                    <a:pt x="76" y="81"/>
                  </a:cubicBezTo>
                  <a:cubicBezTo>
                    <a:pt x="76" y="81"/>
                    <a:pt x="36" y="108"/>
                    <a:pt x="2" y="113"/>
                  </a:cubicBezTo>
                  <a:cubicBezTo>
                    <a:pt x="0" y="91"/>
                    <a:pt x="0" y="91"/>
                    <a:pt x="0" y="91"/>
                  </a:cubicBezTo>
                  <a:cubicBezTo>
                    <a:pt x="0" y="91"/>
                    <a:pt x="25" y="89"/>
                    <a:pt x="38" y="63"/>
                  </a:cubicBezTo>
                  <a:cubicBezTo>
                    <a:pt x="56" y="28"/>
                    <a:pt x="47" y="0"/>
                    <a:pt x="47" y="0"/>
                  </a:cubicBezTo>
                  <a:lnTo>
                    <a:pt x="135" y="45"/>
                  </a:lnTo>
                  <a:close/>
                </a:path>
              </a:pathLst>
            </a:custGeom>
            <a:solidFill>
              <a:schemeClr val="accent2">
                <a:lumMod val="40000"/>
                <a:lumOff val="6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7" name="Freeform 667">
              <a:extLst>
                <a:ext uri="{FF2B5EF4-FFF2-40B4-BE49-F238E27FC236}">
                  <a16:creationId xmlns:a16="http://schemas.microsoft.com/office/drawing/2014/main" id="{47AE38A7-E8F5-4AFA-ADC6-A78F396B90A4}"/>
                </a:ext>
              </a:extLst>
            </p:cNvPr>
            <p:cNvSpPr>
              <a:spLocks/>
            </p:cNvSpPr>
            <p:nvPr/>
          </p:nvSpPr>
          <p:spPr bwMode="auto">
            <a:xfrm>
              <a:off x="6977768" y="3170545"/>
              <a:ext cx="758495" cy="1156083"/>
            </a:xfrm>
            <a:custGeom>
              <a:avLst/>
              <a:gdLst>
                <a:gd name="T0" fmla="*/ 0 w 219"/>
                <a:gd name="T1" fmla="*/ 85 h 333"/>
                <a:gd name="T2" fmla="*/ 124 w 219"/>
                <a:gd name="T3" fmla="*/ 126 h 333"/>
                <a:gd name="T4" fmla="*/ 157 w 219"/>
                <a:gd name="T5" fmla="*/ 214 h 333"/>
                <a:gd name="T6" fmla="*/ 141 w 219"/>
                <a:gd name="T7" fmla="*/ 274 h 333"/>
                <a:gd name="T8" fmla="*/ 162 w 219"/>
                <a:gd name="T9" fmla="*/ 333 h 333"/>
                <a:gd name="T10" fmla="*/ 193 w 219"/>
                <a:gd name="T11" fmla="*/ 256 h 333"/>
                <a:gd name="T12" fmla="*/ 211 w 219"/>
                <a:gd name="T13" fmla="*/ 188 h 333"/>
                <a:gd name="T14" fmla="*/ 191 w 219"/>
                <a:gd name="T15" fmla="*/ 115 h 333"/>
                <a:gd name="T16" fmla="*/ 183 w 219"/>
                <a:gd name="T17" fmla="*/ 67 h 333"/>
                <a:gd name="T18" fmla="*/ 60 w 219"/>
                <a:gd name="T1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333">
                  <a:moveTo>
                    <a:pt x="0" y="85"/>
                  </a:moveTo>
                  <a:cubicBezTo>
                    <a:pt x="86" y="135"/>
                    <a:pt x="124" y="126"/>
                    <a:pt x="124" y="126"/>
                  </a:cubicBezTo>
                  <a:cubicBezTo>
                    <a:pt x="157" y="214"/>
                    <a:pt x="157" y="214"/>
                    <a:pt x="157" y="214"/>
                  </a:cubicBezTo>
                  <a:cubicBezTo>
                    <a:pt x="157" y="214"/>
                    <a:pt x="151" y="226"/>
                    <a:pt x="141" y="274"/>
                  </a:cubicBezTo>
                  <a:cubicBezTo>
                    <a:pt x="132" y="322"/>
                    <a:pt x="162" y="333"/>
                    <a:pt x="162" y="333"/>
                  </a:cubicBezTo>
                  <a:cubicBezTo>
                    <a:pt x="170" y="307"/>
                    <a:pt x="179" y="279"/>
                    <a:pt x="193" y="256"/>
                  </a:cubicBezTo>
                  <a:cubicBezTo>
                    <a:pt x="207" y="234"/>
                    <a:pt x="219" y="215"/>
                    <a:pt x="211" y="188"/>
                  </a:cubicBezTo>
                  <a:cubicBezTo>
                    <a:pt x="203" y="163"/>
                    <a:pt x="195" y="141"/>
                    <a:pt x="191" y="115"/>
                  </a:cubicBezTo>
                  <a:cubicBezTo>
                    <a:pt x="190" y="109"/>
                    <a:pt x="188" y="70"/>
                    <a:pt x="183" y="67"/>
                  </a:cubicBezTo>
                  <a:cubicBezTo>
                    <a:pt x="182" y="67"/>
                    <a:pt x="117" y="25"/>
                    <a:pt x="60" y="0"/>
                  </a:cubicBezTo>
                </a:path>
              </a:pathLst>
            </a:custGeom>
            <a:solidFill>
              <a:schemeClr val="accent2">
                <a:lumMod val="20000"/>
                <a:lumOff val="8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8" name="Freeform 670">
              <a:extLst>
                <a:ext uri="{FF2B5EF4-FFF2-40B4-BE49-F238E27FC236}">
                  <a16:creationId xmlns:a16="http://schemas.microsoft.com/office/drawing/2014/main" id="{F49B89D1-D104-4E48-A7EB-AB31B27B6EAE}"/>
                </a:ext>
              </a:extLst>
            </p:cNvPr>
            <p:cNvSpPr>
              <a:spLocks/>
            </p:cNvSpPr>
            <p:nvPr/>
          </p:nvSpPr>
          <p:spPr bwMode="auto">
            <a:xfrm>
              <a:off x="6609524" y="3962786"/>
              <a:ext cx="880266" cy="836253"/>
            </a:xfrm>
            <a:custGeom>
              <a:avLst/>
              <a:gdLst>
                <a:gd name="T0" fmla="*/ 158 w 254"/>
                <a:gd name="T1" fmla="*/ 15 h 241"/>
                <a:gd name="T2" fmla="*/ 254 w 254"/>
                <a:gd name="T3" fmla="*/ 39 h 241"/>
                <a:gd name="T4" fmla="*/ 252 w 254"/>
                <a:gd name="T5" fmla="*/ 64 h 241"/>
                <a:gd name="T6" fmla="*/ 170 w 254"/>
                <a:gd name="T7" fmla="*/ 74 h 241"/>
                <a:gd name="T8" fmla="*/ 111 w 254"/>
                <a:gd name="T9" fmla="*/ 241 h 241"/>
                <a:gd name="T10" fmla="*/ 43 w 254"/>
                <a:gd name="T11" fmla="*/ 214 h 241"/>
                <a:gd name="T12" fmla="*/ 0 w 254"/>
                <a:gd name="T13" fmla="*/ 189 h 241"/>
                <a:gd name="T14" fmla="*/ 48 w 254"/>
                <a:gd name="T15" fmla="*/ 65 h 241"/>
                <a:gd name="T16" fmla="*/ 158 w 254"/>
                <a:gd name="T17" fmla="*/ 1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41">
                  <a:moveTo>
                    <a:pt x="158" y="15"/>
                  </a:moveTo>
                  <a:cubicBezTo>
                    <a:pt x="254" y="39"/>
                    <a:pt x="254" y="39"/>
                    <a:pt x="254" y="39"/>
                  </a:cubicBezTo>
                  <a:cubicBezTo>
                    <a:pt x="252" y="64"/>
                    <a:pt x="252" y="64"/>
                    <a:pt x="252" y="64"/>
                  </a:cubicBezTo>
                  <a:cubicBezTo>
                    <a:pt x="170" y="74"/>
                    <a:pt x="170" y="74"/>
                    <a:pt x="170" y="74"/>
                  </a:cubicBezTo>
                  <a:cubicBezTo>
                    <a:pt x="111" y="241"/>
                    <a:pt x="111" y="241"/>
                    <a:pt x="111" y="241"/>
                  </a:cubicBezTo>
                  <a:cubicBezTo>
                    <a:pt x="43" y="214"/>
                    <a:pt x="43" y="214"/>
                    <a:pt x="43" y="214"/>
                  </a:cubicBezTo>
                  <a:cubicBezTo>
                    <a:pt x="0" y="189"/>
                    <a:pt x="0" y="189"/>
                    <a:pt x="0" y="189"/>
                  </a:cubicBezTo>
                  <a:cubicBezTo>
                    <a:pt x="48" y="65"/>
                    <a:pt x="48" y="65"/>
                    <a:pt x="48" y="65"/>
                  </a:cubicBezTo>
                  <a:cubicBezTo>
                    <a:pt x="48" y="65"/>
                    <a:pt x="79" y="0"/>
                    <a:pt x="158" y="15"/>
                  </a:cubicBezTo>
                  <a:close/>
                </a:path>
              </a:pathLst>
            </a:custGeom>
            <a:solidFill>
              <a:schemeClr val="accent2"/>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9" name="Freeform 671">
              <a:extLst>
                <a:ext uri="{FF2B5EF4-FFF2-40B4-BE49-F238E27FC236}">
                  <a16:creationId xmlns:a16="http://schemas.microsoft.com/office/drawing/2014/main" id="{3F8CEC27-8FEC-47C8-9383-BD3D631E3012}"/>
                </a:ext>
              </a:extLst>
            </p:cNvPr>
            <p:cNvSpPr>
              <a:spLocks/>
            </p:cNvSpPr>
            <p:nvPr/>
          </p:nvSpPr>
          <p:spPr bwMode="auto">
            <a:xfrm>
              <a:off x="6619794" y="3955450"/>
              <a:ext cx="925745" cy="859727"/>
            </a:xfrm>
            <a:custGeom>
              <a:avLst/>
              <a:gdLst>
                <a:gd name="T0" fmla="*/ 82 w 267"/>
                <a:gd name="T1" fmla="*/ 223 h 248"/>
                <a:gd name="T2" fmla="*/ 131 w 267"/>
                <a:gd name="T3" fmla="*/ 100 h 248"/>
                <a:gd name="T4" fmla="*/ 267 w 267"/>
                <a:gd name="T5" fmla="*/ 51 h 248"/>
                <a:gd name="T6" fmla="*/ 250 w 267"/>
                <a:gd name="T7" fmla="*/ 81 h 248"/>
                <a:gd name="T8" fmla="*/ 161 w 267"/>
                <a:gd name="T9" fmla="*/ 125 h 248"/>
                <a:gd name="T10" fmla="*/ 115 w 267"/>
                <a:gd name="T11" fmla="*/ 248 h 248"/>
                <a:gd name="T12" fmla="*/ 26 w 267"/>
                <a:gd name="T13" fmla="*/ 213 h 248"/>
                <a:gd name="T14" fmla="*/ 0 w 267"/>
                <a:gd name="T15" fmla="*/ 191 h 248"/>
                <a:gd name="T16" fmla="*/ 82 w 267"/>
                <a:gd name="T17" fmla="*/ 22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248">
                  <a:moveTo>
                    <a:pt x="82" y="223"/>
                  </a:moveTo>
                  <a:cubicBezTo>
                    <a:pt x="131" y="100"/>
                    <a:pt x="131" y="100"/>
                    <a:pt x="131" y="100"/>
                  </a:cubicBezTo>
                  <a:cubicBezTo>
                    <a:pt x="131" y="100"/>
                    <a:pt x="172" y="0"/>
                    <a:pt x="267" y="51"/>
                  </a:cubicBezTo>
                  <a:cubicBezTo>
                    <a:pt x="250" y="81"/>
                    <a:pt x="250" y="81"/>
                    <a:pt x="250" y="81"/>
                  </a:cubicBezTo>
                  <a:cubicBezTo>
                    <a:pt x="250" y="81"/>
                    <a:pt x="201" y="48"/>
                    <a:pt x="161" y="125"/>
                  </a:cubicBezTo>
                  <a:cubicBezTo>
                    <a:pt x="115" y="248"/>
                    <a:pt x="115" y="248"/>
                    <a:pt x="115" y="248"/>
                  </a:cubicBezTo>
                  <a:cubicBezTo>
                    <a:pt x="26" y="213"/>
                    <a:pt x="26" y="213"/>
                    <a:pt x="26" y="213"/>
                  </a:cubicBezTo>
                  <a:cubicBezTo>
                    <a:pt x="0" y="191"/>
                    <a:pt x="0" y="191"/>
                    <a:pt x="0" y="191"/>
                  </a:cubicBezTo>
                  <a:lnTo>
                    <a:pt x="82" y="223"/>
                  </a:lnTo>
                  <a:close/>
                </a:path>
              </a:pathLst>
            </a:custGeom>
            <a:solidFill>
              <a:schemeClr val="accent2">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0" name="Freeform 674">
              <a:extLst>
                <a:ext uri="{FF2B5EF4-FFF2-40B4-BE49-F238E27FC236}">
                  <a16:creationId xmlns:a16="http://schemas.microsoft.com/office/drawing/2014/main" id="{42ACAE3B-84ED-4192-92EB-4F26F0E46BA7}"/>
                </a:ext>
              </a:extLst>
            </p:cNvPr>
            <p:cNvSpPr>
              <a:spLocks/>
            </p:cNvSpPr>
            <p:nvPr/>
          </p:nvSpPr>
          <p:spPr bwMode="auto">
            <a:xfrm>
              <a:off x="6858931" y="4021470"/>
              <a:ext cx="378514" cy="149646"/>
            </a:xfrm>
            <a:custGeom>
              <a:avLst/>
              <a:gdLst>
                <a:gd name="T0" fmla="*/ 0 w 109"/>
                <a:gd name="T1" fmla="*/ 19 h 43"/>
                <a:gd name="T2" fmla="*/ 86 w 109"/>
                <a:gd name="T3" fmla="*/ 43 h 43"/>
                <a:gd name="T4" fmla="*/ 109 w 109"/>
                <a:gd name="T5" fmla="*/ 27 h 43"/>
                <a:gd name="T6" fmla="*/ 33 w 109"/>
                <a:gd name="T7" fmla="*/ 0 h 43"/>
                <a:gd name="T8" fmla="*/ 0 w 109"/>
                <a:gd name="T9" fmla="*/ 19 h 43"/>
              </a:gdLst>
              <a:ahLst/>
              <a:cxnLst>
                <a:cxn ang="0">
                  <a:pos x="T0" y="T1"/>
                </a:cxn>
                <a:cxn ang="0">
                  <a:pos x="T2" y="T3"/>
                </a:cxn>
                <a:cxn ang="0">
                  <a:pos x="T4" y="T5"/>
                </a:cxn>
                <a:cxn ang="0">
                  <a:pos x="T6" y="T7"/>
                </a:cxn>
                <a:cxn ang="0">
                  <a:pos x="T8" y="T9"/>
                </a:cxn>
              </a:cxnLst>
              <a:rect l="0" t="0" r="r" b="b"/>
              <a:pathLst>
                <a:path w="109" h="43">
                  <a:moveTo>
                    <a:pt x="0" y="19"/>
                  </a:moveTo>
                  <a:cubicBezTo>
                    <a:pt x="86" y="43"/>
                    <a:pt x="86" y="43"/>
                    <a:pt x="86" y="43"/>
                  </a:cubicBezTo>
                  <a:cubicBezTo>
                    <a:pt x="86" y="43"/>
                    <a:pt x="99" y="30"/>
                    <a:pt x="109" y="27"/>
                  </a:cubicBezTo>
                  <a:cubicBezTo>
                    <a:pt x="33" y="0"/>
                    <a:pt x="33" y="0"/>
                    <a:pt x="33" y="0"/>
                  </a:cubicBezTo>
                  <a:cubicBezTo>
                    <a:pt x="33" y="0"/>
                    <a:pt x="8" y="11"/>
                    <a:pt x="0" y="19"/>
                  </a:cubicBezTo>
                  <a:close/>
                </a:path>
              </a:pathLst>
            </a:custGeom>
            <a:solidFill>
              <a:schemeClr val="accent2">
                <a:lumMod val="60000"/>
                <a:lumOff val="4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1" name="Freeform 675">
              <a:extLst>
                <a:ext uri="{FF2B5EF4-FFF2-40B4-BE49-F238E27FC236}">
                  <a16:creationId xmlns:a16="http://schemas.microsoft.com/office/drawing/2014/main" id="{DBFAECEC-6BDA-452B-AF1D-368479EAB503}"/>
                </a:ext>
              </a:extLst>
            </p:cNvPr>
            <p:cNvSpPr>
              <a:spLocks/>
            </p:cNvSpPr>
            <p:nvPr/>
          </p:nvSpPr>
          <p:spPr bwMode="auto">
            <a:xfrm>
              <a:off x="6477484" y="2585169"/>
              <a:ext cx="856791" cy="1578610"/>
            </a:xfrm>
            <a:custGeom>
              <a:avLst/>
              <a:gdLst>
                <a:gd name="T0" fmla="*/ 164 w 247"/>
                <a:gd name="T1" fmla="*/ 242 h 455"/>
                <a:gd name="T2" fmla="*/ 136 w 247"/>
                <a:gd name="T3" fmla="*/ 297 h 455"/>
                <a:gd name="T4" fmla="*/ 151 w 247"/>
                <a:gd name="T5" fmla="*/ 437 h 455"/>
                <a:gd name="T6" fmla="*/ 127 w 247"/>
                <a:gd name="T7" fmla="*/ 455 h 455"/>
                <a:gd name="T8" fmla="*/ 110 w 247"/>
                <a:gd name="T9" fmla="*/ 371 h 455"/>
                <a:gd name="T10" fmla="*/ 52 w 247"/>
                <a:gd name="T11" fmla="*/ 147 h 455"/>
                <a:gd name="T12" fmla="*/ 23 w 247"/>
                <a:gd name="T13" fmla="*/ 98 h 455"/>
                <a:gd name="T14" fmla="*/ 105 w 247"/>
                <a:gd name="T15" fmla="*/ 0 h 455"/>
                <a:gd name="T16" fmla="*/ 247 w 247"/>
                <a:gd name="T17" fmla="*/ 193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455">
                  <a:moveTo>
                    <a:pt x="164" y="242"/>
                  </a:moveTo>
                  <a:cubicBezTo>
                    <a:pt x="156" y="260"/>
                    <a:pt x="139" y="278"/>
                    <a:pt x="136" y="297"/>
                  </a:cubicBezTo>
                  <a:cubicBezTo>
                    <a:pt x="128" y="344"/>
                    <a:pt x="178" y="387"/>
                    <a:pt x="151" y="437"/>
                  </a:cubicBezTo>
                  <a:cubicBezTo>
                    <a:pt x="151" y="437"/>
                    <a:pt x="141" y="448"/>
                    <a:pt x="127" y="455"/>
                  </a:cubicBezTo>
                  <a:cubicBezTo>
                    <a:pt x="127" y="455"/>
                    <a:pt x="125" y="402"/>
                    <a:pt x="110" y="371"/>
                  </a:cubicBezTo>
                  <a:cubicBezTo>
                    <a:pt x="95" y="341"/>
                    <a:pt x="0" y="248"/>
                    <a:pt x="52" y="147"/>
                  </a:cubicBezTo>
                  <a:cubicBezTo>
                    <a:pt x="23" y="98"/>
                    <a:pt x="23" y="98"/>
                    <a:pt x="23" y="98"/>
                  </a:cubicBezTo>
                  <a:cubicBezTo>
                    <a:pt x="23" y="98"/>
                    <a:pt x="49" y="57"/>
                    <a:pt x="105" y="0"/>
                  </a:cubicBezTo>
                  <a:cubicBezTo>
                    <a:pt x="105" y="0"/>
                    <a:pt x="158" y="139"/>
                    <a:pt x="247" y="193"/>
                  </a:cubicBezTo>
                </a:path>
              </a:pathLst>
            </a:custGeom>
            <a:solidFill>
              <a:schemeClr val="accent2">
                <a:lumMod val="20000"/>
                <a:lumOff val="8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32" name="Group 131">
            <a:extLst>
              <a:ext uri="{FF2B5EF4-FFF2-40B4-BE49-F238E27FC236}">
                <a16:creationId xmlns:a16="http://schemas.microsoft.com/office/drawing/2014/main" id="{C4225283-D5A7-4A70-B58E-0DAA63AC4B36}"/>
              </a:ext>
            </a:extLst>
          </p:cNvPr>
          <p:cNvGrpSpPr/>
          <p:nvPr/>
        </p:nvGrpSpPr>
        <p:grpSpPr>
          <a:xfrm>
            <a:off x="3901125" y="3036694"/>
            <a:ext cx="1103812" cy="1162469"/>
            <a:chOff x="1424919" y="4001145"/>
            <a:chExt cx="2320496" cy="2115819"/>
          </a:xfrm>
        </p:grpSpPr>
        <p:sp>
          <p:nvSpPr>
            <p:cNvPr id="133" name="Freeform 620">
              <a:extLst>
                <a:ext uri="{FF2B5EF4-FFF2-40B4-BE49-F238E27FC236}">
                  <a16:creationId xmlns:a16="http://schemas.microsoft.com/office/drawing/2014/main" id="{9E151066-D97C-4FC2-964C-08D2AA271AEF}"/>
                </a:ext>
              </a:extLst>
            </p:cNvPr>
            <p:cNvSpPr>
              <a:spLocks noEditPoints="1"/>
            </p:cNvSpPr>
            <p:nvPr/>
          </p:nvSpPr>
          <p:spPr bwMode="auto">
            <a:xfrm>
              <a:off x="1424919" y="5437624"/>
              <a:ext cx="2320496" cy="679340"/>
            </a:xfrm>
            <a:custGeom>
              <a:avLst/>
              <a:gdLst>
                <a:gd name="T0" fmla="*/ 840 w 841"/>
                <a:gd name="T1" fmla="*/ 126 h 246"/>
                <a:gd name="T2" fmla="*/ 821 w 841"/>
                <a:gd name="T3" fmla="*/ 161 h 246"/>
                <a:gd name="T4" fmla="*/ 755 w 841"/>
                <a:gd name="T5" fmla="*/ 195 h 246"/>
                <a:gd name="T6" fmla="*/ 594 w 841"/>
                <a:gd name="T7" fmla="*/ 228 h 246"/>
                <a:gd name="T8" fmla="*/ 447 w 841"/>
                <a:gd name="T9" fmla="*/ 234 h 246"/>
                <a:gd name="T10" fmla="*/ 419 w 841"/>
                <a:gd name="T11" fmla="*/ 231 h 246"/>
                <a:gd name="T12" fmla="*/ 400 w 841"/>
                <a:gd name="T13" fmla="*/ 230 h 246"/>
                <a:gd name="T14" fmla="*/ 391 w 841"/>
                <a:gd name="T15" fmla="*/ 230 h 246"/>
                <a:gd name="T16" fmla="*/ 304 w 841"/>
                <a:gd name="T17" fmla="*/ 240 h 246"/>
                <a:gd name="T18" fmla="*/ 217 w 841"/>
                <a:gd name="T19" fmla="*/ 243 h 246"/>
                <a:gd name="T20" fmla="*/ 207 w 841"/>
                <a:gd name="T21" fmla="*/ 242 h 246"/>
                <a:gd name="T22" fmla="*/ 201 w 841"/>
                <a:gd name="T23" fmla="*/ 241 h 246"/>
                <a:gd name="T24" fmla="*/ 181 w 841"/>
                <a:gd name="T25" fmla="*/ 236 h 246"/>
                <a:gd name="T26" fmla="*/ 132 w 841"/>
                <a:gd name="T27" fmla="*/ 214 h 246"/>
                <a:gd name="T28" fmla="*/ 118 w 841"/>
                <a:gd name="T29" fmla="*/ 207 h 246"/>
                <a:gd name="T30" fmla="*/ 105 w 841"/>
                <a:gd name="T31" fmla="*/ 200 h 246"/>
                <a:gd name="T32" fmla="*/ 27 w 841"/>
                <a:gd name="T33" fmla="*/ 164 h 246"/>
                <a:gd name="T34" fmla="*/ 0 w 841"/>
                <a:gd name="T35" fmla="*/ 127 h 246"/>
                <a:gd name="T36" fmla="*/ 0 w 841"/>
                <a:gd name="T37" fmla="*/ 122 h 246"/>
                <a:gd name="T38" fmla="*/ 0 w 841"/>
                <a:gd name="T39" fmla="*/ 120 h 246"/>
                <a:gd name="T40" fmla="*/ 1 w 841"/>
                <a:gd name="T41" fmla="*/ 114 h 246"/>
                <a:gd name="T42" fmla="*/ 19 w 841"/>
                <a:gd name="T43" fmla="*/ 84 h 246"/>
                <a:gd name="T44" fmla="*/ 136 w 841"/>
                <a:gd name="T45" fmla="*/ 31 h 246"/>
                <a:gd name="T46" fmla="*/ 299 w 841"/>
                <a:gd name="T47" fmla="*/ 5 h 246"/>
                <a:gd name="T48" fmla="*/ 453 w 841"/>
                <a:gd name="T49" fmla="*/ 0 h 246"/>
                <a:gd name="T50" fmla="*/ 706 w 841"/>
                <a:gd name="T51" fmla="*/ 34 h 246"/>
                <a:gd name="T52" fmla="*/ 818 w 841"/>
                <a:gd name="T53" fmla="*/ 83 h 246"/>
                <a:gd name="T54" fmla="*/ 840 w 841"/>
                <a:gd name="T55" fmla="*/ 116 h 246"/>
                <a:gd name="T56" fmla="*/ 840 w 841"/>
                <a:gd name="T57" fmla="*/ 120 h 246"/>
                <a:gd name="T58" fmla="*/ 840 w 841"/>
                <a:gd name="T59" fmla="*/ 121 h 246"/>
                <a:gd name="T60" fmla="*/ 839 w 841"/>
                <a:gd name="T61" fmla="*/ 118 h 246"/>
                <a:gd name="T62" fmla="*/ 833 w 841"/>
                <a:gd name="T63" fmla="*/ 102 h 246"/>
                <a:gd name="T64" fmla="*/ 789 w 841"/>
                <a:gd name="T65" fmla="*/ 68 h 246"/>
                <a:gd name="T66" fmla="*/ 704 w 841"/>
                <a:gd name="T67" fmla="*/ 39 h 246"/>
                <a:gd name="T68" fmla="*/ 453 w 841"/>
                <a:gd name="T69" fmla="*/ 13 h 246"/>
                <a:gd name="T70" fmla="*/ 220 w 841"/>
                <a:gd name="T71" fmla="*/ 28 h 246"/>
                <a:gd name="T72" fmla="*/ 61 w 841"/>
                <a:gd name="T73" fmla="*/ 71 h 246"/>
                <a:gd name="T74" fmla="*/ 11 w 841"/>
                <a:gd name="T75" fmla="*/ 125 h 246"/>
                <a:gd name="T76" fmla="*/ 33 w 841"/>
                <a:gd name="T77" fmla="*/ 155 h 246"/>
                <a:gd name="T78" fmla="*/ 108 w 841"/>
                <a:gd name="T79" fmla="*/ 191 h 246"/>
                <a:gd name="T80" fmla="*/ 123 w 841"/>
                <a:gd name="T81" fmla="*/ 198 h 246"/>
                <a:gd name="T82" fmla="*/ 137 w 841"/>
                <a:gd name="T83" fmla="*/ 206 h 246"/>
                <a:gd name="T84" fmla="*/ 184 w 841"/>
                <a:gd name="T85" fmla="*/ 227 h 246"/>
                <a:gd name="T86" fmla="*/ 203 w 841"/>
                <a:gd name="T87" fmla="*/ 232 h 246"/>
                <a:gd name="T88" fmla="*/ 208 w 841"/>
                <a:gd name="T89" fmla="*/ 233 h 246"/>
                <a:gd name="T90" fmla="*/ 218 w 841"/>
                <a:gd name="T91" fmla="*/ 235 h 246"/>
                <a:gd name="T92" fmla="*/ 303 w 841"/>
                <a:gd name="T93" fmla="*/ 232 h 246"/>
                <a:gd name="T94" fmla="*/ 391 w 841"/>
                <a:gd name="T95" fmla="*/ 223 h 246"/>
                <a:gd name="T96" fmla="*/ 401 w 841"/>
                <a:gd name="T97" fmla="*/ 223 h 246"/>
                <a:gd name="T98" fmla="*/ 420 w 841"/>
                <a:gd name="T99" fmla="*/ 224 h 246"/>
                <a:gd name="T100" fmla="*/ 447 w 841"/>
                <a:gd name="T101" fmla="*/ 227 h 246"/>
                <a:gd name="T102" fmla="*/ 593 w 841"/>
                <a:gd name="T103" fmla="*/ 224 h 246"/>
                <a:gd name="T104" fmla="*/ 708 w 841"/>
                <a:gd name="T105" fmla="*/ 206 h 246"/>
                <a:gd name="T106" fmla="*/ 793 w 841"/>
                <a:gd name="T107" fmla="*/ 178 h 246"/>
                <a:gd name="T108" fmla="*/ 835 w 841"/>
                <a:gd name="T109" fmla="*/ 141 h 246"/>
                <a:gd name="T110" fmla="*/ 840 w 841"/>
                <a:gd name="T111" fmla="*/ 12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1" h="246">
                  <a:moveTo>
                    <a:pt x="840" y="121"/>
                  </a:moveTo>
                  <a:cubicBezTo>
                    <a:pt x="840" y="121"/>
                    <a:pt x="840" y="123"/>
                    <a:pt x="840" y="126"/>
                  </a:cubicBezTo>
                  <a:cubicBezTo>
                    <a:pt x="840" y="130"/>
                    <a:pt x="839" y="135"/>
                    <a:pt x="836" y="141"/>
                  </a:cubicBezTo>
                  <a:cubicBezTo>
                    <a:pt x="833" y="147"/>
                    <a:pt x="828" y="154"/>
                    <a:pt x="821" y="161"/>
                  </a:cubicBezTo>
                  <a:cubicBezTo>
                    <a:pt x="814" y="167"/>
                    <a:pt x="805" y="174"/>
                    <a:pt x="794" y="179"/>
                  </a:cubicBezTo>
                  <a:cubicBezTo>
                    <a:pt x="782" y="185"/>
                    <a:pt x="770" y="190"/>
                    <a:pt x="755" y="195"/>
                  </a:cubicBezTo>
                  <a:cubicBezTo>
                    <a:pt x="741" y="200"/>
                    <a:pt x="726" y="204"/>
                    <a:pt x="709" y="208"/>
                  </a:cubicBezTo>
                  <a:cubicBezTo>
                    <a:pt x="675" y="216"/>
                    <a:pt x="636" y="221"/>
                    <a:pt x="594" y="228"/>
                  </a:cubicBezTo>
                  <a:cubicBezTo>
                    <a:pt x="552" y="233"/>
                    <a:pt x="505" y="237"/>
                    <a:pt x="456" y="234"/>
                  </a:cubicBezTo>
                  <a:cubicBezTo>
                    <a:pt x="453" y="234"/>
                    <a:pt x="450" y="234"/>
                    <a:pt x="447" y="234"/>
                  </a:cubicBezTo>
                  <a:cubicBezTo>
                    <a:pt x="444" y="234"/>
                    <a:pt x="441" y="233"/>
                    <a:pt x="438" y="233"/>
                  </a:cubicBezTo>
                  <a:cubicBezTo>
                    <a:pt x="431" y="232"/>
                    <a:pt x="425" y="232"/>
                    <a:pt x="419" y="231"/>
                  </a:cubicBezTo>
                  <a:cubicBezTo>
                    <a:pt x="416" y="231"/>
                    <a:pt x="413" y="231"/>
                    <a:pt x="410" y="230"/>
                  </a:cubicBezTo>
                  <a:cubicBezTo>
                    <a:pt x="407" y="230"/>
                    <a:pt x="404" y="230"/>
                    <a:pt x="400" y="230"/>
                  </a:cubicBezTo>
                  <a:cubicBezTo>
                    <a:pt x="396" y="230"/>
                    <a:pt x="396" y="230"/>
                    <a:pt x="396" y="230"/>
                  </a:cubicBezTo>
                  <a:cubicBezTo>
                    <a:pt x="391" y="230"/>
                    <a:pt x="391" y="230"/>
                    <a:pt x="391" y="230"/>
                  </a:cubicBezTo>
                  <a:cubicBezTo>
                    <a:pt x="388" y="230"/>
                    <a:pt x="385" y="230"/>
                    <a:pt x="382" y="230"/>
                  </a:cubicBezTo>
                  <a:cubicBezTo>
                    <a:pt x="356" y="232"/>
                    <a:pt x="330" y="236"/>
                    <a:pt x="304" y="240"/>
                  </a:cubicBezTo>
                  <a:cubicBezTo>
                    <a:pt x="278" y="243"/>
                    <a:pt x="250" y="246"/>
                    <a:pt x="222" y="244"/>
                  </a:cubicBezTo>
                  <a:cubicBezTo>
                    <a:pt x="220" y="244"/>
                    <a:pt x="219" y="243"/>
                    <a:pt x="217" y="243"/>
                  </a:cubicBezTo>
                  <a:cubicBezTo>
                    <a:pt x="212" y="243"/>
                    <a:pt x="212" y="243"/>
                    <a:pt x="212" y="243"/>
                  </a:cubicBezTo>
                  <a:cubicBezTo>
                    <a:pt x="207" y="242"/>
                    <a:pt x="207" y="242"/>
                    <a:pt x="207" y="242"/>
                  </a:cubicBezTo>
                  <a:cubicBezTo>
                    <a:pt x="204" y="241"/>
                    <a:pt x="204" y="241"/>
                    <a:pt x="204" y="241"/>
                  </a:cubicBezTo>
                  <a:cubicBezTo>
                    <a:pt x="203" y="241"/>
                    <a:pt x="202" y="241"/>
                    <a:pt x="201" y="241"/>
                  </a:cubicBezTo>
                  <a:cubicBezTo>
                    <a:pt x="198" y="240"/>
                    <a:pt x="195" y="239"/>
                    <a:pt x="191" y="239"/>
                  </a:cubicBezTo>
                  <a:cubicBezTo>
                    <a:pt x="181" y="236"/>
                    <a:pt x="181" y="236"/>
                    <a:pt x="181" y="236"/>
                  </a:cubicBezTo>
                  <a:cubicBezTo>
                    <a:pt x="167" y="231"/>
                    <a:pt x="154" y="226"/>
                    <a:pt x="142" y="219"/>
                  </a:cubicBezTo>
                  <a:cubicBezTo>
                    <a:pt x="138" y="218"/>
                    <a:pt x="135" y="216"/>
                    <a:pt x="132" y="214"/>
                  </a:cubicBezTo>
                  <a:cubicBezTo>
                    <a:pt x="129" y="213"/>
                    <a:pt x="126" y="211"/>
                    <a:pt x="123" y="209"/>
                  </a:cubicBezTo>
                  <a:cubicBezTo>
                    <a:pt x="118" y="207"/>
                    <a:pt x="118" y="207"/>
                    <a:pt x="118" y="207"/>
                  </a:cubicBezTo>
                  <a:cubicBezTo>
                    <a:pt x="117" y="206"/>
                    <a:pt x="115" y="205"/>
                    <a:pt x="114" y="204"/>
                  </a:cubicBezTo>
                  <a:cubicBezTo>
                    <a:pt x="111" y="203"/>
                    <a:pt x="108" y="201"/>
                    <a:pt x="105" y="200"/>
                  </a:cubicBezTo>
                  <a:cubicBezTo>
                    <a:pt x="92" y="195"/>
                    <a:pt x="78" y="190"/>
                    <a:pt x="65" y="184"/>
                  </a:cubicBezTo>
                  <a:cubicBezTo>
                    <a:pt x="52" y="179"/>
                    <a:pt x="39" y="173"/>
                    <a:pt x="27" y="164"/>
                  </a:cubicBezTo>
                  <a:cubicBezTo>
                    <a:pt x="21" y="160"/>
                    <a:pt x="15" y="155"/>
                    <a:pt x="10" y="149"/>
                  </a:cubicBezTo>
                  <a:cubicBezTo>
                    <a:pt x="5" y="142"/>
                    <a:pt x="2" y="135"/>
                    <a:pt x="0" y="127"/>
                  </a:cubicBezTo>
                  <a:cubicBezTo>
                    <a:pt x="0" y="126"/>
                    <a:pt x="0" y="125"/>
                    <a:pt x="0" y="124"/>
                  </a:cubicBezTo>
                  <a:cubicBezTo>
                    <a:pt x="0" y="122"/>
                    <a:pt x="0" y="122"/>
                    <a:pt x="0" y="122"/>
                  </a:cubicBezTo>
                  <a:cubicBezTo>
                    <a:pt x="0" y="121"/>
                    <a:pt x="0" y="121"/>
                    <a:pt x="0" y="121"/>
                  </a:cubicBezTo>
                  <a:cubicBezTo>
                    <a:pt x="0" y="121"/>
                    <a:pt x="0" y="121"/>
                    <a:pt x="0" y="120"/>
                  </a:cubicBezTo>
                  <a:cubicBezTo>
                    <a:pt x="0" y="119"/>
                    <a:pt x="0" y="119"/>
                    <a:pt x="0" y="118"/>
                  </a:cubicBezTo>
                  <a:cubicBezTo>
                    <a:pt x="1" y="114"/>
                    <a:pt x="1" y="114"/>
                    <a:pt x="1" y="114"/>
                  </a:cubicBezTo>
                  <a:cubicBezTo>
                    <a:pt x="1" y="110"/>
                    <a:pt x="3" y="106"/>
                    <a:pt x="5" y="103"/>
                  </a:cubicBezTo>
                  <a:cubicBezTo>
                    <a:pt x="8" y="96"/>
                    <a:pt x="13" y="90"/>
                    <a:pt x="19" y="84"/>
                  </a:cubicBezTo>
                  <a:cubicBezTo>
                    <a:pt x="30" y="74"/>
                    <a:pt x="43" y="67"/>
                    <a:pt x="56" y="60"/>
                  </a:cubicBezTo>
                  <a:cubicBezTo>
                    <a:pt x="82" y="47"/>
                    <a:pt x="109" y="39"/>
                    <a:pt x="136" y="31"/>
                  </a:cubicBezTo>
                  <a:cubicBezTo>
                    <a:pt x="163" y="24"/>
                    <a:pt x="191" y="19"/>
                    <a:pt x="218" y="14"/>
                  </a:cubicBezTo>
                  <a:cubicBezTo>
                    <a:pt x="245" y="10"/>
                    <a:pt x="272" y="7"/>
                    <a:pt x="299" y="5"/>
                  </a:cubicBezTo>
                  <a:cubicBezTo>
                    <a:pt x="326" y="2"/>
                    <a:pt x="352" y="1"/>
                    <a:pt x="378" y="0"/>
                  </a:cubicBezTo>
                  <a:cubicBezTo>
                    <a:pt x="404" y="0"/>
                    <a:pt x="429" y="0"/>
                    <a:pt x="453" y="0"/>
                  </a:cubicBezTo>
                  <a:cubicBezTo>
                    <a:pt x="502" y="2"/>
                    <a:pt x="549" y="6"/>
                    <a:pt x="591" y="12"/>
                  </a:cubicBezTo>
                  <a:cubicBezTo>
                    <a:pt x="633" y="18"/>
                    <a:pt x="672" y="25"/>
                    <a:pt x="706" y="34"/>
                  </a:cubicBezTo>
                  <a:cubicBezTo>
                    <a:pt x="739" y="43"/>
                    <a:pt x="768" y="54"/>
                    <a:pt x="790" y="65"/>
                  </a:cubicBezTo>
                  <a:cubicBezTo>
                    <a:pt x="801" y="71"/>
                    <a:pt x="811" y="77"/>
                    <a:pt x="818" y="83"/>
                  </a:cubicBezTo>
                  <a:cubicBezTo>
                    <a:pt x="826" y="89"/>
                    <a:pt x="831" y="96"/>
                    <a:pt x="835" y="101"/>
                  </a:cubicBezTo>
                  <a:cubicBezTo>
                    <a:pt x="838" y="107"/>
                    <a:pt x="840" y="112"/>
                    <a:pt x="840" y="116"/>
                  </a:cubicBezTo>
                  <a:cubicBezTo>
                    <a:pt x="840" y="117"/>
                    <a:pt x="840" y="117"/>
                    <a:pt x="841" y="118"/>
                  </a:cubicBezTo>
                  <a:cubicBezTo>
                    <a:pt x="841" y="119"/>
                    <a:pt x="840" y="119"/>
                    <a:pt x="840" y="120"/>
                  </a:cubicBezTo>
                  <a:cubicBezTo>
                    <a:pt x="840" y="121"/>
                    <a:pt x="840" y="121"/>
                    <a:pt x="840" y="121"/>
                  </a:cubicBezTo>
                  <a:close/>
                  <a:moveTo>
                    <a:pt x="840" y="121"/>
                  </a:moveTo>
                  <a:cubicBezTo>
                    <a:pt x="840" y="121"/>
                    <a:pt x="840" y="121"/>
                    <a:pt x="839" y="120"/>
                  </a:cubicBezTo>
                  <a:cubicBezTo>
                    <a:pt x="839" y="119"/>
                    <a:pt x="839" y="119"/>
                    <a:pt x="839" y="118"/>
                  </a:cubicBezTo>
                  <a:cubicBezTo>
                    <a:pt x="839" y="118"/>
                    <a:pt x="839" y="117"/>
                    <a:pt x="839" y="116"/>
                  </a:cubicBezTo>
                  <a:cubicBezTo>
                    <a:pt x="838" y="113"/>
                    <a:pt x="837" y="108"/>
                    <a:pt x="833" y="102"/>
                  </a:cubicBezTo>
                  <a:cubicBezTo>
                    <a:pt x="830" y="97"/>
                    <a:pt x="824" y="91"/>
                    <a:pt x="817" y="85"/>
                  </a:cubicBezTo>
                  <a:cubicBezTo>
                    <a:pt x="809" y="79"/>
                    <a:pt x="800" y="73"/>
                    <a:pt x="789" y="68"/>
                  </a:cubicBezTo>
                  <a:cubicBezTo>
                    <a:pt x="778" y="62"/>
                    <a:pt x="765" y="57"/>
                    <a:pt x="751" y="52"/>
                  </a:cubicBezTo>
                  <a:cubicBezTo>
                    <a:pt x="737" y="48"/>
                    <a:pt x="721" y="43"/>
                    <a:pt x="704" y="39"/>
                  </a:cubicBezTo>
                  <a:cubicBezTo>
                    <a:pt x="671" y="31"/>
                    <a:pt x="632" y="25"/>
                    <a:pt x="590" y="21"/>
                  </a:cubicBezTo>
                  <a:cubicBezTo>
                    <a:pt x="548" y="17"/>
                    <a:pt x="502" y="14"/>
                    <a:pt x="453" y="13"/>
                  </a:cubicBezTo>
                  <a:cubicBezTo>
                    <a:pt x="404" y="13"/>
                    <a:pt x="353" y="14"/>
                    <a:pt x="300" y="19"/>
                  </a:cubicBezTo>
                  <a:cubicBezTo>
                    <a:pt x="274" y="21"/>
                    <a:pt x="247" y="24"/>
                    <a:pt x="220" y="28"/>
                  </a:cubicBezTo>
                  <a:cubicBezTo>
                    <a:pt x="193" y="32"/>
                    <a:pt x="166" y="37"/>
                    <a:pt x="139" y="44"/>
                  </a:cubicBezTo>
                  <a:cubicBezTo>
                    <a:pt x="113" y="51"/>
                    <a:pt x="86" y="59"/>
                    <a:pt x="61" y="71"/>
                  </a:cubicBezTo>
                  <a:cubicBezTo>
                    <a:pt x="48" y="77"/>
                    <a:pt x="36" y="84"/>
                    <a:pt x="27" y="93"/>
                  </a:cubicBezTo>
                  <a:cubicBezTo>
                    <a:pt x="17" y="102"/>
                    <a:pt x="9" y="113"/>
                    <a:pt x="11" y="125"/>
                  </a:cubicBezTo>
                  <a:cubicBezTo>
                    <a:pt x="12" y="131"/>
                    <a:pt x="14" y="137"/>
                    <a:pt x="18" y="142"/>
                  </a:cubicBezTo>
                  <a:cubicBezTo>
                    <a:pt x="22" y="147"/>
                    <a:pt x="27" y="152"/>
                    <a:pt x="33" y="155"/>
                  </a:cubicBezTo>
                  <a:cubicBezTo>
                    <a:pt x="44" y="163"/>
                    <a:pt x="56" y="169"/>
                    <a:pt x="69" y="175"/>
                  </a:cubicBezTo>
                  <a:cubicBezTo>
                    <a:pt x="82" y="180"/>
                    <a:pt x="95" y="185"/>
                    <a:pt x="108" y="191"/>
                  </a:cubicBezTo>
                  <a:cubicBezTo>
                    <a:pt x="112" y="192"/>
                    <a:pt x="115" y="194"/>
                    <a:pt x="118" y="196"/>
                  </a:cubicBezTo>
                  <a:cubicBezTo>
                    <a:pt x="120" y="197"/>
                    <a:pt x="121" y="197"/>
                    <a:pt x="123" y="198"/>
                  </a:cubicBezTo>
                  <a:cubicBezTo>
                    <a:pt x="128" y="201"/>
                    <a:pt x="128" y="201"/>
                    <a:pt x="128" y="201"/>
                  </a:cubicBezTo>
                  <a:cubicBezTo>
                    <a:pt x="131" y="203"/>
                    <a:pt x="134" y="204"/>
                    <a:pt x="137" y="206"/>
                  </a:cubicBezTo>
                  <a:cubicBezTo>
                    <a:pt x="140" y="208"/>
                    <a:pt x="143" y="209"/>
                    <a:pt x="146" y="211"/>
                  </a:cubicBezTo>
                  <a:cubicBezTo>
                    <a:pt x="158" y="217"/>
                    <a:pt x="171" y="223"/>
                    <a:pt x="184" y="227"/>
                  </a:cubicBezTo>
                  <a:cubicBezTo>
                    <a:pt x="193" y="230"/>
                    <a:pt x="193" y="230"/>
                    <a:pt x="193" y="230"/>
                  </a:cubicBezTo>
                  <a:cubicBezTo>
                    <a:pt x="196" y="231"/>
                    <a:pt x="200" y="231"/>
                    <a:pt x="203" y="232"/>
                  </a:cubicBezTo>
                  <a:cubicBezTo>
                    <a:pt x="204" y="232"/>
                    <a:pt x="205" y="233"/>
                    <a:pt x="206" y="233"/>
                  </a:cubicBezTo>
                  <a:cubicBezTo>
                    <a:pt x="208" y="233"/>
                    <a:pt x="208" y="233"/>
                    <a:pt x="208" y="233"/>
                  </a:cubicBezTo>
                  <a:cubicBezTo>
                    <a:pt x="213" y="234"/>
                    <a:pt x="213" y="234"/>
                    <a:pt x="213" y="234"/>
                  </a:cubicBezTo>
                  <a:cubicBezTo>
                    <a:pt x="218" y="235"/>
                    <a:pt x="218" y="235"/>
                    <a:pt x="218" y="235"/>
                  </a:cubicBezTo>
                  <a:cubicBezTo>
                    <a:pt x="220" y="235"/>
                    <a:pt x="221" y="235"/>
                    <a:pt x="223" y="235"/>
                  </a:cubicBezTo>
                  <a:cubicBezTo>
                    <a:pt x="250" y="238"/>
                    <a:pt x="277" y="235"/>
                    <a:pt x="303" y="232"/>
                  </a:cubicBezTo>
                  <a:cubicBezTo>
                    <a:pt x="329" y="228"/>
                    <a:pt x="355" y="224"/>
                    <a:pt x="381" y="223"/>
                  </a:cubicBezTo>
                  <a:cubicBezTo>
                    <a:pt x="384" y="223"/>
                    <a:pt x="388" y="223"/>
                    <a:pt x="391" y="223"/>
                  </a:cubicBezTo>
                  <a:cubicBezTo>
                    <a:pt x="396" y="223"/>
                    <a:pt x="396" y="223"/>
                    <a:pt x="396" y="223"/>
                  </a:cubicBezTo>
                  <a:cubicBezTo>
                    <a:pt x="401" y="223"/>
                    <a:pt x="401" y="223"/>
                    <a:pt x="401" y="223"/>
                  </a:cubicBezTo>
                  <a:cubicBezTo>
                    <a:pt x="404" y="223"/>
                    <a:pt x="407" y="223"/>
                    <a:pt x="410" y="223"/>
                  </a:cubicBezTo>
                  <a:cubicBezTo>
                    <a:pt x="413" y="224"/>
                    <a:pt x="417" y="224"/>
                    <a:pt x="420" y="224"/>
                  </a:cubicBezTo>
                  <a:cubicBezTo>
                    <a:pt x="426" y="225"/>
                    <a:pt x="432" y="226"/>
                    <a:pt x="438" y="226"/>
                  </a:cubicBezTo>
                  <a:cubicBezTo>
                    <a:pt x="441" y="227"/>
                    <a:pt x="444" y="227"/>
                    <a:pt x="447" y="227"/>
                  </a:cubicBezTo>
                  <a:cubicBezTo>
                    <a:pt x="450" y="228"/>
                    <a:pt x="454" y="228"/>
                    <a:pt x="457" y="228"/>
                  </a:cubicBezTo>
                  <a:cubicBezTo>
                    <a:pt x="505" y="232"/>
                    <a:pt x="551" y="228"/>
                    <a:pt x="593" y="224"/>
                  </a:cubicBezTo>
                  <a:cubicBezTo>
                    <a:pt x="615" y="221"/>
                    <a:pt x="635" y="219"/>
                    <a:pt x="654" y="216"/>
                  </a:cubicBezTo>
                  <a:cubicBezTo>
                    <a:pt x="673" y="213"/>
                    <a:pt x="691" y="210"/>
                    <a:pt x="708" y="206"/>
                  </a:cubicBezTo>
                  <a:cubicBezTo>
                    <a:pt x="725" y="202"/>
                    <a:pt x="741" y="198"/>
                    <a:pt x="755" y="194"/>
                  </a:cubicBezTo>
                  <a:cubicBezTo>
                    <a:pt x="769" y="189"/>
                    <a:pt x="782" y="184"/>
                    <a:pt x="793" y="178"/>
                  </a:cubicBezTo>
                  <a:cubicBezTo>
                    <a:pt x="804" y="173"/>
                    <a:pt x="813" y="166"/>
                    <a:pt x="820" y="160"/>
                  </a:cubicBezTo>
                  <a:cubicBezTo>
                    <a:pt x="827" y="153"/>
                    <a:pt x="832" y="147"/>
                    <a:pt x="835" y="141"/>
                  </a:cubicBezTo>
                  <a:cubicBezTo>
                    <a:pt x="838" y="135"/>
                    <a:pt x="839" y="130"/>
                    <a:pt x="839" y="126"/>
                  </a:cubicBezTo>
                  <a:cubicBezTo>
                    <a:pt x="839" y="123"/>
                    <a:pt x="840" y="121"/>
                    <a:pt x="840" y="121"/>
                  </a:cubicBezTo>
                  <a:close/>
                </a:path>
              </a:pathLst>
            </a:custGeom>
            <a:solidFill>
              <a:schemeClr val="tx2">
                <a:lumMod val="60000"/>
                <a:lumOff val="4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4" name="Freeform 625">
              <a:extLst>
                <a:ext uri="{FF2B5EF4-FFF2-40B4-BE49-F238E27FC236}">
                  <a16:creationId xmlns:a16="http://schemas.microsoft.com/office/drawing/2014/main" id="{F3D68E6A-1A00-4509-AE23-D01FAE786EA2}"/>
                </a:ext>
              </a:extLst>
            </p:cNvPr>
            <p:cNvSpPr>
              <a:spLocks/>
            </p:cNvSpPr>
            <p:nvPr/>
          </p:nvSpPr>
          <p:spPr bwMode="auto">
            <a:xfrm>
              <a:off x="1511269" y="5498466"/>
              <a:ext cx="2063198" cy="498767"/>
            </a:xfrm>
            <a:custGeom>
              <a:avLst/>
              <a:gdLst>
                <a:gd name="T0" fmla="*/ 679 w 679"/>
                <a:gd name="T1" fmla="*/ 63 h 164"/>
                <a:gd name="T2" fmla="*/ 393 w 679"/>
                <a:gd name="T3" fmla="*/ 164 h 164"/>
                <a:gd name="T4" fmla="*/ 0 w 679"/>
                <a:gd name="T5" fmla="*/ 82 h 164"/>
                <a:gd name="T6" fmla="*/ 340 w 679"/>
                <a:gd name="T7" fmla="*/ 0 h 164"/>
                <a:gd name="T8" fmla="*/ 679 w 679"/>
                <a:gd name="T9" fmla="*/ 63 h 164"/>
              </a:gdLst>
              <a:ahLst/>
              <a:cxnLst>
                <a:cxn ang="0">
                  <a:pos x="T0" y="T1"/>
                </a:cxn>
                <a:cxn ang="0">
                  <a:pos x="T2" y="T3"/>
                </a:cxn>
                <a:cxn ang="0">
                  <a:pos x="T4" y="T5"/>
                </a:cxn>
                <a:cxn ang="0">
                  <a:pos x="T6" y="T7"/>
                </a:cxn>
                <a:cxn ang="0">
                  <a:pos x="T8" y="T9"/>
                </a:cxn>
              </a:cxnLst>
              <a:rect l="0" t="0" r="r" b="b"/>
              <a:pathLst>
                <a:path w="679" h="164">
                  <a:moveTo>
                    <a:pt x="679" y="63"/>
                  </a:moveTo>
                  <a:cubicBezTo>
                    <a:pt x="679" y="108"/>
                    <a:pt x="580" y="164"/>
                    <a:pt x="393" y="164"/>
                  </a:cubicBezTo>
                  <a:cubicBezTo>
                    <a:pt x="205" y="164"/>
                    <a:pt x="0" y="127"/>
                    <a:pt x="0" y="82"/>
                  </a:cubicBezTo>
                  <a:cubicBezTo>
                    <a:pt x="0" y="37"/>
                    <a:pt x="152" y="0"/>
                    <a:pt x="340" y="0"/>
                  </a:cubicBezTo>
                  <a:cubicBezTo>
                    <a:pt x="527" y="0"/>
                    <a:pt x="679" y="18"/>
                    <a:pt x="679" y="63"/>
                  </a:cubicBezTo>
                  <a:close/>
                </a:path>
              </a:pathLst>
            </a:custGeom>
            <a:solidFill>
              <a:schemeClr val="accent1">
                <a:alpha val="6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5" name="Freeform 626">
              <a:extLst>
                <a:ext uri="{FF2B5EF4-FFF2-40B4-BE49-F238E27FC236}">
                  <a16:creationId xmlns:a16="http://schemas.microsoft.com/office/drawing/2014/main" id="{9E3D3C47-C226-480C-AB58-D21D1DDB469D}"/>
                </a:ext>
              </a:extLst>
            </p:cNvPr>
            <p:cNvSpPr>
              <a:spLocks/>
            </p:cNvSpPr>
            <p:nvPr/>
          </p:nvSpPr>
          <p:spPr bwMode="auto">
            <a:xfrm>
              <a:off x="1977190" y="4348417"/>
              <a:ext cx="347271" cy="268994"/>
            </a:xfrm>
            <a:custGeom>
              <a:avLst/>
              <a:gdLst>
                <a:gd name="T0" fmla="*/ 4 w 103"/>
                <a:gd name="T1" fmla="*/ 78 h 80"/>
                <a:gd name="T2" fmla="*/ 0 w 103"/>
                <a:gd name="T3" fmla="*/ 26 h 80"/>
                <a:gd name="T4" fmla="*/ 103 w 103"/>
                <a:gd name="T5" fmla="*/ 22 h 80"/>
                <a:gd name="T6" fmla="*/ 100 w 103"/>
                <a:gd name="T7" fmla="*/ 80 h 80"/>
                <a:gd name="T8" fmla="*/ 4 w 103"/>
                <a:gd name="T9" fmla="*/ 78 h 80"/>
              </a:gdLst>
              <a:ahLst/>
              <a:cxnLst>
                <a:cxn ang="0">
                  <a:pos x="T0" y="T1"/>
                </a:cxn>
                <a:cxn ang="0">
                  <a:pos x="T2" y="T3"/>
                </a:cxn>
                <a:cxn ang="0">
                  <a:pos x="T4" y="T5"/>
                </a:cxn>
                <a:cxn ang="0">
                  <a:pos x="T6" y="T7"/>
                </a:cxn>
                <a:cxn ang="0">
                  <a:pos x="T8" y="T9"/>
                </a:cxn>
              </a:cxnLst>
              <a:rect l="0" t="0" r="r" b="b"/>
              <a:pathLst>
                <a:path w="103" h="80">
                  <a:moveTo>
                    <a:pt x="4" y="78"/>
                  </a:moveTo>
                  <a:cubicBezTo>
                    <a:pt x="0" y="26"/>
                    <a:pt x="0" y="26"/>
                    <a:pt x="0" y="26"/>
                  </a:cubicBezTo>
                  <a:cubicBezTo>
                    <a:pt x="0" y="26"/>
                    <a:pt x="45" y="0"/>
                    <a:pt x="103" y="22"/>
                  </a:cubicBezTo>
                  <a:cubicBezTo>
                    <a:pt x="100" y="80"/>
                    <a:pt x="100" y="80"/>
                    <a:pt x="100" y="80"/>
                  </a:cubicBezTo>
                  <a:cubicBezTo>
                    <a:pt x="100" y="80"/>
                    <a:pt x="2" y="78"/>
                    <a:pt x="4" y="78"/>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6" name="Freeform 627">
              <a:extLst>
                <a:ext uri="{FF2B5EF4-FFF2-40B4-BE49-F238E27FC236}">
                  <a16:creationId xmlns:a16="http://schemas.microsoft.com/office/drawing/2014/main" id="{2B8844AB-63C3-477B-B41E-33DDAFCB45B5}"/>
                </a:ext>
              </a:extLst>
            </p:cNvPr>
            <p:cNvSpPr>
              <a:spLocks/>
            </p:cNvSpPr>
            <p:nvPr/>
          </p:nvSpPr>
          <p:spPr bwMode="auto">
            <a:xfrm>
              <a:off x="1977190" y="4391112"/>
              <a:ext cx="185021" cy="222027"/>
            </a:xfrm>
            <a:custGeom>
              <a:avLst/>
              <a:gdLst>
                <a:gd name="T0" fmla="*/ 53 w 55"/>
                <a:gd name="T1" fmla="*/ 66 h 66"/>
                <a:gd name="T2" fmla="*/ 4 w 55"/>
                <a:gd name="T3" fmla="*/ 65 h 66"/>
                <a:gd name="T4" fmla="*/ 0 w 55"/>
                <a:gd name="T5" fmla="*/ 13 h 66"/>
                <a:gd name="T6" fmla="*/ 55 w 55"/>
                <a:gd name="T7" fmla="*/ 0 h 66"/>
              </a:gdLst>
              <a:ahLst/>
              <a:cxnLst>
                <a:cxn ang="0">
                  <a:pos x="T0" y="T1"/>
                </a:cxn>
                <a:cxn ang="0">
                  <a:pos x="T2" y="T3"/>
                </a:cxn>
                <a:cxn ang="0">
                  <a:pos x="T4" y="T5"/>
                </a:cxn>
                <a:cxn ang="0">
                  <a:pos x="T6" y="T7"/>
                </a:cxn>
              </a:cxnLst>
              <a:rect l="0" t="0" r="r" b="b"/>
              <a:pathLst>
                <a:path w="55" h="66">
                  <a:moveTo>
                    <a:pt x="53" y="66"/>
                  </a:moveTo>
                  <a:cubicBezTo>
                    <a:pt x="28" y="66"/>
                    <a:pt x="3" y="65"/>
                    <a:pt x="4" y="65"/>
                  </a:cubicBezTo>
                  <a:cubicBezTo>
                    <a:pt x="0" y="13"/>
                    <a:pt x="0" y="13"/>
                    <a:pt x="0" y="13"/>
                  </a:cubicBezTo>
                  <a:cubicBezTo>
                    <a:pt x="0" y="13"/>
                    <a:pt x="22" y="0"/>
                    <a:pt x="55" y="0"/>
                  </a:cubicBezTo>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Freeform 628">
              <a:extLst>
                <a:ext uri="{FF2B5EF4-FFF2-40B4-BE49-F238E27FC236}">
                  <a16:creationId xmlns:a16="http://schemas.microsoft.com/office/drawing/2014/main" id="{413E5719-CAC0-44C9-B8A2-6BDB141F81A6}"/>
                </a:ext>
              </a:extLst>
            </p:cNvPr>
            <p:cNvSpPr>
              <a:spLocks/>
            </p:cNvSpPr>
            <p:nvPr/>
          </p:nvSpPr>
          <p:spPr bwMode="auto">
            <a:xfrm>
              <a:off x="2825442" y="4001145"/>
              <a:ext cx="318807" cy="209217"/>
            </a:xfrm>
            <a:custGeom>
              <a:avLst/>
              <a:gdLst>
                <a:gd name="T0" fmla="*/ 3 w 95"/>
                <a:gd name="T1" fmla="*/ 61 h 62"/>
                <a:gd name="T2" fmla="*/ 0 w 95"/>
                <a:gd name="T3" fmla="*/ 19 h 62"/>
                <a:gd name="T4" fmla="*/ 95 w 95"/>
                <a:gd name="T5" fmla="*/ 23 h 62"/>
                <a:gd name="T6" fmla="*/ 92 w 95"/>
                <a:gd name="T7" fmla="*/ 62 h 62"/>
                <a:gd name="T8" fmla="*/ 3 w 95"/>
                <a:gd name="T9" fmla="*/ 61 h 62"/>
              </a:gdLst>
              <a:ahLst/>
              <a:cxnLst>
                <a:cxn ang="0">
                  <a:pos x="T0" y="T1"/>
                </a:cxn>
                <a:cxn ang="0">
                  <a:pos x="T2" y="T3"/>
                </a:cxn>
                <a:cxn ang="0">
                  <a:pos x="T4" y="T5"/>
                </a:cxn>
                <a:cxn ang="0">
                  <a:pos x="T6" y="T7"/>
                </a:cxn>
                <a:cxn ang="0">
                  <a:pos x="T8" y="T9"/>
                </a:cxn>
              </a:cxnLst>
              <a:rect l="0" t="0" r="r" b="b"/>
              <a:pathLst>
                <a:path w="95" h="62">
                  <a:moveTo>
                    <a:pt x="3" y="61"/>
                  </a:moveTo>
                  <a:cubicBezTo>
                    <a:pt x="0" y="19"/>
                    <a:pt x="0" y="19"/>
                    <a:pt x="0" y="19"/>
                  </a:cubicBezTo>
                  <a:cubicBezTo>
                    <a:pt x="0" y="19"/>
                    <a:pt x="49" y="0"/>
                    <a:pt x="95" y="23"/>
                  </a:cubicBezTo>
                  <a:cubicBezTo>
                    <a:pt x="92" y="62"/>
                    <a:pt x="92" y="62"/>
                    <a:pt x="92" y="62"/>
                  </a:cubicBezTo>
                  <a:cubicBezTo>
                    <a:pt x="92" y="62"/>
                    <a:pt x="1" y="61"/>
                    <a:pt x="3" y="61"/>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8" name="Freeform 629">
              <a:extLst>
                <a:ext uri="{FF2B5EF4-FFF2-40B4-BE49-F238E27FC236}">
                  <a16:creationId xmlns:a16="http://schemas.microsoft.com/office/drawing/2014/main" id="{0BF5F989-90F4-4B2D-BF87-A1434057874E}"/>
                </a:ext>
              </a:extLst>
            </p:cNvPr>
            <p:cNvSpPr>
              <a:spLocks/>
            </p:cNvSpPr>
            <p:nvPr/>
          </p:nvSpPr>
          <p:spPr bwMode="auto">
            <a:xfrm>
              <a:off x="2475327" y="4040993"/>
              <a:ext cx="286071" cy="219179"/>
            </a:xfrm>
            <a:custGeom>
              <a:avLst/>
              <a:gdLst>
                <a:gd name="T0" fmla="*/ 4 w 85"/>
                <a:gd name="T1" fmla="*/ 64 h 65"/>
                <a:gd name="T2" fmla="*/ 0 w 85"/>
                <a:gd name="T3" fmla="*/ 20 h 65"/>
                <a:gd name="T4" fmla="*/ 83 w 85"/>
                <a:gd name="T5" fmla="*/ 17 h 65"/>
                <a:gd name="T6" fmla="*/ 85 w 85"/>
                <a:gd name="T7" fmla="*/ 55 h 65"/>
                <a:gd name="T8" fmla="*/ 4 w 85"/>
                <a:gd name="T9" fmla="*/ 64 h 65"/>
              </a:gdLst>
              <a:ahLst/>
              <a:cxnLst>
                <a:cxn ang="0">
                  <a:pos x="T0" y="T1"/>
                </a:cxn>
                <a:cxn ang="0">
                  <a:pos x="T2" y="T3"/>
                </a:cxn>
                <a:cxn ang="0">
                  <a:pos x="T4" y="T5"/>
                </a:cxn>
                <a:cxn ang="0">
                  <a:pos x="T6" y="T7"/>
                </a:cxn>
                <a:cxn ang="0">
                  <a:pos x="T8" y="T9"/>
                </a:cxn>
              </a:cxnLst>
              <a:rect l="0" t="0" r="r" b="b"/>
              <a:pathLst>
                <a:path w="85" h="65">
                  <a:moveTo>
                    <a:pt x="4" y="64"/>
                  </a:moveTo>
                  <a:cubicBezTo>
                    <a:pt x="0" y="20"/>
                    <a:pt x="0" y="20"/>
                    <a:pt x="0" y="20"/>
                  </a:cubicBezTo>
                  <a:cubicBezTo>
                    <a:pt x="0" y="20"/>
                    <a:pt x="36" y="0"/>
                    <a:pt x="83" y="17"/>
                  </a:cubicBezTo>
                  <a:cubicBezTo>
                    <a:pt x="85" y="55"/>
                    <a:pt x="85" y="55"/>
                    <a:pt x="85" y="55"/>
                  </a:cubicBezTo>
                  <a:cubicBezTo>
                    <a:pt x="85" y="55"/>
                    <a:pt x="3" y="65"/>
                    <a:pt x="4" y="64"/>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9" name="Freeform 630">
              <a:extLst>
                <a:ext uri="{FF2B5EF4-FFF2-40B4-BE49-F238E27FC236}">
                  <a16:creationId xmlns:a16="http://schemas.microsoft.com/office/drawing/2014/main" id="{63FBABBF-89F6-47B8-919B-1846B0FE803F}"/>
                </a:ext>
              </a:extLst>
            </p:cNvPr>
            <p:cNvSpPr>
              <a:spLocks/>
            </p:cNvSpPr>
            <p:nvPr/>
          </p:nvSpPr>
          <p:spPr bwMode="auto">
            <a:xfrm>
              <a:off x="2367160" y="4072306"/>
              <a:ext cx="555065" cy="567875"/>
            </a:xfrm>
            <a:custGeom>
              <a:avLst/>
              <a:gdLst>
                <a:gd name="T0" fmla="*/ 12 w 390"/>
                <a:gd name="T1" fmla="*/ 326 h 399"/>
                <a:gd name="T2" fmla="*/ 0 w 390"/>
                <a:gd name="T3" fmla="*/ 82 h 399"/>
                <a:gd name="T4" fmla="*/ 381 w 390"/>
                <a:gd name="T5" fmla="*/ 0 h 399"/>
                <a:gd name="T6" fmla="*/ 390 w 390"/>
                <a:gd name="T7" fmla="*/ 399 h 399"/>
                <a:gd name="T8" fmla="*/ 12 w 390"/>
                <a:gd name="T9" fmla="*/ 326 h 399"/>
              </a:gdLst>
              <a:ahLst/>
              <a:cxnLst>
                <a:cxn ang="0">
                  <a:pos x="T0" y="T1"/>
                </a:cxn>
                <a:cxn ang="0">
                  <a:pos x="T2" y="T3"/>
                </a:cxn>
                <a:cxn ang="0">
                  <a:pos x="T4" y="T5"/>
                </a:cxn>
                <a:cxn ang="0">
                  <a:pos x="T6" y="T7"/>
                </a:cxn>
                <a:cxn ang="0">
                  <a:pos x="T8" y="T9"/>
                </a:cxn>
              </a:cxnLst>
              <a:rect l="0" t="0" r="r" b="b"/>
              <a:pathLst>
                <a:path w="390" h="399">
                  <a:moveTo>
                    <a:pt x="12" y="326"/>
                  </a:moveTo>
                  <a:lnTo>
                    <a:pt x="0" y="82"/>
                  </a:lnTo>
                  <a:lnTo>
                    <a:pt x="381" y="0"/>
                  </a:lnTo>
                  <a:lnTo>
                    <a:pt x="390" y="399"/>
                  </a:lnTo>
                  <a:lnTo>
                    <a:pt x="12" y="326"/>
                  </a:lnTo>
                  <a:close/>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0" name="Freeform 631">
              <a:extLst>
                <a:ext uri="{FF2B5EF4-FFF2-40B4-BE49-F238E27FC236}">
                  <a16:creationId xmlns:a16="http://schemas.microsoft.com/office/drawing/2014/main" id="{64B11C8E-54CB-4B5B-ABFB-863B5F58AB8C}"/>
                </a:ext>
              </a:extLst>
            </p:cNvPr>
            <p:cNvSpPr>
              <a:spLocks/>
            </p:cNvSpPr>
            <p:nvPr/>
          </p:nvSpPr>
          <p:spPr bwMode="auto">
            <a:xfrm>
              <a:off x="1594339" y="4449467"/>
              <a:ext cx="325923" cy="254761"/>
            </a:xfrm>
            <a:custGeom>
              <a:avLst/>
              <a:gdLst>
                <a:gd name="T0" fmla="*/ 5 w 97"/>
                <a:gd name="T1" fmla="*/ 76 h 76"/>
                <a:gd name="T2" fmla="*/ 0 w 97"/>
                <a:gd name="T3" fmla="*/ 25 h 76"/>
                <a:gd name="T4" fmla="*/ 94 w 97"/>
                <a:gd name="T5" fmla="*/ 19 h 76"/>
                <a:gd name="T6" fmla="*/ 97 w 97"/>
                <a:gd name="T7" fmla="*/ 65 h 76"/>
                <a:gd name="T8" fmla="*/ 5 w 97"/>
                <a:gd name="T9" fmla="*/ 76 h 76"/>
              </a:gdLst>
              <a:ahLst/>
              <a:cxnLst>
                <a:cxn ang="0">
                  <a:pos x="T0" y="T1"/>
                </a:cxn>
                <a:cxn ang="0">
                  <a:pos x="T2" y="T3"/>
                </a:cxn>
                <a:cxn ang="0">
                  <a:pos x="T4" y="T5"/>
                </a:cxn>
                <a:cxn ang="0">
                  <a:pos x="T6" y="T7"/>
                </a:cxn>
                <a:cxn ang="0">
                  <a:pos x="T8" y="T9"/>
                </a:cxn>
              </a:cxnLst>
              <a:rect l="0" t="0" r="r" b="b"/>
              <a:pathLst>
                <a:path w="97" h="76">
                  <a:moveTo>
                    <a:pt x="5" y="76"/>
                  </a:moveTo>
                  <a:cubicBezTo>
                    <a:pt x="0" y="25"/>
                    <a:pt x="0" y="25"/>
                    <a:pt x="0" y="25"/>
                  </a:cubicBezTo>
                  <a:cubicBezTo>
                    <a:pt x="0" y="25"/>
                    <a:pt x="40" y="0"/>
                    <a:pt x="94" y="19"/>
                  </a:cubicBezTo>
                  <a:cubicBezTo>
                    <a:pt x="97" y="65"/>
                    <a:pt x="97" y="65"/>
                    <a:pt x="97" y="65"/>
                  </a:cubicBezTo>
                  <a:cubicBezTo>
                    <a:pt x="97" y="65"/>
                    <a:pt x="3" y="76"/>
                    <a:pt x="5" y="76"/>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1" name="Freeform 632">
              <a:extLst>
                <a:ext uri="{FF2B5EF4-FFF2-40B4-BE49-F238E27FC236}">
                  <a16:creationId xmlns:a16="http://schemas.microsoft.com/office/drawing/2014/main" id="{097875E6-519B-4BE1-9E19-CF97D1DE6B56}"/>
                </a:ext>
              </a:extLst>
            </p:cNvPr>
            <p:cNvSpPr>
              <a:spLocks/>
            </p:cNvSpPr>
            <p:nvPr/>
          </p:nvSpPr>
          <p:spPr bwMode="auto">
            <a:xfrm>
              <a:off x="2438323" y="4425271"/>
              <a:ext cx="278955" cy="222027"/>
            </a:xfrm>
            <a:custGeom>
              <a:avLst/>
              <a:gdLst>
                <a:gd name="T0" fmla="*/ 2 w 83"/>
                <a:gd name="T1" fmla="*/ 61 h 66"/>
                <a:gd name="T2" fmla="*/ 0 w 83"/>
                <a:gd name="T3" fmla="*/ 20 h 66"/>
                <a:gd name="T4" fmla="*/ 83 w 83"/>
                <a:gd name="T5" fmla="*/ 23 h 66"/>
                <a:gd name="T6" fmla="*/ 80 w 83"/>
                <a:gd name="T7" fmla="*/ 66 h 66"/>
                <a:gd name="T8" fmla="*/ 2 w 83"/>
                <a:gd name="T9" fmla="*/ 61 h 66"/>
              </a:gdLst>
              <a:ahLst/>
              <a:cxnLst>
                <a:cxn ang="0">
                  <a:pos x="T0" y="T1"/>
                </a:cxn>
                <a:cxn ang="0">
                  <a:pos x="T2" y="T3"/>
                </a:cxn>
                <a:cxn ang="0">
                  <a:pos x="T4" y="T5"/>
                </a:cxn>
                <a:cxn ang="0">
                  <a:pos x="T6" y="T7"/>
                </a:cxn>
                <a:cxn ang="0">
                  <a:pos x="T8" y="T9"/>
                </a:cxn>
              </a:cxnLst>
              <a:rect l="0" t="0" r="r" b="b"/>
              <a:pathLst>
                <a:path w="83" h="66">
                  <a:moveTo>
                    <a:pt x="2" y="61"/>
                  </a:moveTo>
                  <a:cubicBezTo>
                    <a:pt x="0" y="20"/>
                    <a:pt x="0" y="20"/>
                    <a:pt x="0" y="20"/>
                  </a:cubicBezTo>
                  <a:cubicBezTo>
                    <a:pt x="0" y="20"/>
                    <a:pt x="44" y="0"/>
                    <a:pt x="83" y="23"/>
                  </a:cubicBezTo>
                  <a:cubicBezTo>
                    <a:pt x="80" y="66"/>
                    <a:pt x="80" y="66"/>
                    <a:pt x="80" y="66"/>
                  </a:cubicBezTo>
                  <a:cubicBezTo>
                    <a:pt x="80" y="66"/>
                    <a:pt x="0" y="61"/>
                    <a:pt x="2" y="61"/>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2" name="Freeform 633">
              <a:extLst>
                <a:ext uri="{FF2B5EF4-FFF2-40B4-BE49-F238E27FC236}">
                  <a16:creationId xmlns:a16="http://schemas.microsoft.com/office/drawing/2014/main" id="{57E5A3A6-A0AF-498A-95C1-0DA5D03955FA}"/>
                </a:ext>
              </a:extLst>
            </p:cNvPr>
            <p:cNvSpPr>
              <a:spLocks/>
            </p:cNvSpPr>
            <p:nvPr/>
          </p:nvSpPr>
          <p:spPr bwMode="auto">
            <a:xfrm>
              <a:off x="1446320" y="4472237"/>
              <a:ext cx="693119" cy="1427514"/>
            </a:xfrm>
            <a:custGeom>
              <a:avLst/>
              <a:gdLst>
                <a:gd name="T0" fmla="*/ 45 w 206"/>
                <a:gd name="T1" fmla="*/ 370 h 424"/>
                <a:gd name="T2" fmla="*/ 39 w 206"/>
                <a:gd name="T3" fmla="*/ 352 h 424"/>
                <a:gd name="T4" fmla="*/ 28 w 206"/>
                <a:gd name="T5" fmla="*/ 231 h 424"/>
                <a:gd name="T6" fmla="*/ 20 w 206"/>
                <a:gd name="T7" fmla="*/ 179 h 424"/>
                <a:gd name="T8" fmla="*/ 7 w 206"/>
                <a:gd name="T9" fmla="*/ 61 h 424"/>
                <a:gd name="T10" fmla="*/ 196 w 206"/>
                <a:gd name="T11" fmla="*/ 0 h 424"/>
                <a:gd name="T12" fmla="*/ 206 w 206"/>
                <a:gd name="T13" fmla="*/ 424 h 424"/>
                <a:gd name="T14" fmla="*/ 86 w 206"/>
                <a:gd name="T15" fmla="*/ 388 h 424"/>
                <a:gd name="T16" fmla="*/ 45 w 206"/>
                <a:gd name="T17" fmla="*/ 37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424">
                  <a:moveTo>
                    <a:pt x="45" y="370"/>
                  </a:moveTo>
                  <a:cubicBezTo>
                    <a:pt x="42" y="366"/>
                    <a:pt x="40" y="360"/>
                    <a:pt x="39" y="352"/>
                  </a:cubicBezTo>
                  <a:cubicBezTo>
                    <a:pt x="32" y="312"/>
                    <a:pt x="33" y="272"/>
                    <a:pt x="28" y="231"/>
                  </a:cubicBezTo>
                  <a:cubicBezTo>
                    <a:pt x="25" y="214"/>
                    <a:pt x="22" y="197"/>
                    <a:pt x="20" y="179"/>
                  </a:cubicBezTo>
                  <a:cubicBezTo>
                    <a:pt x="19" y="169"/>
                    <a:pt x="0" y="63"/>
                    <a:pt x="7" y="61"/>
                  </a:cubicBezTo>
                  <a:cubicBezTo>
                    <a:pt x="196" y="0"/>
                    <a:pt x="196" y="0"/>
                    <a:pt x="196" y="0"/>
                  </a:cubicBezTo>
                  <a:cubicBezTo>
                    <a:pt x="206" y="424"/>
                    <a:pt x="206" y="424"/>
                    <a:pt x="206" y="424"/>
                  </a:cubicBezTo>
                  <a:cubicBezTo>
                    <a:pt x="206" y="418"/>
                    <a:pt x="96" y="391"/>
                    <a:pt x="86" y="388"/>
                  </a:cubicBezTo>
                  <a:cubicBezTo>
                    <a:pt x="65" y="382"/>
                    <a:pt x="52" y="381"/>
                    <a:pt x="45" y="370"/>
                  </a:cubicBezTo>
                  <a:close/>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3" name="Freeform 634">
              <a:extLst>
                <a:ext uri="{FF2B5EF4-FFF2-40B4-BE49-F238E27FC236}">
                  <a16:creationId xmlns:a16="http://schemas.microsoft.com/office/drawing/2014/main" id="{8FC5522D-F198-43E7-A7BC-E1571774B1BD}"/>
                </a:ext>
              </a:extLst>
            </p:cNvPr>
            <p:cNvSpPr>
              <a:spLocks/>
            </p:cNvSpPr>
            <p:nvPr/>
          </p:nvSpPr>
          <p:spPr bwMode="auto">
            <a:xfrm>
              <a:off x="1594339" y="4489317"/>
              <a:ext cx="175059" cy="214909"/>
            </a:xfrm>
            <a:custGeom>
              <a:avLst/>
              <a:gdLst>
                <a:gd name="T0" fmla="*/ 52 w 52"/>
                <a:gd name="T1" fmla="*/ 58 h 64"/>
                <a:gd name="T2" fmla="*/ 5 w 52"/>
                <a:gd name="T3" fmla="*/ 64 h 64"/>
                <a:gd name="T4" fmla="*/ 0 w 52"/>
                <a:gd name="T5" fmla="*/ 13 h 64"/>
                <a:gd name="T6" fmla="*/ 48 w 52"/>
                <a:gd name="T7" fmla="*/ 0 h 64"/>
              </a:gdLst>
              <a:ahLst/>
              <a:cxnLst>
                <a:cxn ang="0">
                  <a:pos x="T0" y="T1"/>
                </a:cxn>
                <a:cxn ang="0">
                  <a:pos x="T2" y="T3"/>
                </a:cxn>
                <a:cxn ang="0">
                  <a:pos x="T4" y="T5"/>
                </a:cxn>
                <a:cxn ang="0">
                  <a:pos x="T6" y="T7"/>
                </a:cxn>
              </a:cxnLst>
              <a:rect l="0" t="0" r="r" b="b"/>
              <a:pathLst>
                <a:path w="52" h="64">
                  <a:moveTo>
                    <a:pt x="52" y="58"/>
                  </a:moveTo>
                  <a:cubicBezTo>
                    <a:pt x="28" y="61"/>
                    <a:pt x="4" y="64"/>
                    <a:pt x="5" y="64"/>
                  </a:cubicBezTo>
                  <a:cubicBezTo>
                    <a:pt x="0" y="13"/>
                    <a:pt x="0" y="13"/>
                    <a:pt x="0" y="13"/>
                  </a:cubicBezTo>
                  <a:cubicBezTo>
                    <a:pt x="0" y="13"/>
                    <a:pt x="19" y="1"/>
                    <a:pt x="48" y="0"/>
                  </a:cubicBezTo>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4" name="Freeform 635">
              <a:extLst>
                <a:ext uri="{FF2B5EF4-FFF2-40B4-BE49-F238E27FC236}">
                  <a16:creationId xmlns:a16="http://schemas.microsoft.com/office/drawing/2014/main" id="{2C55FF97-4B31-47BE-B4D2-F2B3A0B146EC}"/>
                </a:ext>
              </a:extLst>
            </p:cNvPr>
            <p:cNvSpPr>
              <a:spLocks/>
            </p:cNvSpPr>
            <p:nvPr/>
          </p:nvSpPr>
          <p:spPr bwMode="auto">
            <a:xfrm>
              <a:off x="2404164" y="4486470"/>
              <a:ext cx="125245" cy="173635"/>
            </a:xfrm>
            <a:custGeom>
              <a:avLst/>
              <a:gdLst>
                <a:gd name="T0" fmla="*/ 37 w 37"/>
                <a:gd name="T1" fmla="*/ 52 h 52"/>
                <a:gd name="T2" fmla="*/ 2 w 37"/>
                <a:gd name="T3" fmla="*/ 51 h 52"/>
                <a:gd name="T4" fmla="*/ 0 w 37"/>
                <a:gd name="T5" fmla="*/ 5 h 52"/>
                <a:gd name="T6" fmla="*/ 37 w 37"/>
                <a:gd name="T7" fmla="*/ 1 h 52"/>
              </a:gdLst>
              <a:ahLst/>
              <a:cxnLst>
                <a:cxn ang="0">
                  <a:pos x="T0" y="T1"/>
                </a:cxn>
                <a:cxn ang="0">
                  <a:pos x="T2" y="T3"/>
                </a:cxn>
                <a:cxn ang="0">
                  <a:pos x="T4" y="T5"/>
                </a:cxn>
                <a:cxn ang="0">
                  <a:pos x="T6" y="T7"/>
                </a:cxn>
              </a:cxnLst>
              <a:rect l="0" t="0" r="r" b="b"/>
              <a:pathLst>
                <a:path w="37" h="52">
                  <a:moveTo>
                    <a:pt x="37" y="52"/>
                  </a:moveTo>
                  <a:cubicBezTo>
                    <a:pt x="17" y="51"/>
                    <a:pt x="1" y="51"/>
                    <a:pt x="2" y="51"/>
                  </a:cubicBezTo>
                  <a:cubicBezTo>
                    <a:pt x="0" y="5"/>
                    <a:pt x="0" y="5"/>
                    <a:pt x="0" y="5"/>
                  </a:cubicBezTo>
                  <a:cubicBezTo>
                    <a:pt x="0" y="5"/>
                    <a:pt x="22" y="0"/>
                    <a:pt x="37" y="1"/>
                  </a:cubicBezTo>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5" name="Freeform 636">
              <a:extLst>
                <a:ext uri="{FF2B5EF4-FFF2-40B4-BE49-F238E27FC236}">
                  <a16:creationId xmlns:a16="http://schemas.microsoft.com/office/drawing/2014/main" id="{3805B0A8-5938-4B86-80C5-E0AB2719A1C0}"/>
                </a:ext>
              </a:extLst>
            </p:cNvPr>
            <p:cNvSpPr>
              <a:spLocks/>
            </p:cNvSpPr>
            <p:nvPr/>
          </p:nvSpPr>
          <p:spPr bwMode="auto">
            <a:xfrm>
              <a:off x="2105283" y="4479354"/>
              <a:ext cx="1396202" cy="1423244"/>
            </a:xfrm>
            <a:custGeom>
              <a:avLst/>
              <a:gdLst>
                <a:gd name="T0" fmla="*/ 0 w 981"/>
                <a:gd name="T1" fmla="*/ 0 h 1000"/>
                <a:gd name="T2" fmla="*/ 981 w 981"/>
                <a:gd name="T3" fmla="*/ 189 h 1000"/>
                <a:gd name="T4" fmla="*/ 979 w 981"/>
                <a:gd name="T5" fmla="*/ 586 h 1000"/>
                <a:gd name="T6" fmla="*/ 962 w 981"/>
                <a:gd name="T7" fmla="*/ 898 h 1000"/>
                <a:gd name="T8" fmla="*/ 26 w 981"/>
                <a:gd name="T9" fmla="*/ 1000 h 1000"/>
                <a:gd name="T10" fmla="*/ 0 w 981"/>
                <a:gd name="T11" fmla="*/ 0 h 1000"/>
              </a:gdLst>
              <a:ahLst/>
              <a:cxnLst>
                <a:cxn ang="0">
                  <a:pos x="T0" y="T1"/>
                </a:cxn>
                <a:cxn ang="0">
                  <a:pos x="T2" y="T3"/>
                </a:cxn>
                <a:cxn ang="0">
                  <a:pos x="T4" y="T5"/>
                </a:cxn>
                <a:cxn ang="0">
                  <a:pos x="T6" y="T7"/>
                </a:cxn>
                <a:cxn ang="0">
                  <a:pos x="T8" y="T9"/>
                </a:cxn>
                <a:cxn ang="0">
                  <a:pos x="T10" y="T11"/>
                </a:cxn>
              </a:cxnLst>
              <a:rect l="0" t="0" r="r" b="b"/>
              <a:pathLst>
                <a:path w="981" h="1000">
                  <a:moveTo>
                    <a:pt x="0" y="0"/>
                  </a:moveTo>
                  <a:lnTo>
                    <a:pt x="981" y="189"/>
                  </a:lnTo>
                  <a:lnTo>
                    <a:pt x="979" y="586"/>
                  </a:lnTo>
                  <a:lnTo>
                    <a:pt x="962" y="898"/>
                  </a:lnTo>
                  <a:lnTo>
                    <a:pt x="26" y="1000"/>
                  </a:lnTo>
                  <a:lnTo>
                    <a:pt x="0" y="0"/>
                  </a:ln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6" name="Freeform 637">
              <a:extLst>
                <a:ext uri="{FF2B5EF4-FFF2-40B4-BE49-F238E27FC236}">
                  <a16:creationId xmlns:a16="http://schemas.microsoft.com/office/drawing/2014/main" id="{296DE76A-D227-4DD4-90E6-D91231138240}"/>
                </a:ext>
              </a:extLst>
            </p:cNvPr>
            <p:cNvSpPr>
              <a:spLocks/>
            </p:cNvSpPr>
            <p:nvPr/>
          </p:nvSpPr>
          <p:spPr bwMode="auto">
            <a:xfrm>
              <a:off x="2475327" y="4077999"/>
              <a:ext cx="138054" cy="179329"/>
            </a:xfrm>
            <a:custGeom>
              <a:avLst/>
              <a:gdLst>
                <a:gd name="T0" fmla="*/ 41 w 41"/>
                <a:gd name="T1" fmla="*/ 49 h 53"/>
                <a:gd name="T2" fmla="*/ 4 w 41"/>
                <a:gd name="T3" fmla="*/ 53 h 53"/>
                <a:gd name="T4" fmla="*/ 0 w 41"/>
                <a:gd name="T5" fmla="*/ 9 h 53"/>
                <a:gd name="T6" fmla="*/ 38 w 41"/>
                <a:gd name="T7" fmla="*/ 0 h 53"/>
              </a:gdLst>
              <a:ahLst/>
              <a:cxnLst>
                <a:cxn ang="0">
                  <a:pos x="T0" y="T1"/>
                </a:cxn>
                <a:cxn ang="0">
                  <a:pos x="T2" y="T3"/>
                </a:cxn>
                <a:cxn ang="0">
                  <a:pos x="T4" y="T5"/>
                </a:cxn>
                <a:cxn ang="0">
                  <a:pos x="T6" y="T7"/>
                </a:cxn>
              </a:cxnLst>
              <a:rect l="0" t="0" r="r" b="b"/>
              <a:pathLst>
                <a:path w="41" h="53">
                  <a:moveTo>
                    <a:pt x="41" y="49"/>
                  </a:moveTo>
                  <a:cubicBezTo>
                    <a:pt x="22" y="51"/>
                    <a:pt x="3" y="53"/>
                    <a:pt x="4" y="53"/>
                  </a:cubicBezTo>
                  <a:cubicBezTo>
                    <a:pt x="0" y="9"/>
                    <a:pt x="0" y="9"/>
                    <a:pt x="0" y="9"/>
                  </a:cubicBezTo>
                  <a:cubicBezTo>
                    <a:pt x="0" y="9"/>
                    <a:pt x="15" y="1"/>
                    <a:pt x="38" y="0"/>
                  </a:cubicBezTo>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7" name="Freeform 638">
              <a:extLst>
                <a:ext uri="{FF2B5EF4-FFF2-40B4-BE49-F238E27FC236}">
                  <a16:creationId xmlns:a16="http://schemas.microsoft.com/office/drawing/2014/main" id="{BC7753AB-76AE-42A3-9454-A8695C435C3C}"/>
                </a:ext>
              </a:extLst>
            </p:cNvPr>
            <p:cNvSpPr>
              <a:spLocks/>
            </p:cNvSpPr>
            <p:nvPr/>
          </p:nvSpPr>
          <p:spPr bwMode="auto">
            <a:xfrm>
              <a:off x="2825442" y="4038150"/>
              <a:ext cx="150864" cy="167943"/>
            </a:xfrm>
            <a:custGeom>
              <a:avLst/>
              <a:gdLst>
                <a:gd name="T0" fmla="*/ 45 w 45"/>
                <a:gd name="T1" fmla="*/ 50 h 50"/>
                <a:gd name="T2" fmla="*/ 3 w 45"/>
                <a:gd name="T3" fmla="*/ 50 h 50"/>
                <a:gd name="T4" fmla="*/ 0 w 45"/>
                <a:gd name="T5" fmla="*/ 8 h 50"/>
                <a:gd name="T6" fmla="*/ 42 w 45"/>
                <a:gd name="T7" fmla="*/ 0 h 50"/>
              </a:gdLst>
              <a:ahLst/>
              <a:cxnLst>
                <a:cxn ang="0">
                  <a:pos x="T0" y="T1"/>
                </a:cxn>
                <a:cxn ang="0">
                  <a:pos x="T2" y="T3"/>
                </a:cxn>
                <a:cxn ang="0">
                  <a:pos x="T4" y="T5"/>
                </a:cxn>
                <a:cxn ang="0">
                  <a:pos x="T6" y="T7"/>
                </a:cxn>
              </a:cxnLst>
              <a:rect l="0" t="0" r="r" b="b"/>
              <a:pathLst>
                <a:path w="45" h="50">
                  <a:moveTo>
                    <a:pt x="45" y="50"/>
                  </a:moveTo>
                  <a:cubicBezTo>
                    <a:pt x="23" y="50"/>
                    <a:pt x="2" y="50"/>
                    <a:pt x="3" y="50"/>
                  </a:cubicBezTo>
                  <a:cubicBezTo>
                    <a:pt x="0" y="8"/>
                    <a:pt x="0" y="8"/>
                    <a:pt x="0" y="8"/>
                  </a:cubicBezTo>
                  <a:cubicBezTo>
                    <a:pt x="0" y="8"/>
                    <a:pt x="18" y="1"/>
                    <a:pt x="42" y="0"/>
                  </a:cubicBezTo>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 name="Freeform 639">
              <a:extLst>
                <a:ext uri="{FF2B5EF4-FFF2-40B4-BE49-F238E27FC236}">
                  <a16:creationId xmlns:a16="http://schemas.microsoft.com/office/drawing/2014/main" id="{1A6BFB92-4FF6-46D8-8925-1CC705B5FCA5}"/>
                </a:ext>
              </a:extLst>
            </p:cNvPr>
            <p:cNvSpPr>
              <a:spLocks/>
            </p:cNvSpPr>
            <p:nvPr/>
          </p:nvSpPr>
          <p:spPr bwMode="auto">
            <a:xfrm>
              <a:off x="3128595" y="4139200"/>
              <a:ext cx="318807" cy="204947"/>
            </a:xfrm>
            <a:custGeom>
              <a:avLst/>
              <a:gdLst>
                <a:gd name="T0" fmla="*/ 3 w 95"/>
                <a:gd name="T1" fmla="*/ 61 h 61"/>
                <a:gd name="T2" fmla="*/ 0 w 95"/>
                <a:gd name="T3" fmla="*/ 19 h 61"/>
                <a:gd name="T4" fmla="*/ 95 w 95"/>
                <a:gd name="T5" fmla="*/ 23 h 61"/>
                <a:gd name="T6" fmla="*/ 92 w 95"/>
                <a:gd name="T7" fmla="*/ 61 h 61"/>
                <a:gd name="T8" fmla="*/ 3 w 95"/>
                <a:gd name="T9" fmla="*/ 61 h 61"/>
              </a:gdLst>
              <a:ahLst/>
              <a:cxnLst>
                <a:cxn ang="0">
                  <a:pos x="T0" y="T1"/>
                </a:cxn>
                <a:cxn ang="0">
                  <a:pos x="T2" y="T3"/>
                </a:cxn>
                <a:cxn ang="0">
                  <a:pos x="T4" y="T5"/>
                </a:cxn>
                <a:cxn ang="0">
                  <a:pos x="T6" y="T7"/>
                </a:cxn>
                <a:cxn ang="0">
                  <a:pos x="T8" y="T9"/>
                </a:cxn>
              </a:cxnLst>
              <a:rect l="0" t="0" r="r" b="b"/>
              <a:pathLst>
                <a:path w="95" h="61">
                  <a:moveTo>
                    <a:pt x="3" y="61"/>
                  </a:moveTo>
                  <a:cubicBezTo>
                    <a:pt x="0" y="19"/>
                    <a:pt x="0" y="19"/>
                    <a:pt x="0" y="19"/>
                  </a:cubicBezTo>
                  <a:cubicBezTo>
                    <a:pt x="0" y="19"/>
                    <a:pt x="49" y="0"/>
                    <a:pt x="95" y="23"/>
                  </a:cubicBezTo>
                  <a:cubicBezTo>
                    <a:pt x="92" y="61"/>
                    <a:pt x="92" y="61"/>
                    <a:pt x="92" y="61"/>
                  </a:cubicBezTo>
                  <a:cubicBezTo>
                    <a:pt x="92" y="61"/>
                    <a:pt x="1" y="61"/>
                    <a:pt x="3" y="61"/>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9" name="Freeform 640">
              <a:extLst>
                <a:ext uri="{FF2B5EF4-FFF2-40B4-BE49-F238E27FC236}">
                  <a16:creationId xmlns:a16="http://schemas.microsoft.com/office/drawing/2014/main" id="{F686BEC4-0DF3-4925-A42F-979ACBD4EE86}"/>
                </a:ext>
              </a:extLst>
            </p:cNvPr>
            <p:cNvSpPr>
              <a:spLocks/>
            </p:cNvSpPr>
            <p:nvPr/>
          </p:nvSpPr>
          <p:spPr bwMode="auto">
            <a:xfrm>
              <a:off x="3128595" y="4176202"/>
              <a:ext cx="150864" cy="167943"/>
            </a:xfrm>
            <a:custGeom>
              <a:avLst/>
              <a:gdLst>
                <a:gd name="T0" fmla="*/ 45 w 45"/>
                <a:gd name="T1" fmla="*/ 50 h 50"/>
                <a:gd name="T2" fmla="*/ 3 w 45"/>
                <a:gd name="T3" fmla="*/ 50 h 50"/>
                <a:gd name="T4" fmla="*/ 0 w 45"/>
                <a:gd name="T5" fmla="*/ 8 h 50"/>
                <a:gd name="T6" fmla="*/ 42 w 45"/>
                <a:gd name="T7" fmla="*/ 0 h 50"/>
              </a:gdLst>
              <a:ahLst/>
              <a:cxnLst>
                <a:cxn ang="0">
                  <a:pos x="T0" y="T1"/>
                </a:cxn>
                <a:cxn ang="0">
                  <a:pos x="T2" y="T3"/>
                </a:cxn>
                <a:cxn ang="0">
                  <a:pos x="T4" y="T5"/>
                </a:cxn>
                <a:cxn ang="0">
                  <a:pos x="T6" y="T7"/>
                </a:cxn>
              </a:cxnLst>
              <a:rect l="0" t="0" r="r" b="b"/>
              <a:pathLst>
                <a:path w="45" h="50">
                  <a:moveTo>
                    <a:pt x="45" y="50"/>
                  </a:moveTo>
                  <a:cubicBezTo>
                    <a:pt x="23" y="50"/>
                    <a:pt x="2" y="50"/>
                    <a:pt x="3" y="50"/>
                  </a:cubicBezTo>
                  <a:cubicBezTo>
                    <a:pt x="0" y="8"/>
                    <a:pt x="0" y="8"/>
                    <a:pt x="0" y="8"/>
                  </a:cubicBezTo>
                  <a:cubicBezTo>
                    <a:pt x="0" y="8"/>
                    <a:pt x="18" y="1"/>
                    <a:pt x="42" y="0"/>
                  </a:cubicBezTo>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 name="Freeform 641">
              <a:extLst>
                <a:ext uri="{FF2B5EF4-FFF2-40B4-BE49-F238E27FC236}">
                  <a16:creationId xmlns:a16="http://schemas.microsoft.com/office/drawing/2014/main" id="{406988BB-D0DE-409B-A026-FB6AE7D36C71}"/>
                </a:ext>
              </a:extLst>
            </p:cNvPr>
            <p:cNvSpPr>
              <a:spLocks/>
            </p:cNvSpPr>
            <p:nvPr/>
          </p:nvSpPr>
          <p:spPr bwMode="auto">
            <a:xfrm>
              <a:off x="2896606" y="4077999"/>
              <a:ext cx="617689" cy="673195"/>
            </a:xfrm>
            <a:custGeom>
              <a:avLst/>
              <a:gdLst>
                <a:gd name="T0" fmla="*/ 0 w 434"/>
                <a:gd name="T1" fmla="*/ 0 h 473"/>
                <a:gd name="T2" fmla="*/ 434 w 434"/>
                <a:gd name="T3" fmla="*/ 187 h 473"/>
                <a:gd name="T4" fmla="*/ 420 w 434"/>
                <a:gd name="T5" fmla="*/ 473 h 473"/>
                <a:gd name="T6" fmla="*/ 9 w 434"/>
                <a:gd name="T7" fmla="*/ 395 h 473"/>
                <a:gd name="T8" fmla="*/ 0 w 434"/>
                <a:gd name="T9" fmla="*/ 0 h 473"/>
              </a:gdLst>
              <a:ahLst/>
              <a:cxnLst>
                <a:cxn ang="0">
                  <a:pos x="T0" y="T1"/>
                </a:cxn>
                <a:cxn ang="0">
                  <a:pos x="T2" y="T3"/>
                </a:cxn>
                <a:cxn ang="0">
                  <a:pos x="T4" y="T5"/>
                </a:cxn>
                <a:cxn ang="0">
                  <a:pos x="T6" y="T7"/>
                </a:cxn>
                <a:cxn ang="0">
                  <a:pos x="T8" y="T9"/>
                </a:cxn>
              </a:cxnLst>
              <a:rect l="0" t="0" r="r" b="b"/>
              <a:pathLst>
                <a:path w="434" h="473">
                  <a:moveTo>
                    <a:pt x="0" y="0"/>
                  </a:moveTo>
                  <a:lnTo>
                    <a:pt x="434" y="187"/>
                  </a:lnTo>
                  <a:lnTo>
                    <a:pt x="420" y="473"/>
                  </a:lnTo>
                  <a:lnTo>
                    <a:pt x="9" y="395"/>
                  </a:lnTo>
                  <a:lnTo>
                    <a:pt x="0" y="0"/>
                  </a:ln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 name="Freeform 653">
              <a:extLst>
                <a:ext uri="{FF2B5EF4-FFF2-40B4-BE49-F238E27FC236}">
                  <a16:creationId xmlns:a16="http://schemas.microsoft.com/office/drawing/2014/main" id="{BD91C331-7E88-4A0B-BF72-0F6B74DD7F58}"/>
                </a:ext>
              </a:extLst>
            </p:cNvPr>
            <p:cNvSpPr>
              <a:spLocks/>
            </p:cNvSpPr>
            <p:nvPr/>
          </p:nvSpPr>
          <p:spPr bwMode="auto">
            <a:xfrm>
              <a:off x="1527447" y="5202362"/>
              <a:ext cx="338732" cy="17078"/>
            </a:xfrm>
            <a:custGeom>
              <a:avLst/>
              <a:gdLst>
                <a:gd name="T0" fmla="*/ 0 w 238"/>
                <a:gd name="T1" fmla="*/ 0 h 12"/>
                <a:gd name="T2" fmla="*/ 238 w 238"/>
                <a:gd name="T3" fmla="*/ 5 h 12"/>
                <a:gd name="T4" fmla="*/ 2 w 238"/>
                <a:gd name="T5" fmla="*/ 12 h 12"/>
                <a:gd name="T6" fmla="*/ 0 w 238"/>
                <a:gd name="T7" fmla="*/ 0 h 12"/>
              </a:gdLst>
              <a:ahLst/>
              <a:cxnLst>
                <a:cxn ang="0">
                  <a:pos x="T0" y="T1"/>
                </a:cxn>
                <a:cxn ang="0">
                  <a:pos x="T2" y="T3"/>
                </a:cxn>
                <a:cxn ang="0">
                  <a:pos x="T4" y="T5"/>
                </a:cxn>
                <a:cxn ang="0">
                  <a:pos x="T6" y="T7"/>
                </a:cxn>
              </a:cxnLst>
              <a:rect l="0" t="0" r="r" b="b"/>
              <a:pathLst>
                <a:path w="238" h="12">
                  <a:moveTo>
                    <a:pt x="0" y="0"/>
                  </a:moveTo>
                  <a:lnTo>
                    <a:pt x="238" y="5"/>
                  </a:lnTo>
                  <a:lnTo>
                    <a:pt x="2" y="12"/>
                  </a:lnTo>
                  <a:lnTo>
                    <a:pt x="0" y="0"/>
                  </a:ln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 name="Freeform 654">
              <a:extLst>
                <a:ext uri="{FF2B5EF4-FFF2-40B4-BE49-F238E27FC236}">
                  <a16:creationId xmlns:a16="http://schemas.microsoft.com/office/drawing/2014/main" id="{73EC142B-D89F-471C-9158-CA320190905B}"/>
                </a:ext>
              </a:extLst>
            </p:cNvPr>
            <p:cNvSpPr>
              <a:spLocks/>
            </p:cNvSpPr>
            <p:nvPr/>
          </p:nvSpPr>
          <p:spPr bwMode="auto">
            <a:xfrm>
              <a:off x="2122363" y="5189553"/>
              <a:ext cx="999116" cy="37004"/>
            </a:xfrm>
            <a:custGeom>
              <a:avLst/>
              <a:gdLst>
                <a:gd name="T0" fmla="*/ 0 w 702"/>
                <a:gd name="T1" fmla="*/ 0 h 26"/>
                <a:gd name="T2" fmla="*/ 702 w 702"/>
                <a:gd name="T3" fmla="*/ 26 h 26"/>
                <a:gd name="T4" fmla="*/ 2 w 702"/>
                <a:gd name="T5" fmla="*/ 12 h 26"/>
                <a:gd name="T6" fmla="*/ 0 w 702"/>
                <a:gd name="T7" fmla="*/ 0 h 26"/>
              </a:gdLst>
              <a:ahLst/>
              <a:cxnLst>
                <a:cxn ang="0">
                  <a:pos x="T0" y="T1"/>
                </a:cxn>
                <a:cxn ang="0">
                  <a:pos x="T2" y="T3"/>
                </a:cxn>
                <a:cxn ang="0">
                  <a:pos x="T4" y="T5"/>
                </a:cxn>
                <a:cxn ang="0">
                  <a:pos x="T6" y="T7"/>
                </a:cxn>
              </a:cxnLst>
              <a:rect l="0" t="0" r="r" b="b"/>
              <a:pathLst>
                <a:path w="702" h="26">
                  <a:moveTo>
                    <a:pt x="0" y="0"/>
                  </a:moveTo>
                  <a:lnTo>
                    <a:pt x="702" y="26"/>
                  </a:lnTo>
                  <a:lnTo>
                    <a:pt x="2" y="12"/>
                  </a:lnTo>
                  <a:lnTo>
                    <a:pt x="0" y="0"/>
                  </a:lnTo>
                  <a:close/>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 name="Freeform 655">
              <a:extLst>
                <a:ext uri="{FF2B5EF4-FFF2-40B4-BE49-F238E27FC236}">
                  <a16:creationId xmlns:a16="http://schemas.microsoft.com/office/drawing/2014/main" id="{78933560-90E1-478E-ADAD-29B5DFD02EAB}"/>
                </a:ext>
              </a:extLst>
            </p:cNvPr>
            <p:cNvSpPr>
              <a:spLocks/>
            </p:cNvSpPr>
            <p:nvPr/>
          </p:nvSpPr>
          <p:spPr bwMode="auto">
            <a:xfrm>
              <a:off x="3168447" y="4698534"/>
              <a:ext cx="330193" cy="66893"/>
            </a:xfrm>
            <a:custGeom>
              <a:avLst/>
              <a:gdLst>
                <a:gd name="T0" fmla="*/ 0 w 232"/>
                <a:gd name="T1" fmla="*/ 0 h 47"/>
                <a:gd name="T2" fmla="*/ 232 w 232"/>
                <a:gd name="T3" fmla="*/ 35 h 47"/>
                <a:gd name="T4" fmla="*/ 232 w 232"/>
                <a:gd name="T5" fmla="*/ 47 h 47"/>
                <a:gd name="T6" fmla="*/ 0 w 232"/>
                <a:gd name="T7" fmla="*/ 0 h 47"/>
              </a:gdLst>
              <a:ahLst/>
              <a:cxnLst>
                <a:cxn ang="0">
                  <a:pos x="T0" y="T1"/>
                </a:cxn>
                <a:cxn ang="0">
                  <a:pos x="T2" y="T3"/>
                </a:cxn>
                <a:cxn ang="0">
                  <a:pos x="T4" y="T5"/>
                </a:cxn>
                <a:cxn ang="0">
                  <a:pos x="T6" y="T7"/>
                </a:cxn>
              </a:cxnLst>
              <a:rect l="0" t="0" r="r" b="b"/>
              <a:pathLst>
                <a:path w="232" h="47">
                  <a:moveTo>
                    <a:pt x="0" y="0"/>
                  </a:moveTo>
                  <a:lnTo>
                    <a:pt x="232" y="35"/>
                  </a:lnTo>
                  <a:lnTo>
                    <a:pt x="232" y="47"/>
                  </a:lnTo>
                  <a:lnTo>
                    <a:pt x="0" y="0"/>
                  </a:lnTo>
                  <a:close/>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 name="Freeform 692">
              <a:extLst>
                <a:ext uri="{FF2B5EF4-FFF2-40B4-BE49-F238E27FC236}">
                  <a16:creationId xmlns:a16="http://schemas.microsoft.com/office/drawing/2014/main" id="{0C4978DD-63AA-4FE9-891C-99BC35172FAA}"/>
                </a:ext>
              </a:extLst>
            </p:cNvPr>
            <p:cNvSpPr>
              <a:spLocks/>
            </p:cNvSpPr>
            <p:nvPr/>
          </p:nvSpPr>
          <p:spPr bwMode="auto">
            <a:xfrm>
              <a:off x="2452556" y="5586638"/>
              <a:ext cx="140901" cy="278955"/>
            </a:xfrm>
            <a:custGeom>
              <a:avLst/>
              <a:gdLst>
                <a:gd name="T0" fmla="*/ 0 w 99"/>
                <a:gd name="T1" fmla="*/ 0 h 196"/>
                <a:gd name="T2" fmla="*/ 99 w 99"/>
                <a:gd name="T3" fmla="*/ 2 h 196"/>
                <a:gd name="T4" fmla="*/ 99 w 99"/>
                <a:gd name="T5" fmla="*/ 187 h 196"/>
                <a:gd name="T6" fmla="*/ 11 w 99"/>
                <a:gd name="T7" fmla="*/ 196 h 196"/>
                <a:gd name="T8" fmla="*/ 0 w 99"/>
                <a:gd name="T9" fmla="*/ 0 h 196"/>
              </a:gdLst>
              <a:ahLst/>
              <a:cxnLst>
                <a:cxn ang="0">
                  <a:pos x="T0" y="T1"/>
                </a:cxn>
                <a:cxn ang="0">
                  <a:pos x="T2" y="T3"/>
                </a:cxn>
                <a:cxn ang="0">
                  <a:pos x="T4" y="T5"/>
                </a:cxn>
                <a:cxn ang="0">
                  <a:pos x="T6" y="T7"/>
                </a:cxn>
                <a:cxn ang="0">
                  <a:pos x="T8" y="T9"/>
                </a:cxn>
              </a:cxnLst>
              <a:rect l="0" t="0" r="r" b="b"/>
              <a:pathLst>
                <a:path w="99" h="196">
                  <a:moveTo>
                    <a:pt x="0" y="0"/>
                  </a:moveTo>
                  <a:lnTo>
                    <a:pt x="99" y="2"/>
                  </a:lnTo>
                  <a:lnTo>
                    <a:pt x="99" y="187"/>
                  </a:lnTo>
                  <a:lnTo>
                    <a:pt x="11" y="196"/>
                  </a:lnTo>
                  <a:lnTo>
                    <a:pt x="0" y="0"/>
                  </a:lnTo>
                  <a:close/>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 name="Freeform 693">
              <a:extLst>
                <a:ext uri="{FF2B5EF4-FFF2-40B4-BE49-F238E27FC236}">
                  <a16:creationId xmlns:a16="http://schemas.microsoft.com/office/drawing/2014/main" id="{885752A5-AE90-44A6-BDA5-BA32834C475B}"/>
                </a:ext>
              </a:extLst>
            </p:cNvPr>
            <p:cNvSpPr>
              <a:spLocks/>
            </p:cNvSpPr>
            <p:nvPr/>
          </p:nvSpPr>
          <p:spPr bwMode="auto">
            <a:xfrm>
              <a:off x="2828292" y="5539672"/>
              <a:ext cx="278955" cy="281802"/>
            </a:xfrm>
            <a:custGeom>
              <a:avLst/>
              <a:gdLst>
                <a:gd name="T0" fmla="*/ 0 w 196"/>
                <a:gd name="T1" fmla="*/ 7 h 198"/>
                <a:gd name="T2" fmla="*/ 196 w 196"/>
                <a:gd name="T3" fmla="*/ 0 h 198"/>
                <a:gd name="T4" fmla="*/ 196 w 196"/>
                <a:gd name="T5" fmla="*/ 177 h 198"/>
                <a:gd name="T6" fmla="*/ 5 w 196"/>
                <a:gd name="T7" fmla="*/ 198 h 198"/>
                <a:gd name="T8" fmla="*/ 0 w 196"/>
                <a:gd name="T9" fmla="*/ 7 h 198"/>
              </a:gdLst>
              <a:ahLst/>
              <a:cxnLst>
                <a:cxn ang="0">
                  <a:pos x="T0" y="T1"/>
                </a:cxn>
                <a:cxn ang="0">
                  <a:pos x="T2" y="T3"/>
                </a:cxn>
                <a:cxn ang="0">
                  <a:pos x="T4" y="T5"/>
                </a:cxn>
                <a:cxn ang="0">
                  <a:pos x="T6" y="T7"/>
                </a:cxn>
                <a:cxn ang="0">
                  <a:pos x="T8" y="T9"/>
                </a:cxn>
              </a:cxnLst>
              <a:rect l="0" t="0" r="r" b="b"/>
              <a:pathLst>
                <a:path w="196" h="198">
                  <a:moveTo>
                    <a:pt x="0" y="7"/>
                  </a:moveTo>
                  <a:lnTo>
                    <a:pt x="196" y="0"/>
                  </a:lnTo>
                  <a:lnTo>
                    <a:pt x="196" y="177"/>
                  </a:lnTo>
                  <a:lnTo>
                    <a:pt x="5" y="198"/>
                  </a:lnTo>
                  <a:lnTo>
                    <a:pt x="0" y="7"/>
                  </a:lnTo>
                  <a:close/>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 name="Freeform 694">
              <a:extLst>
                <a:ext uri="{FF2B5EF4-FFF2-40B4-BE49-F238E27FC236}">
                  <a16:creationId xmlns:a16="http://schemas.microsoft.com/office/drawing/2014/main" id="{AE867ED8-1CCF-4386-8C14-95FE5284C2CB}"/>
                </a:ext>
              </a:extLst>
            </p:cNvPr>
            <p:cNvSpPr>
              <a:spLocks/>
            </p:cNvSpPr>
            <p:nvPr/>
          </p:nvSpPr>
          <p:spPr bwMode="auto">
            <a:xfrm>
              <a:off x="3151368" y="5505513"/>
              <a:ext cx="251915" cy="283225"/>
            </a:xfrm>
            <a:custGeom>
              <a:avLst/>
              <a:gdLst>
                <a:gd name="T0" fmla="*/ 3 w 177"/>
                <a:gd name="T1" fmla="*/ 10 h 199"/>
                <a:gd name="T2" fmla="*/ 177 w 177"/>
                <a:gd name="T3" fmla="*/ 0 h 199"/>
                <a:gd name="T4" fmla="*/ 175 w 177"/>
                <a:gd name="T5" fmla="*/ 182 h 199"/>
                <a:gd name="T6" fmla="*/ 0 w 177"/>
                <a:gd name="T7" fmla="*/ 199 h 199"/>
                <a:gd name="T8" fmla="*/ 3 w 177"/>
                <a:gd name="T9" fmla="*/ 10 h 199"/>
              </a:gdLst>
              <a:ahLst/>
              <a:cxnLst>
                <a:cxn ang="0">
                  <a:pos x="T0" y="T1"/>
                </a:cxn>
                <a:cxn ang="0">
                  <a:pos x="T2" y="T3"/>
                </a:cxn>
                <a:cxn ang="0">
                  <a:pos x="T4" y="T5"/>
                </a:cxn>
                <a:cxn ang="0">
                  <a:pos x="T6" y="T7"/>
                </a:cxn>
                <a:cxn ang="0">
                  <a:pos x="T8" y="T9"/>
                </a:cxn>
              </a:cxnLst>
              <a:rect l="0" t="0" r="r" b="b"/>
              <a:pathLst>
                <a:path w="177" h="199">
                  <a:moveTo>
                    <a:pt x="3" y="10"/>
                  </a:moveTo>
                  <a:lnTo>
                    <a:pt x="177" y="0"/>
                  </a:lnTo>
                  <a:lnTo>
                    <a:pt x="175" y="182"/>
                  </a:lnTo>
                  <a:lnTo>
                    <a:pt x="0" y="199"/>
                  </a:lnTo>
                  <a:lnTo>
                    <a:pt x="3" y="10"/>
                  </a:lnTo>
                  <a:close/>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 name="Freeform 700">
              <a:extLst>
                <a:ext uri="{FF2B5EF4-FFF2-40B4-BE49-F238E27FC236}">
                  <a16:creationId xmlns:a16="http://schemas.microsoft.com/office/drawing/2014/main" id="{2D659DF9-3CAF-4CEB-9C5D-37A3105DECA9}"/>
                </a:ext>
              </a:extLst>
            </p:cNvPr>
            <p:cNvSpPr>
              <a:spLocks/>
            </p:cNvSpPr>
            <p:nvPr/>
          </p:nvSpPr>
          <p:spPr bwMode="auto">
            <a:xfrm>
              <a:off x="2909175" y="4255953"/>
              <a:ext cx="99472" cy="235371"/>
            </a:xfrm>
            <a:custGeom>
              <a:avLst/>
              <a:gdLst>
                <a:gd name="T0" fmla="*/ 71 w 71"/>
                <a:gd name="T1" fmla="*/ 168 h 168"/>
                <a:gd name="T2" fmla="*/ 0 w 71"/>
                <a:gd name="T3" fmla="*/ 154 h 168"/>
                <a:gd name="T4" fmla="*/ 0 w 71"/>
                <a:gd name="T5" fmla="*/ 0 h 168"/>
                <a:gd name="T6" fmla="*/ 71 w 71"/>
                <a:gd name="T7" fmla="*/ 23 h 168"/>
                <a:gd name="T8" fmla="*/ 71 w 71"/>
                <a:gd name="T9" fmla="*/ 168 h 168"/>
              </a:gdLst>
              <a:ahLst/>
              <a:cxnLst>
                <a:cxn ang="0">
                  <a:pos x="T0" y="T1"/>
                </a:cxn>
                <a:cxn ang="0">
                  <a:pos x="T2" y="T3"/>
                </a:cxn>
                <a:cxn ang="0">
                  <a:pos x="T4" y="T5"/>
                </a:cxn>
                <a:cxn ang="0">
                  <a:pos x="T6" y="T7"/>
                </a:cxn>
                <a:cxn ang="0">
                  <a:pos x="T8" y="T9"/>
                </a:cxn>
              </a:cxnLst>
              <a:rect l="0" t="0" r="r" b="b"/>
              <a:pathLst>
                <a:path w="71" h="168">
                  <a:moveTo>
                    <a:pt x="71" y="168"/>
                  </a:moveTo>
                  <a:lnTo>
                    <a:pt x="0" y="154"/>
                  </a:lnTo>
                  <a:lnTo>
                    <a:pt x="0" y="0"/>
                  </a:lnTo>
                  <a:lnTo>
                    <a:pt x="71" y="23"/>
                  </a:lnTo>
                  <a:lnTo>
                    <a:pt x="71"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 name="Freeform 702">
              <a:extLst>
                <a:ext uri="{FF2B5EF4-FFF2-40B4-BE49-F238E27FC236}">
                  <a16:creationId xmlns:a16="http://schemas.microsoft.com/office/drawing/2014/main" id="{FC5AB5BC-4566-4F34-B370-CB94F17DA628}"/>
                </a:ext>
              </a:extLst>
            </p:cNvPr>
            <p:cNvSpPr>
              <a:spLocks/>
            </p:cNvSpPr>
            <p:nvPr/>
          </p:nvSpPr>
          <p:spPr bwMode="auto">
            <a:xfrm>
              <a:off x="3046474" y="4302186"/>
              <a:ext cx="225564" cy="246579"/>
            </a:xfrm>
            <a:custGeom>
              <a:avLst/>
              <a:gdLst>
                <a:gd name="T0" fmla="*/ 0 w 161"/>
                <a:gd name="T1" fmla="*/ 0 h 176"/>
                <a:gd name="T2" fmla="*/ 0 w 161"/>
                <a:gd name="T3" fmla="*/ 142 h 176"/>
                <a:gd name="T4" fmla="*/ 154 w 161"/>
                <a:gd name="T5" fmla="*/ 176 h 176"/>
                <a:gd name="T6" fmla="*/ 161 w 161"/>
                <a:gd name="T7" fmla="*/ 52 h 176"/>
                <a:gd name="T8" fmla="*/ 0 w 161"/>
                <a:gd name="T9" fmla="*/ 0 h 176"/>
              </a:gdLst>
              <a:ahLst/>
              <a:cxnLst>
                <a:cxn ang="0">
                  <a:pos x="T0" y="T1"/>
                </a:cxn>
                <a:cxn ang="0">
                  <a:pos x="T2" y="T3"/>
                </a:cxn>
                <a:cxn ang="0">
                  <a:pos x="T4" y="T5"/>
                </a:cxn>
                <a:cxn ang="0">
                  <a:pos x="T6" y="T7"/>
                </a:cxn>
                <a:cxn ang="0">
                  <a:pos x="T8" y="T9"/>
                </a:cxn>
              </a:cxnLst>
              <a:rect l="0" t="0" r="r" b="b"/>
              <a:pathLst>
                <a:path w="161" h="176">
                  <a:moveTo>
                    <a:pt x="0" y="0"/>
                  </a:moveTo>
                  <a:lnTo>
                    <a:pt x="0" y="142"/>
                  </a:lnTo>
                  <a:lnTo>
                    <a:pt x="154" y="176"/>
                  </a:lnTo>
                  <a:lnTo>
                    <a:pt x="161" y="52"/>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 name="Freeform 703">
              <a:extLst>
                <a:ext uri="{FF2B5EF4-FFF2-40B4-BE49-F238E27FC236}">
                  <a16:creationId xmlns:a16="http://schemas.microsoft.com/office/drawing/2014/main" id="{46EE5D58-7784-4DC1-82AE-365566210FAA}"/>
                </a:ext>
              </a:extLst>
            </p:cNvPr>
            <p:cNvSpPr>
              <a:spLocks/>
            </p:cNvSpPr>
            <p:nvPr/>
          </p:nvSpPr>
          <p:spPr bwMode="auto">
            <a:xfrm>
              <a:off x="3298658" y="4391851"/>
              <a:ext cx="193340" cy="205950"/>
            </a:xfrm>
            <a:custGeom>
              <a:avLst/>
              <a:gdLst>
                <a:gd name="T0" fmla="*/ 0 w 138"/>
                <a:gd name="T1" fmla="*/ 0 h 147"/>
                <a:gd name="T2" fmla="*/ 0 w 138"/>
                <a:gd name="T3" fmla="*/ 112 h 147"/>
                <a:gd name="T4" fmla="*/ 138 w 138"/>
                <a:gd name="T5" fmla="*/ 147 h 147"/>
                <a:gd name="T6" fmla="*/ 138 w 138"/>
                <a:gd name="T7" fmla="*/ 36 h 147"/>
                <a:gd name="T8" fmla="*/ 0 w 138"/>
                <a:gd name="T9" fmla="*/ 0 h 147"/>
              </a:gdLst>
              <a:ahLst/>
              <a:cxnLst>
                <a:cxn ang="0">
                  <a:pos x="T0" y="T1"/>
                </a:cxn>
                <a:cxn ang="0">
                  <a:pos x="T2" y="T3"/>
                </a:cxn>
                <a:cxn ang="0">
                  <a:pos x="T4" y="T5"/>
                </a:cxn>
                <a:cxn ang="0">
                  <a:pos x="T6" y="T7"/>
                </a:cxn>
                <a:cxn ang="0">
                  <a:pos x="T8" y="T9"/>
                </a:cxn>
              </a:cxnLst>
              <a:rect l="0" t="0" r="r" b="b"/>
              <a:pathLst>
                <a:path w="138" h="147">
                  <a:moveTo>
                    <a:pt x="0" y="0"/>
                  </a:moveTo>
                  <a:lnTo>
                    <a:pt x="0" y="112"/>
                  </a:lnTo>
                  <a:lnTo>
                    <a:pt x="138" y="147"/>
                  </a:lnTo>
                  <a:lnTo>
                    <a:pt x="138" y="36"/>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 name="Freeform 704">
              <a:extLst>
                <a:ext uri="{FF2B5EF4-FFF2-40B4-BE49-F238E27FC236}">
                  <a16:creationId xmlns:a16="http://schemas.microsoft.com/office/drawing/2014/main" id="{A4C6207E-63A8-4844-9581-C9B56B33C28C}"/>
                </a:ext>
              </a:extLst>
            </p:cNvPr>
            <p:cNvSpPr>
              <a:spLocks/>
            </p:cNvSpPr>
            <p:nvPr/>
          </p:nvSpPr>
          <p:spPr bwMode="auto">
            <a:xfrm>
              <a:off x="3046474" y="4820563"/>
              <a:ext cx="236772" cy="207351"/>
            </a:xfrm>
            <a:custGeom>
              <a:avLst/>
              <a:gdLst>
                <a:gd name="T0" fmla="*/ 4 w 169"/>
                <a:gd name="T1" fmla="*/ 0 h 148"/>
                <a:gd name="T2" fmla="*/ 169 w 169"/>
                <a:gd name="T3" fmla="*/ 27 h 148"/>
                <a:gd name="T4" fmla="*/ 169 w 169"/>
                <a:gd name="T5" fmla="*/ 148 h 148"/>
                <a:gd name="T6" fmla="*/ 0 w 169"/>
                <a:gd name="T7" fmla="*/ 143 h 148"/>
                <a:gd name="T8" fmla="*/ 4 w 169"/>
                <a:gd name="T9" fmla="*/ 0 h 148"/>
              </a:gdLst>
              <a:ahLst/>
              <a:cxnLst>
                <a:cxn ang="0">
                  <a:pos x="T0" y="T1"/>
                </a:cxn>
                <a:cxn ang="0">
                  <a:pos x="T2" y="T3"/>
                </a:cxn>
                <a:cxn ang="0">
                  <a:pos x="T4" y="T5"/>
                </a:cxn>
                <a:cxn ang="0">
                  <a:pos x="T6" y="T7"/>
                </a:cxn>
                <a:cxn ang="0">
                  <a:pos x="T8" y="T9"/>
                </a:cxn>
              </a:cxnLst>
              <a:rect l="0" t="0" r="r" b="b"/>
              <a:pathLst>
                <a:path w="169" h="148">
                  <a:moveTo>
                    <a:pt x="4" y="0"/>
                  </a:moveTo>
                  <a:lnTo>
                    <a:pt x="169" y="27"/>
                  </a:lnTo>
                  <a:lnTo>
                    <a:pt x="169" y="148"/>
                  </a:lnTo>
                  <a:lnTo>
                    <a:pt x="0" y="143"/>
                  </a:lnTo>
                  <a:lnTo>
                    <a:pt x="4"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 name="Freeform 705">
              <a:extLst>
                <a:ext uri="{FF2B5EF4-FFF2-40B4-BE49-F238E27FC236}">
                  <a16:creationId xmlns:a16="http://schemas.microsoft.com/office/drawing/2014/main" id="{639B940C-4CD5-4610-9FE4-C23067357857}"/>
                </a:ext>
              </a:extLst>
            </p:cNvPr>
            <p:cNvSpPr>
              <a:spLocks/>
            </p:cNvSpPr>
            <p:nvPr/>
          </p:nvSpPr>
          <p:spPr bwMode="auto">
            <a:xfrm>
              <a:off x="2718636" y="4784137"/>
              <a:ext cx="301219" cy="226965"/>
            </a:xfrm>
            <a:custGeom>
              <a:avLst/>
              <a:gdLst>
                <a:gd name="T0" fmla="*/ 0 w 215"/>
                <a:gd name="T1" fmla="*/ 0 h 162"/>
                <a:gd name="T2" fmla="*/ 215 w 215"/>
                <a:gd name="T3" fmla="*/ 26 h 162"/>
                <a:gd name="T4" fmla="*/ 207 w 215"/>
                <a:gd name="T5" fmla="*/ 162 h 162"/>
                <a:gd name="T6" fmla="*/ 0 w 215"/>
                <a:gd name="T7" fmla="*/ 152 h 162"/>
                <a:gd name="T8" fmla="*/ 0 w 215"/>
                <a:gd name="T9" fmla="*/ 0 h 162"/>
              </a:gdLst>
              <a:ahLst/>
              <a:cxnLst>
                <a:cxn ang="0">
                  <a:pos x="T0" y="T1"/>
                </a:cxn>
                <a:cxn ang="0">
                  <a:pos x="T2" y="T3"/>
                </a:cxn>
                <a:cxn ang="0">
                  <a:pos x="T4" y="T5"/>
                </a:cxn>
                <a:cxn ang="0">
                  <a:pos x="T6" y="T7"/>
                </a:cxn>
                <a:cxn ang="0">
                  <a:pos x="T8" y="T9"/>
                </a:cxn>
              </a:cxnLst>
              <a:rect l="0" t="0" r="r" b="b"/>
              <a:pathLst>
                <a:path w="215" h="162">
                  <a:moveTo>
                    <a:pt x="0" y="0"/>
                  </a:moveTo>
                  <a:lnTo>
                    <a:pt x="215" y="26"/>
                  </a:lnTo>
                  <a:lnTo>
                    <a:pt x="207" y="162"/>
                  </a:lnTo>
                  <a:lnTo>
                    <a:pt x="0" y="152"/>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 name="Freeform 706">
              <a:extLst>
                <a:ext uri="{FF2B5EF4-FFF2-40B4-BE49-F238E27FC236}">
                  <a16:creationId xmlns:a16="http://schemas.microsoft.com/office/drawing/2014/main" id="{CA09296F-1DE6-46DC-A485-DB135F170A77}"/>
                </a:ext>
              </a:extLst>
            </p:cNvPr>
            <p:cNvSpPr>
              <a:spLocks/>
            </p:cNvSpPr>
            <p:nvPr/>
          </p:nvSpPr>
          <p:spPr bwMode="auto">
            <a:xfrm>
              <a:off x="2395001" y="4740705"/>
              <a:ext cx="297016" cy="256386"/>
            </a:xfrm>
            <a:custGeom>
              <a:avLst/>
              <a:gdLst>
                <a:gd name="T0" fmla="*/ 0 w 212"/>
                <a:gd name="T1" fmla="*/ 0 h 183"/>
                <a:gd name="T2" fmla="*/ 212 w 212"/>
                <a:gd name="T3" fmla="*/ 27 h 183"/>
                <a:gd name="T4" fmla="*/ 208 w 212"/>
                <a:gd name="T5" fmla="*/ 183 h 183"/>
                <a:gd name="T6" fmla="*/ 12 w 212"/>
                <a:gd name="T7" fmla="*/ 179 h 183"/>
                <a:gd name="T8" fmla="*/ 0 w 212"/>
                <a:gd name="T9" fmla="*/ 0 h 183"/>
              </a:gdLst>
              <a:ahLst/>
              <a:cxnLst>
                <a:cxn ang="0">
                  <a:pos x="T0" y="T1"/>
                </a:cxn>
                <a:cxn ang="0">
                  <a:pos x="T2" y="T3"/>
                </a:cxn>
                <a:cxn ang="0">
                  <a:pos x="T4" y="T5"/>
                </a:cxn>
                <a:cxn ang="0">
                  <a:pos x="T6" y="T7"/>
                </a:cxn>
                <a:cxn ang="0">
                  <a:pos x="T8" y="T9"/>
                </a:cxn>
              </a:cxnLst>
              <a:rect l="0" t="0" r="r" b="b"/>
              <a:pathLst>
                <a:path w="212" h="183">
                  <a:moveTo>
                    <a:pt x="0" y="0"/>
                  </a:moveTo>
                  <a:lnTo>
                    <a:pt x="212" y="27"/>
                  </a:lnTo>
                  <a:lnTo>
                    <a:pt x="208" y="183"/>
                  </a:lnTo>
                  <a:lnTo>
                    <a:pt x="12" y="17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 name="Freeform 707">
              <a:extLst>
                <a:ext uri="{FF2B5EF4-FFF2-40B4-BE49-F238E27FC236}">
                  <a16:creationId xmlns:a16="http://schemas.microsoft.com/office/drawing/2014/main" id="{53DA23A8-A3C9-455C-90D6-24799E9FF762}"/>
                </a:ext>
              </a:extLst>
            </p:cNvPr>
            <p:cNvSpPr>
              <a:spLocks/>
            </p:cNvSpPr>
            <p:nvPr/>
          </p:nvSpPr>
          <p:spPr bwMode="auto">
            <a:xfrm>
              <a:off x="3309866" y="4863995"/>
              <a:ext cx="182132" cy="176528"/>
            </a:xfrm>
            <a:custGeom>
              <a:avLst/>
              <a:gdLst>
                <a:gd name="T0" fmla="*/ 4 w 130"/>
                <a:gd name="T1" fmla="*/ 0 h 126"/>
                <a:gd name="T2" fmla="*/ 130 w 130"/>
                <a:gd name="T3" fmla="*/ 17 h 126"/>
                <a:gd name="T4" fmla="*/ 130 w 130"/>
                <a:gd name="T5" fmla="*/ 126 h 126"/>
                <a:gd name="T6" fmla="*/ 0 w 130"/>
                <a:gd name="T7" fmla="*/ 117 h 126"/>
                <a:gd name="T8" fmla="*/ 4 w 130"/>
                <a:gd name="T9" fmla="*/ 0 h 126"/>
              </a:gdLst>
              <a:ahLst/>
              <a:cxnLst>
                <a:cxn ang="0">
                  <a:pos x="T0" y="T1"/>
                </a:cxn>
                <a:cxn ang="0">
                  <a:pos x="T2" y="T3"/>
                </a:cxn>
                <a:cxn ang="0">
                  <a:pos x="T4" y="T5"/>
                </a:cxn>
                <a:cxn ang="0">
                  <a:pos x="T6" y="T7"/>
                </a:cxn>
                <a:cxn ang="0">
                  <a:pos x="T8" y="T9"/>
                </a:cxn>
              </a:cxnLst>
              <a:rect l="0" t="0" r="r" b="b"/>
              <a:pathLst>
                <a:path w="130" h="126">
                  <a:moveTo>
                    <a:pt x="4" y="0"/>
                  </a:moveTo>
                  <a:lnTo>
                    <a:pt x="130" y="17"/>
                  </a:lnTo>
                  <a:lnTo>
                    <a:pt x="130" y="126"/>
                  </a:lnTo>
                  <a:lnTo>
                    <a:pt x="0" y="117"/>
                  </a:lnTo>
                  <a:lnTo>
                    <a:pt x="4"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65" name="Group 164">
            <a:extLst>
              <a:ext uri="{FF2B5EF4-FFF2-40B4-BE49-F238E27FC236}">
                <a16:creationId xmlns:a16="http://schemas.microsoft.com/office/drawing/2014/main" id="{BAAC80F1-DFAA-4D0A-862E-E04DB655B5DD}"/>
              </a:ext>
            </a:extLst>
          </p:cNvPr>
          <p:cNvGrpSpPr/>
          <p:nvPr/>
        </p:nvGrpSpPr>
        <p:grpSpPr>
          <a:xfrm>
            <a:off x="3572714" y="1613143"/>
            <a:ext cx="915488" cy="1481805"/>
            <a:chOff x="819728" y="1402301"/>
            <a:chExt cx="1924591" cy="2697045"/>
          </a:xfrm>
        </p:grpSpPr>
        <p:sp>
          <p:nvSpPr>
            <p:cNvPr id="166" name="Freeform 642">
              <a:extLst>
                <a:ext uri="{FF2B5EF4-FFF2-40B4-BE49-F238E27FC236}">
                  <a16:creationId xmlns:a16="http://schemas.microsoft.com/office/drawing/2014/main" id="{47AF0352-0C5D-4B91-9A74-5CE64937F21C}"/>
                </a:ext>
              </a:extLst>
            </p:cNvPr>
            <p:cNvSpPr>
              <a:spLocks/>
            </p:cNvSpPr>
            <p:nvPr/>
          </p:nvSpPr>
          <p:spPr bwMode="auto">
            <a:xfrm>
              <a:off x="1849098" y="2577900"/>
              <a:ext cx="656115" cy="942188"/>
            </a:xfrm>
            <a:custGeom>
              <a:avLst/>
              <a:gdLst>
                <a:gd name="T0" fmla="*/ 195 w 195"/>
                <a:gd name="T1" fmla="*/ 45 h 280"/>
                <a:gd name="T2" fmla="*/ 151 w 195"/>
                <a:gd name="T3" fmla="*/ 198 h 280"/>
                <a:gd name="T4" fmla="*/ 76 w 195"/>
                <a:gd name="T5" fmla="*/ 280 h 280"/>
                <a:gd name="T6" fmla="*/ 47 w 195"/>
                <a:gd name="T7" fmla="*/ 257 h 280"/>
                <a:gd name="T8" fmla="*/ 116 w 195"/>
                <a:gd name="T9" fmla="*/ 114 h 280"/>
                <a:gd name="T10" fmla="*/ 23 w 195"/>
                <a:gd name="T11" fmla="*/ 209 h 280"/>
                <a:gd name="T12" fmla="*/ 0 w 195"/>
                <a:gd name="T13" fmla="*/ 184 h 280"/>
                <a:gd name="T14" fmla="*/ 55 w 195"/>
                <a:gd name="T15" fmla="*/ 98 h 280"/>
                <a:gd name="T16" fmla="*/ 51 w 195"/>
                <a:gd name="T17" fmla="*/ 0 h 280"/>
                <a:gd name="T18" fmla="*/ 195 w 195"/>
                <a:gd name="T19" fmla="*/ 4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80">
                  <a:moveTo>
                    <a:pt x="195" y="45"/>
                  </a:moveTo>
                  <a:cubicBezTo>
                    <a:pt x="151" y="198"/>
                    <a:pt x="151" y="198"/>
                    <a:pt x="151" y="198"/>
                  </a:cubicBezTo>
                  <a:cubicBezTo>
                    <a:pt x="151" y="198"/>
                    <a:pt x="124" y="245"/>
                    <a:pt x="76" y="280"/>
                  </a:cubicBezTo>
                  <a:cubicBezTo>
                    <a:pt x="47" y="257"/>
                    <a:pt x="47" y="257"/>
                    <a:pt x="47" y="257"/>
                  </a:cubicBezTo>
                  <a:cubicBezTo>
                    <a:pt x="47" y="257"/>
                    <a:pt x="100" y="162"/>
                    <a:pt x="116" y="114"/>
                  </a:cubicBezTo>
                  <a:cubicBezTo>
                    <a:pt x="116" y="114"/>
                    <a:pt x="60" y="177"/>
                    <a:pt x="23" y="209"/>
                  </a:cubicBezTo>
                  <a:cubicBezTo>
                    <a:pt x="0" y="184"/>
                    <a:pt x="0" y="184"/>
                    <a:pt x="0" y="184"/>
                  </a:cubicBezTo>
                  <a:cubicBezTo>
                    <a:pt x="0" y="184"/>
                    <a:pt x="42" y="141"/>
                    <a:pt x="55" y="98"/>
                  </a:cubicBezTo>
                  <a:cubicBezTo>
                    <a:pt x="71" y="40"/>
                    <a:pt x="51" y="0"/>
                    <a:pt x="51" y="0"/>
                  </a:cubicBezTo>
                  <a:lnTo>
                    <a:pt x="195" y="45"/>
                  </a:lnTo>
                  <a:close/>
                </a:path>
              </a:pathLst>
            </a:custGeom>
            <a:solidFill>
              <a:schemeClr val="accent1">
                <a:lumMod val="40000"/>
                <a:lumOff val="6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 name="Freeform 643">
              <a:extLst>
                <a:ext uri="{FF2B5EF4-FFF2-40B4-BE49-F238E27FC236}">
                  <a16:creationId xmlns:a16="http://schemas.microsoft.com/office/drawing/2014/main" id="{0DB33ADD-CC8E-4BEF-BC72-B3A6206319C0}"/>
                </a:ext>
              </a:extLst>
            </p:cNvPr>
            <p:cNvSpPr>
              <a:spLocks/>
            </p:cNvSpPr>
            <p:nvPr/>
          </p:nvSpPr>
          <p:spPr bwMode="auto">
            <a:xfrm>
              <a:off x="1601454" y="2126732"/>
              <a:ext cx="1142865" cy="1585493"/>
            </a:xfrm>
            <a:custGeom>
              <a:avLst/>
              <a:gdLst>
                <a:gd name="T0" fmla="*/ 0 w 340"/>
                <a:gd name="T1" fmla="*/ 144 h 471"/>
                <a:gd name="T2" fmla="*/ 197 w 340"/>
                <a:gd name="T3" fmla="*/ 172 h 471"/>
                <a:gd name="T4" fmla="*/ 269 w 340"/>
                <a:gd name="T5" fmla="*/ 295 h 471"/>
                <a:gd name="T6" fmla="*/ 263 w 340"/>
                <a:gd name="T7" fmla="*/ 389 h 471"/>
                <a:gd name="T8" fmla="*/ 310 w 340"/>
                <a:gd name="T9" fmla="*/ 471 h 471"/>
                <a:gd name="T10" fmla="*/ 340 w 340"/>
                <a:gd name="T11" fmla="*/ 285 h 471"/>
                <a:gd name="T12" fmla="*/ 313 w 340"/>
                <a:gd name="T13" fmla="*/ 173 h 471"/>
                <a:gd name="T14" fmla="*/ 294 w 340"/>
                <a:gd name="T15" fmla="*/ 103 h 471"/>
                <a:gd name="T16" fmla="*/ 238 w 340"/>
                <a:gd name="T17" fmla="*/ 70 h 471"/>
                <a:gd name="T18" fmla="*/ 163 w 340"/>
                <a:gd name="T19" fmla="*/ 32 h 471"/>
                <a:gd name="T20" fmla="*/ 66 w 340"/>
                <a:gd name="T21"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0" h="471">
                  <a:moveTo>
                    <a:pt x="0" y="144"/>
                  </a:moveTo>
                  <a:cubicBezTo>
                    <a:pt x="142" y="196"/>
                    <a:pt x="197" y="172"/>
                    <a:pt x="197" y="172"/>
                  </a:cubicBezTo>
                  <a:cubicBezTo>
                    <a:pt x="269" y="295"/>
                    <a:pt x="269" y="295"/>
                    <a:pt x="269" y="295"/>
                  </a:cubicBezTo>
                  <a:cubicBezTo>
                    <a:pt x="269" y="295"/>
                    <a:pt x="264" y="315"/>
                    <a:pt x="263" y="389"/>
                  </a:cubicBezTo>
                  <a:cubicBezTo>
                    <a:pt x="262" y="464"/>
                    <a:pt x="310" y="471"/>
                    <a:pt x="310" y="471"/>
                  </a:cubicBezTo>
                  <a:cubicBezTo>
                    <a:pt x="316" y="424"/>
                    <a:pt x="340" y="285"/>
                    <a:pt x="340" y="285"/>
                  </a:cubicBezTo>
                  <a:cubicBezTo>
                    <a:pt x="331" y="247"/>
                    <a:pt x="322" y="210"/>
                    <a:pt x="313" y="173"/>
                  </a:cubicBezTo>
                  <a:cubicBezTo>
                    <a:pt x="307" y="151"/>
                    <a:pt x="305" y="123"/>
                    <a:pt x="294" y="103"/>
                  </a:cubicBezTo>
                  <a:cubicBezTo>
                    <a:pt x="281" y="81"/>
                    <a:pt x="260" y="78"/>
                    <a:pt x="238" y="70"/>
                  </a:cubicBezTo>
                  <a:cubicBezTo>
                    <a:pt x="212" y="60"/>
                    <a:pt x="189" y="42"/>
                    <a:pt x="163" y="32"/>
                  </a:cubicBezTo>
                  <a:cubicBezTo>
                    <a:pt x="131" y="20"/>
                    <a:pt x="99" y="8"/>
                    <a:pt x="66" y="0"/>
                  </a:cubicBezTo>
                </a:path>
              </a:pathLst>
            </a:custGeom>
            <a:solidFill>
              <a:schemeClr val="accent1">
                <a:lumMod val="20000"/>
                <a:lumOff val="8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 name="Freeform 644">
              <a:extLst>
                <a:ext uri="{FF2B5EF4-FFF2-40B4-BE49-F238E27FC236}">
                  <a16:creationId xmlns:a16="http://schemas.microsoft.com/office/drawing/2014/main" id="{6FADFFB3-F1DF-4F68-96E4-D4209D515B51}"/>
                </a:ext>
              </a:extLst>
            </p:cNvPr>
            <p:cNvSpPr>
              <a:spLocks/>
            </p:cNvSpPr>
            <p:nvPr/>
          </p:nvSpPr>
          <p:spPr bwMode="auto">
            <a:xfrm>
              <a:off x="1752317" y="3017683"/>
              <a:ext cx="323076" cy="283225"/>
            </a:xfrm>
            <a:custGeom>
              <a:avLst/>
              <a:gdLst>
                <a:gd name="T0" fmla="*/ 2 w 96"/>
                <a:gd name="T1" fmla="*/ 76 h 84"/>
                <a:gd name="T2" fmla="*/ 2 w 96"/>
                <a:gd name="T3" fmla="*/ 23 h 84"/>
                <a:gd name="T4" fmla="*/ 96 w 96"/>
                <a:gd name="T5" fmla="*/ 26 h 84"/>
                <a:gd name="T6" fmla="*/ 89 w 96"/>
                <a:gd name="T7" fmla="*/ 84 h 84"/>
                <a:gd name="T8" fmla="*/ 2 w 96"/>
                <a:gd name="T9" fmla="*/ 76 h 84"/>
              </a:gdLst>
              <a:ahLst/>
              <a:cxnLst>
                <a:cxn ang="0">
                  <a:pos x="T0" y="T1"/>
                </a:cxn>
                <a:cxn ang="0">
                  <a:pos x="T2" y="T3"/>
                </a:cxn>
                <a:cxn ang="0">
                  <a:pos x="T4" y="T5"/>
                </a:cxn>
                <a:cxn ang="0">
                  <a:pos x="T6" y="T7"/>
                </a:cxn>
                <a:cxn ang="0">
                  <a:pos x="T8" y="T9"/>
                </a:cxn>
              </a:cxnLst>
              <a:rect l="0" t="0" r="r" b="b"/>
              <a:pathLst>
                <a:path w="96" h="84">
                  <a:moveTo>
                    <a:pt x="2" y="76"/>
                  </a:moveTo>
                  <a:cubicBezTo>
                    <a:pt x="2" y="23"/>
                    <a:pt x="2" y="23"/>
                    <a:pt x="2" y="23"/>
                  </a:cubicBezTo>
                  <a:cubicBezTo>
                    <a:pt x="2" y="23"/>
                    <a:pt x="44" y="0"/>
                    <a:pt x="96" y="26"/>
                  </a:cubicBezTo>
                  <a:cubicBezTo>
                    <a:pt x="89" y="84"/>
                    <a:pt x="89" y="84"/>
                    <a:pt x="89" y="84"/>
                  </a:cubicBezTo>
                  <a:cubicBezTo>
                    <a:pt x="89" y="84"/>
                    <a:pt x="0" y="76"/>
                    <a:pt x="2" y="76"/>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 name="Freeform 645">
              <a:extLst>
                <a:ext uri="{FF2B5EF4-FFF2-40B4-BE49-F238E27FC236}">
                  <a16:creationId xmlns:a16="http://schemas.microsoft.com/office/drawing/2014/main" id="{55880CA0-129A-4BC8-B569-487779195644}"/>
                </a:ext>
              </a:extLst>
            </p:cNvPr>
            <p:cNvSpPr>
              <a:spLocks/>
            </p:cNvSpPr>
            <p:nvPr/>
          </p:nvSpPr>
          <p:spPr bwMode="auto">
            <a:xfrm>
              <a:off x="1745202" y="3051838"/>
              <a:ext cx="185021" cy="236259"/>
            </a:xfrm>
            <a:custGeom>
              <a:avLst/>
              <a:gdLst>
                <a:gd name="T0" fmla="*/ 48 w 55"/>
                <a:gd name="T1" fmla="*/ 70 h 70"/>
                <a:gd name="T2" fmla="*/ 1 w 55"/>
                <a:gd name="T3" fmla="*/ 66 h 70"/>
                <a:gd name="T4" fmla="*/ 1 w 55"/>
                <a:gd name="T5" fmla="*/ 12 h 70"/>
                <a:gd name="T6" fmla="*/ 55 w 55"/>
                <a:gd name="T7" fmla="*/ 3 h 70"/>
              </a:gdLst>
              <a:ahLst/>
              <a:cxnLst>
                <a:cxn ang="0">
                  <a:pos x="T0" y="T1"/>
                </a:cxn>
                <a:cxn ang="0">
                  <a:pos x="T2" y="T3"/>
                </a:cxn>
                <a:cxn ang="0">
                  <a:pos x="T4" y="T5"/>
                </a:cxn>
                <a:cxn ang="0">
                  <a:pos x="T6" y="T7"/>
                </a:cxn>
              </a:cxnLst>
              <a:rect l="0" t="0" r="r" b="b"/>
              <a:pathLst>
                <a:path w="55" h="70">
                  <a:moveTo>
                    <a:pt x="48" y="70"/>
                  </a:moveTo>
                  <a:cubicBezTo>
                    <a:pt x="24" y="68"/>
                    <a:pt x="0" y="66"/>
                    <a:pt x="1" y="66"/>
                  </a:cubicBezTo>
                  <a:cubicBezTo>
                    <a:pt x="1" y="12"/>
                    <a:pt x="1" y="12"/>
                    <a:pt x="1" y="12"/>
                  </a:cubicBezTo>
                  <a:cubicBezTo>
                    <a:pt x="1" y="12"/>
                    <a:pt x="23" y="0"/>
                    <a:pt x="55" y="3"/>
                  </a:cubicBezTo>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 name="Freeform 646">
              <a:extLst>
                <a:ext uri="{FF2B5EF4-FFF2-40B4-BE49-F238E27FC236}">
                  <a16:creationId xmlns:a16="http://schemas.microsoft.com/office/drawing/2014/main" id="{062390F9-AFAE-4D4A-B6BF-1087E6F8D8BD}"/>
                </a:ext>
              </a:extLst>
            </p:cNvPr>
            <p:cNvSpPr>
              <a:spLocks/>
            </p:cNvSpPr>
            <p:nvPr/>
          </p:nvSpPr>
          <p:spPr bwMode="auto">
            <a:xfrm>
              <a:off x="1453436" y="3160007"/>
              <a:ext cx="288920" cy="229143"/>
            </a:xfrm>
            <a:custGeom>
              <a:avLst/>
              <a:gdLst>
                <a:gd name="T0" fmla="*/ 5 w 86"/>
                <a:gd name="T1" fmla="*/ 67 h 68"/>
                <a:gd name="T2" fmla="*/ 0 w 86"/>
                <a:gd name="T3" fmla="*/ 23 h 68"/>
                <a:gd name="T4" fmla="*/ 82 w 86"/>
                <a:gd name="T5" fmla="*/ 16 h 68"/>
                <a:gd name="T6" fmla="*/ 86 w 86"/>
                <a:gd name="T7" fmla="*/ 56 h 68"/>
                <a:gd name="T8" fmla="*/ 5 w 86"/>
                <a:gd name="T9" fmla="*/ 67 h 68"/>
              </a:gdLst>
              <a:ahLst/>
              <a:cxnLst>
                <a:cxn ang="0">
                  <a:pos x="T0" y="T1"/>
                </a:cxn>
                <a:cxn ang="0">
                  <a:pos x="T2" y="T3"/>
                </a:cxn>
                <a:cxn ang="0">
                  <a:pos x="T4" y="T5"/>
                </a:cxn>
                <a:cxn ang="0">
                  <a:pos x="T6" y="T7"/>
                </a:cxn>
                <a:cxn ang="0">
                  <a:pos x="T8" y="T9"/>
                </a:cxn>
              </a:cxnLst>
              <a:rect l="0" t="0" r="r" b="b"/>
              <a:pathLst>
                <a:path w="86" h="68">
                  <a:moveTo>
                    <a:pt x="5" y="67"/>
                  </a:moveTo>
                  <a:cubicBezTo>
                    <a:pt x="0" y="23"/>
                    <a:pt x="0" y="23"/>
                    <a:pt x="0" y="23"/>
                  </a:cubicBezTo>
                  <a:cubicBezTo>
                    <a:pt x="0" y="23"/>
                    <a:pt x="35" y="0"/>
                    <a:pt x="82" y="16"/>
                  </a:cubicBezTo>
                  <a:cubicBezTo>
                    <a:pt x="86" y="56"/>
                    <a:pt x="86" y="56"/>
                    <a:pt x="86" y="56"/>
                  </a:cubicBezTo>
                  <a:cubicBezTo>
                    <a:pt x="86" y="56"/>
                    <a:pt x="3" y="68"/>
                    <a:pt x="5" y="67"/>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 name="Freeform 647">
              <a:extLst>
                <a:ext uri="{FF2B5EF4-FFF2-40B4-BE49-F238E27FC236}">
                  <a16:creationId xmlns:a16="http://schemas.microsoft.com/office/drawing/2014/main" id="{340FD75B-3AF9-4747-AF62-CA0E620CEF74}"/>
                </a:ext>
              </a:extLst>
            </p:cNvPr>
            <p:cNvSpPr>
              <a:spLocks/>
            </p:cNvSpPr>
            <p:nvPr/>
          </p:nvSpPr>
          <p:spPr bwMode="auto">
            <a:xfrm>
              <a:off x="1453436" y="3192741"/>
              <a:ext cx="153710" cy="192139"/>
            </a:xfrm>
            <a:custGeom>
              <a:avLst/>
              <a:gdLst>
                <a:gd name="T0" fmla="*/ 46 w 46"/>
                <a:gd name="T1" fmla="*/ 52 h 57"/>
                <a:gd name="T2" fmla="*/ 5 w 46"/>
                <a:gd name="T3" fmla="*/ 57 h 57"/>
                <a:gd name="T4" fmla="*/ 0 w 46"/>
                <a:gd name="T5" fmla="*/ 13 h 57"/>
                <a:gd name="T6" fmla="*/ 42 w 46"/>
                <a:gd name="T7" fmla="*/ 0 h 57"/>
              </a:gdLst>
              <a:ahLst/>
              <a:cxnLst>
                <a:cxn ang="0">
                  <a:pos x="T0" y="T1"/>
                </a:cxn>
                <a:cxn ang="0">
                  <a:pos x="T2" y="T3"/>
                </a:cxn>
                <a:cxn ang="0">
                  <a:pos x="T4" y="T5"/>
                </a:cxn>
                <a:cxn ang="0">
                  <a:pos x="T6" y="T7"/>
                </a:cxn>
              </a:cxnLst>
              <a:rect l="0" t="0" r="r" b="b"/>
              <a:pathLst>
                <a:path w="46" h="57">
                  <a:moveTo>
                    <a:pt x="46" y="52"/>
                  </a:moveTo>
                  <a:cubicBezTo>
                    <a:pt x="25" y="54"/>
                    <a:pt x="4" y="57"/>
                    <a:pt x="5" y="57"/>
                  </a:cubicBezTo>
                  <a:cubicBezTo>
                    <a:pt x="0" y="13"/>
                    <a:pt x="0" y="13"/>
                    <a:pt x="0" y="13"/>
                  </a:cubicBezTo>
                  <a:cubicBezTo>
                    <a:pt x="0" y="13"/>
                    <a:pt x="16" y="2"/>
                    <a:pt x="42" y="0"/>
                  </a:cubicBezTo>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 name="Freeform 648">
              <a:extLst>
                <a:ext uri="{FF2B5EF4-FFF2-40B4-BE49-F238E27FC236}">
                  <a16:creationId xmlns:a16="http://schemas.microsoft.com/office/drawing/2014/main" id="{9AEDB558-C90A-45C3-914D-AE78315D7D58}"/>
                </a:ext>
              </a:extLst>
            </p:cNvPr>
            <p:cNvSpPr>
              <a:spLocks/>
            </p:cNvSpPr>
            <p:nvPr/>
          </p:nvSpPr>
          <p:spPr bwMode="auto">
            <a:xfrm>
              <a:off x="2129477" y="3123002"/>
              <a:ext cx="318807" cy="241952"/>
            </a:xfrm>
            <a:custGeom>
              <a:avLst/>
              <a:gdLst>
                <a:gd name="T0" fmla="*/ 10 w 95"/>
                <a:gd name="T1" fmla="*/ 67 h 72"/>
                <a:gd name="T2" fmla="*/ 10 w 95"/>
                <a:gd name="T3" fmla="*/ 20 h 72"/>
                <a:gd name="T4" fmla="*/ 95 w 95"/>
                <a:gd name="T5" fmla="*/ 33 h 72"/>
                <a:gd name="T6" fmla="*/ 89 w 95"/>
                <a:gd name="T7" fmla="*/ 72 h 72"/>
                <a:gd name="T8" fmla="*/ 10 w 95"/>
                <a:gd name="T9" fmla="*/ 67 h 72"/>
              </a:gdLst>
              <a:ahLst/>
              <a:cxnLst>
                <a:cxn ang="0">
                  <a:pos x="T0" y="T1"/>
                </a:cxn>
                <a:cxn ang="0">
                  <a:pos x="T2" y="T3"/>
                </a:cxn>
                <a:cxn ang="0">
                  <a:pos x="T4" y="T5"/>
                </a:cxn>
                <a:cxn ang="0">
                  <a:pos x="T6" y="T7"/>
                </a:cxn>
                <a:cxn ang="0">
                  <a:pos x="T8" y="T9"/>
                </a:cxn>
              </a:cxnLst>
              <a:rect l="0" t="0" r="r" b="b"/>
              <a:pathLst>
                <a:path w="95" h="72">
                  <a:moveTo>
                    <a:pt x="10" y="67"/>
                  </a:moveTo>
                  <a:cubicBezTo>
                    <a:pt x="10" y="20"/>
                    <a:pt x="10" y="20"/>
                    <a:pt x="10" y="20"/>
                  </a:cubicBezTo>
                  <a:cubicBezTo>
                    <a:pt x="10" y="20"/>
                    <a:pt x="57" y="0"/>
                    <a:pt x="95" y="33"/>
                  </a:cubicBezTo>
                  <a:cubicBezTo>
                    <a:pt x="89" y="72"/>
                    <a:pt x="89" y="72"/>
                    <a:pt x="89" y="72"/>
                  </a:cubicBezTo>
                  <a:cubicBezTo>
                    <a:pt x="89" y="72"/>
                    <a:pt x="0" y="66"/>
                    <a:pt x="10" y="67"/>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 name="Freeform 649">
              <a:extLst>
                <a:ext uri="{FF2B5EF4-FFF2-40B4-BE49-F238E27FC236}">
                  <a16:creationId xmlns:a16="http://schemas.microsoft.com/office/drawing/2014/main" id="{318E77A3-1659-4392-9839-5C25934C08B1}"/>
                </a:ext>
              </a:extLst>
            </p:cNvPr>
            <p:cNvSpPr>
              <a:spLocks/>
            </p:cNvSpPr>
            <p:nvPr/>
          </p:nvSpPr>
          <p:spPr bwMode="auto">
            <a:xfrm>
              <a:off x="2145133" y="3167123"/>
              <a:ext cx="142324" cy="187869"/>
            </a:xfrm>
            <a:custGeom>
              <a:avLst/>
              <a:gdLst>
                <a:gd name="T0" fmla="*/ 39 w 42"/>
                <a:gd name="T1" fmla="*/ 56 h 56"/>
                <a:gd name="T2" fmla="*/ 5 w 42"/>
                <a:gd name="T3" fmla="*/ 54 h 56"/>
                <a:gd name="T4" fmla="*/ 5 w 42"/>
                <a:gd name="T5" fmla="*/ 7 h 56"/>
                <a:gd name="T6" fmla="*/ 42 w 42"/>
                <a:gd name="T7" fmla="*/ 1 h 56"/>
              </a:gdLst>
              <a:ahLst/>
              <a:cxnLst>
                <a:cxn ang="0">
                  <a:pos x="T0" y="T1"/>
                </a:cxn>
                <a:cxn ang="0">
                  <a:pos x="T2" y="T3"/>
                </a:cxn>
                <a:cxn ang="0">
                  <a:pos x="T4" y="T5"/>
                </a:cxn>
                <a:cxn ang="0">
                  <a:pos x="T6" y="T7"/>
                </a:cxn>
              </a:cxnLst>
              <a:rect l="0" t="0" r="r" b="b"/>
              <a:pathLst>
                <a:path w="42" h="56">
                  <a:moveTo>
                    <a:pt x="39" y="56"/>
                  </a:moveTo>
                  <a:cubicBezTo>
                    <a:pt x="19" y="55"/>
                    <a:pt x="0" y="53"/>
                    <a:pt x="5" y="54"/>
                  </a:cubicBezTo>
                  <a:cubicBezTo>
                    <a:pt x="5" y="7"/>
                    <a:pt x="5" y="7"/>
                    <a:pt x="5" y="7"/>
                  </a:cubicBezTo>
                  <a:cubicBezTo>
                    <a:pt x="5" y="7"/>
                    <a:pt x="21" y="0"/>
                    <a:pt x="42" y="1"/>
                  </a:cubicBezTo>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 name="Freeform 650">
              <a:extLst>
                <a:ext uri="{FF2B5EF4-FFF2-40B4-BE49-F238E27FC236}">
                  <a16:creationId xmlns:a16="http://schemas.microsoft.com/office/drawing/2014/main" id="{95B39F1C-3985-4115-80F7-4FA1DC0DECB6}"/>
                </a:ext>
              </a:extLst>
            </p:cNvPr>
            <p:cNvSpPr>
              <a:spLocks/>
            </p:cNvSpPr>
            <p:nvPr/>
          </p:nvSpPr>
          <p:spPr bwMode="auto">
            <a:xfrm>
              <a:off x="1399353" y="3118732"/>
              <a:ext cx="1019042" cy="980614"/>
            </a:xfrm>
            <a:custGeom>
              <a:avLst/>
              <a:gdLst>
                <a:gd name="T0" fmla="*/ 293 w 716"/>
                <a:gd name="T1" fmla="*/ 0 h 689"/>
                <a:gd name="T2" fmla="*/ 0 w 716"/>
                <a:gd name="T3" fmla="*/ 175 h 689"/>
                <a:gd name="T4" fmla="*/ 21 w 716"/>
                <a:gd name="T5" fmla="*/ 629 h 689"/>
                <a:gd name="T6" fmla="*/ 366 w 716"/>
                <a:gd name="T7" fmla="*/ 689 h 689"/>
                <a:gd name="T8" fmla="*/ 716 w 716"/>
                <a:gd name="T9" fmla="*/ 625 h 689"/>
                <a:gd name="T10" fmla="*/ 293 w 716"/>
                <a:gd name="T11" fmla="*/ 0 h 689"/>
              </a:gdLst>
              <a:ahLst/>
              <a:cxnLst>
                <a:cxn ang="0">
                  <a:pos x="T0" y="T1"/>
                </a:cxn>
                <a:cxn ang="0">
                  <a:pos x="T2" y="T3"/>
                </a:cxn>
                <a:cxn ang="0">
                  <a:pos x="T4" y="T5"/>
                </a:cxn>
                <a:cxn ang="0">
                  <a:pos x="T6" y="T7"/>
                </a:cxn>
                <a:cxn ang="0">
                  <a:pos x="T8" y="T9"/>
                </a:cxn>
                <a:cxn ang="0">
                  <a:pos x="T10" y="T11"/>
                </a:cxn>
              </a:cxnLst>
              <a:rect l="0" t="0" r="r" b="b"/>
              <a:pathLst>
                <a:path w="716" h="689">
                  <a:moveTo>
                    <a:pt x="293" y="0"/>
                  </a:moveTo>
                  <a:lnTo>
                    <a:pt x="0" y="175"/>
                  </a:lnTo>
                  <a:lnTo>
                    <a:pt x="21" y="629"/>
                  </a:lnTo>
                  <a:lnTo>
                    <a:pt x="366" y="689"/>
                  </a:lnTo>
                  <a:lnTo>
                    <a:pt x="716" y="625"/>
                  </a:lnTo>
                  <a:lnTo>
                    <a:pt x="293" y="0"/>
                  </a:lnTo>
                  <a:close/>
                </a:path>
              </a:pathLst>
            </a:custGeom>
            <a:solidFill>
              <a:schemeClr val="accent1">
                <a:lumMod val="75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 name="Freeform 651">
              <a:extLst>
                <a:ext uri="{FF2B5EF4-FFF2-40B4-BE49-F238E27FC236}">
                  <a16:creationId xmlns:a16="http://schemas.microsoft.com/office/drawing/2014/main" id="{225D4FBB-185F-4AEC-A551-282536EA7FAE}"/>
                </a:ext>
              </a:extLst>
            </p:cNvPr>
            <p:cNvSpPr>
              <a:spLocks/>
            </p:cNvSpPr>
            <p:nvPr/>
          </p:nvSpPr>
          <p:spPr bwMode="auto">
            <a:xfrm>
              <a:off x="1789320" y="3123002"/>
              <a:ext cx="725855" cy="880988"/>
            </a:xfrm>
            <a:custGeom>
              <a:avLst/>
              <a:gdLst>
                <a:gd name="T0" fmla="*/ 19 w 510"/>
                <a:gd name="T1" fmla="*/ 0 h 619"/>
                <a:gd name="T2" fmla="*/ 0 w 510"/>
                <a:gd name="T3" fmla="*/ 544 h 619"/>
                <a:gd name="T4" fmla="*/ 447 w 510"/>
                <a:gd name="T5" fmla="*/ 619 h 619"/>
                <a:gd name="T6" fmla="*/ 510 w 510"/>
                <a:gd name="T7" fmla="*/ 142 h 619"/>
                <a:gd name="T8" fmla="*/ 19 w 510"/>
                <a:gd name="T9" fmla="*/ 0 h 619"/>
              </a:gdLst>
              <a:ahLst/>
              <a:cxnLst>
                <a:cxn ang="0">
                  <a:pos x="T0" y="T1"/>
                </a:cxn>
                <a:cxn ang="0">
                  <a:pos x="T2" y="T3"/>
                </a:cxn>
                <a:cxn ang="0">
                  <a:pos x="T4" y="T5"/>
                </a:cxn>
                <a:cxn ang="0">
                  <a:pos x="T6" y="T7"/>
                </a:cxn>
                <a:cxn ang="0">
                  <a:pos x="T8" y="T9"/>
                </a:cxn>
              </a:cxnLst>
              <a:rect l="0" t="0" r="r" b="b"/>
              <a:pathLst>
                <a:path w="510" h="619">
                  <a:moveTo>
                    <a:pt x="19" y="0"/>
                  </a:moveTo>
                  <a:lnTo>
                    <a:pt x="0" y="544"/>
                  </a:lnTo>
                  <a:lnTo>
                    <a:pt x="447" y="619"/>
                  </a:lnTo>
                  <a:lnTo>
                    <a:pt x="510" y="142"/>
                  </a:lnTo>
                  <a:lnTo>
                    <a:pt x="19" y="0"/>
                  </a:ln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 name="Freeform 699">
              <a:extLst>
                <a:ext uri="{FF2B5EF4-FFF2-40B4-BE49-F238E27FC236}">
                  <a16:creationId xmlns:a16="http://schemas.microsoft.com/office/drawing/2014/main" id="{A8205725-EEF6-47C2-9509-7E1FBFCEF454}"/>
                </a:ext>
              </a:extLst>
            </p:cNvPr>
            <p:cNvSpPr>
              <a:spLocks/>
            </p:cNvSpPr>
            <p:nvPr/>
          </p:nvSpPr>
          <p:spPr bwMode="auto">
            <a:xfrm>
              <a:off x="2358575" y="3549839"/>
              <a:ext cx="117685" cy="243777"/>
            </a:xfrm>
            <a:custGeom>
              <a:avLst/>
              <a:gdLst>
                <a:gd name="T0" fmla="*/ 65 w 84"/>
                <a:gd name="T1" fmla="*/ 174 h 174"/>
                <a:gd name="T2" fmla="*/ 0 w 84"/>
                <a:gd name="T3" fmla="*/ 152 h 174"/>
                <a:gd name="T4" fmla="*/ 12 w 84"/>
                <a:gd name="T5" fmla="*/ 0 h 174"/>
                <a:gd name="T6" fmla="*/ 84 w 84"/>
                <a:gd name="T7" fmla="*/ 24 h 174"/>
                <a:gd name="T8" fmla="*/ 65 w 84"/>
                <a:gd name="T9" fmla="*/ 174 h 174"/>
              </a:gdLst>
              <a:ahLst/>
              <a:cxnLst>
                <a:cxn ang="0">
                  <a:pos x="T0" y="T1"/>
                </a:cxn>
                <a:cxn ang="0">
                  <a:pos x="T2" y="T3"/>
                </a:cxn>
                <a:cxn ang="0">
                  <a:pos x="T4" y="T5"/>
                </a:cxn>
                <a:cxn ang="0">
                  <a:pos x="T6" y="T7"/>
                </a:cxn>
                <a:cxn ang="0">
                  <a:pos x="T8" y="T9"/>
                </a:cxn>
              </a:cxnLst>
              <a:rect l="0" t="0" r="r" b="b"/>
              <a:pathLst>
                <a:path w="84" h="174">
                  <a:moveTo>
                    <a:pt x="65" y="174"/>
                  </a:moveTo>
                  <a:lnTo>
                    <a:pt x="0" y="152"/>
                  </a:lnTo>
                  <a:lnTo>
                    <a:pt x="12" y="0"/>
                  </a:lnTo>
                  <a:lnTo>
                    <a:pt x="84" y="24"/>
                  </a:lnTo>
                  <a:lnTo>
                    <a:pt x="65" y="174"/>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 name="Freeform 701">
              <a:extLst>
                <a:ext uri="{FF2B5EF4-FFF2-40B4-BE49-F238E27FC236}">
                  <a16:creationId xmlns:a16="http://schemas.microsoft.com/office/drawing/2014/main" id="{4361CFF3-914E-4B06-B4C8-8E05AAC213F9}"/>
                </a:ext>
              </a:extLst>
            </p:cNvPr>
            <p:cNvSpPr>
              <a:spLocks/>
            </p:cNvSpPr>
            <p:nvPr/>
          </p:nvSpPr>
          <p:spPr bwMode="auto">
            <a:xfrm>
              <a:off x="2072767" y="3460174"/>
              <a:ext cx="266193" cy="290011"/>
            </a:xfrm>
            <a:custGeom>
              <a:avLst/>
              <a:gdLst>
                <a:gd name="T0" fmla="*/ 171 w 190"/>
                <a:gd name="T1" fmla="*/ 207 h 207"/>
                <a:gd name="T2" fmla="*/ 0 w 190"/>
                <a:gd name="T3" fmla="*/ 157 h 207"/>
                <a:gd name="T4" fmla="*/ 19 w 190"/>
                <a:gd name="T5" fmla="*/ 0 h 207"/>
                <a:gd name="T6" fmla="*/ 190 w 190"/>
                <a:gd name="T7" fmla="*/ 55 h 207"/>
                <a:gd name="T8" fmla="*/ 171 w 190"/>
                <a:gd name="T9" fmla="*/ 207 h 207"/>
              </a:gdLst>
              <a:ahLst/>
              <a:cxnLst>
                <a:cxn ang="0">
                  <a:pos x="T0" y="T1"/>
                </a:cxn>
                <a:cxn ang="0">
                  <a:pos x="T2" y="T3"/>
                </a:cxn>
                <a:cxn ang="0">
                  <a:pos x="T4" y="T5"/>
                </a:cxn>
                <a:cxn ang="0">
                  <a:pos x="T6" y="T7"/>
                </a:cxn>
                <a:cxn ang="0">
                  <a:pos x="T8" y="T9"/>
                </a:cxn>
              </a:cxnLst>
              <a:rect l="0" t="0" r="r" b="b"/>
              <a:pathLst>
                <a:path w="190" h="207">
                  <a:moveTo>
                    <a:pt x="171" y="207"/>
                  </a:moveTo>
                  <a:lnTo>
                    <a:pt x="0" y="157"/>
                  </a:lnTo>
                  <a:lnTo>
                    <a:pt x="19" y="0"/>
                  </a:lnTo>
                  <a:lnTo>
                    <a:pt x="190" y="55"/>
                  </a:lnTo>
                  <a:lnTo>
                    <a:pt x="171" y="20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 name="Freeform 652">
              <a:extLst>
                <a:ext uri="{FF2B5EF4-FFF2-40B4-BE49-F238E27FC236}">
                  <a16:creationId xmlns:a16="http://schemas.microsoft.com/office/drawing/2014/main" id="{62D15D87-1CE9-4BD3-BBFA-0098D9572909}"/>
                </a:ext>
              </a:extLst>
            </p:cNvPr>
            <p:cNvSpPr>
              <a:spLocks/>
            </p:cNvSpPr>
            <p:nvPr/>
          </p:nvSpPr>
          <p:spPr bwMode="auto">
            <a:xfrm>
              <a:off x="819728" y="1402301"/>
              <a:ext cx="1260994" cy="2241610"/>
            </a:xfrm>
            <a:custGeom>
              <a:avLst/>
              <a:gdLst>
                <a:gd name="T0" fmla="*/ 254 w 375"/>
                <a:gd name="T1" fmla="*/ 330 h 666"/>
                <a:gd name="T2" fmla="*/ 243 w 375"/>
                <a:gd name="T3" fmla="*/ 441 h 666"/>
                <a:gd name="T4" fmla="*/ 298 w 375"/>
                <a:gd name="T5" fmla="*/ 632 h 666"/>
                <a:gd name="T6" fmla="*/ 267 w 375"/>
                <a:gd name="T7" fmla="*/ 666 h 666"/>
                <a:gd name="T8" fmla="*/ 219 w 375"/>
                <a:gd name="T9" fmla="*/ 544 h 666"/>
                <a:gd name="T10" fmla="*/ 71 w 375"/>
                <a:gd name="T11" fmla="*/ 224 h 666"/>
                <a:gd name="T12" fmla="*/ 0 w 375"/>
                <a:gd name="T13" fmla="*/ 148 h 666"/>
                <a:gd name="T14" fmla="*/ 153 w 375"/>
                <a:gd name="T15" fmla="*/ 0 h 666"/>
                <a:gd name="T16" fmla="*/ 375 w 375"/>
                <a:gd name="T17" fmla="*/ 239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666">
                  <a:moveTo>
                    <a:pt x="254" y="330"/>
                  </a:moveTo>
                  <a:cubicBezTo>
                    <a:pt x="254" y="330"/>
                    <a:pt x="225" y="394"/>
                    <a:pt x="243" y="441"/>
                  </a:cubicBezTo>
                  <a:cubicBezTo>
                    <a:pt x="260" y="488"/>
                    <a:pt x="319" y="569"/>
                    <a:pt x="298" y="632"/>
                  </a:cubicBezTo>
                  <a:cubicBezTo>
                    <a:pt x="298" y="632"/>
                    <a:pt x="286" y="650"/>
                    <a:pt x="267" y="666"/>
                  </a:cubicBezTo>
                  <a:cubicBezTo>
                    <a:pt x="267" y="666"/>
                    <a:pt x="250" y="586"/>
                    <a:pt x="219" y="544"/>
                  </a:cubicBezTo>
                  <a:cubicBezTo>
                    <a:pt x="188" y="503"/>
                    <a:pt x="20" y="389"/>
                    <a:pt x="71" y="224"/>
                  </a:cubicBezTo>
                  <a:cubicBezTo>
                    <a:pt x="0" y="148"/>
                    <a:pt x="0" y="148"/>
                    <a:pt x="0" y="148"/>
                  </a:cubicBezTo>
                  <a:cubicBezTo>
                    <a:pt x="0" y="148"/>
                    <a:pt x="104" y="36"/>
                    <a:pt x="153" y="0"/>
                  </a:cubicBezTo>
                  <a:cubicBezTo>
                    <a:pt x="153" y="0"/>
                    <a:pt x="226" y="183"/>
                    <a:pt x="375" y="239"/>
                  </a:cubicBezTo>
                </a:path>
              </a:pathLst>
            </a:custGeom>
            <a:solidFill>
              <a:schemeClr val="accent1">
                <a:lumMod val="20000"/>
                <a:lumOff val="80000"/>
              </a:schemeClr>
            </a:solidFill>
            <a:ln>
              <a:noFill/>
            </a:ln>
          </p:spPr>
          <p:txBody>
            <a:bodyPr vert="horz" wrap="square" lIns="68570" tIns="34285" rIns="68570" bIns="34285" numCol="1" anchor="t" anchorCtr="0" compatLnSpc="1">
              <a:prstTxWarp prst="textNoShape">
                <a:avLst/>
              </a:prstTxWarp>
            </a:bodyP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79" name="Text Placeholder 2">
            <a:extLst>
              <a:ext uri="{FF2B5EF4-FFF2-40B4-BE49-F238E27FC236}">
                <a16:creationId xmlns:a16="http://schemas.microsoft.com/office/drawing/2014/main" id="{7C2DF457-8206-4754-9C7B-0ACA7899E3D7}"/>
              </a:ext>
            </a:extLst>
          </p:cNvPr>
          <p:cNvSpPr txBox="1">
            <a:spLocks/>
          </p:cNvSpPr>
          <p:nvPr/>
        </p:nvSpPr>
        <p:spPr>
          <a:xfrm>
            <a:off x="4436911" y="1566289"/>
            <a:ext cx="3007139" cy="368070"/>
          </a:xfrm>
          <a:prstGeom prst="rect">
            <a:avLst/>
          </a:prstGeom>
        </p:spPr>
        <p:txBody>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699448"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B4D9"/>
                </a:solidFill>
                <a:effectLst/>
                <a:uLnTx/>
                <a:uFillTx/>
                <a:latin typeface="Segoe UI Light" panose="020B0502040204020203" pitchFamily="34" charset="0"/>
                <a:ea typeface="+mn-ea"/>
                <a:cs typeface="Segoe UI Light" panose="020B0502040204020203" pitchFamily="34" charset="0"/>
              </a:rPr>
              <a:t>Global Business</a:t>
            </a:r>
          </a:p>
        </p:txBody>
      </p:sp>
      <p:sp>
        <p:nvSpPr>
          <p:cNvPr id="180" name="TextBox 179">
            <a:extLst>
              <a:ext uri="{FF2B5EF4-FFF2-40B4-BE49-F238E27FC236}">
                <a16:creationId xmlns:a16="http://schemas.microsoft.com/office/drawing/2014/main" id="{5CAF940E-9E18-424F-ABCA-FF95B7D389F4}"/>
              </a:ext>
            </a:extLst>
          </p:cNvPr>
          <p:cNvSpPr txBox="1"/>
          <p:nvPr/>
        </p:nvSpPr>
        <p:spPr>
          <a:xfrm>
            <a:off x="4163680" y="4145815"/>
            <a:ext cx="638021" cy="276999"/>
          </a:xfrm>
          <a:prstGeom prst="rect">
            <a:avLst/>
          </a:prstGeom>
          <a:noFill/>
        </p:spPr>
        <p:txBody>
          <a:bodyPr wrap="square" rtlCol="0">
            <a:spAutoFit/>
          </a:bodyPr>
          <a:lstStyle/>
          <a:p>
            <a:pPr marL="0" marR="0" lvl="0" indent="0" algn="ctr" defTabSz="685669"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mn-ea"/>
                <a:cs typeface="+mn-cs"/>
              </a:rPr>
              <a:t>Store</a:t>
            </a:r>
            <a:endParaRPr kumimoji="0" lang="en-US" sz="1200" b="1" i="1" u="none" strike="noStrike" kern="0" cap="none" spc="0" normalizeH="0" baseline="0" noProof="0" dirty="0">
              <a:ln>
                <a:noFill/>
              </a:ln>
              <a:solidFill>
                <a:srgbClr val="BAD80A"/>
              </a:solidFill>
              <a:effectLst/>
              <a:uLnTx/>
              <a:uFillTx/>
              <a:latin typeface="Segoe UI"/>
              <a:ea typeface="+mn-ea"/>
              <a:cs typeface="+mn-cs"/>
            </a:endParaRPr>
          </a:p>
        </p:txBody>
      </p:sp>
      <p:sp>
        <p:nvSpPr>
          <p:cNvPr id="181" name="TextBox 180">
            <a:extLst>
              <a:ext uri="{FF2B5EF4-FFF2-40B4-BE49-F238E27FC236}">
                <a16:creationId xmlns:a16="http://schemas.microsoft.com/office/drawing/2014/main" id="{54EA46C5-F6A3-45C2-8C75-2D98CC78186D}"/>
              </a:ext>
            </a:extLst>
          </p:cNvPr>
          <p:cNvSpPr txBox="1"/>
          <p:nvPr/>
        </p:nvSpPr>
        <p:spPr>
          <a:xfrm>
            <a:off x="5502399" y="3776033"/>
            <a:ext cx="786757" cy="276999"/>
          </a:xfrm>
          <a:prstGeom prst="rect">
            <a:avLst/>
          </a:prstGeom>
          <a:noFill/>
        </p:spPr>
        <p:txBody>
          <a:bodyPr wrap="square" rtlCol="0">
            <a:spAutoFit/>
          </a:bodyPr>
          <a:lstStyle/>
          <a:p>
            <a:pPr marL="0" marR="0" lvl="0" indent="0" algn="ctr" defTabSz="685669"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mn-ea"/>
                <a:cs typeface="+mn-cs"/>
              </a:rPr>
              <a:t>Supplier</a:t>
            </a:r>
            <a:endParaRPr kumimoji="0" lang="en-US" sz="1200" b="1" i="1" u="none" strike="noStrike" kern="0" cap="none" spc="0" normalizeH="0" baseline="0" noProof="0" dirty="0">
              <a:ln>
                <a:noFill/>
              </a:ln>
              <a:solidFill>
                <a:srgbClr val="BAD80A"/>
              </a:solidFill>
              <a:effectLst/>
              <a:uLnTx/>
              <a:uFillTx/>
              <a:latin typeface="Segoe UI"/>
              <a:ea typeface="+mn-ea"/>
              <a:cs typeface="+mn-cs"/>
            </a:endParaRPr>
          </a:p>
        </p:txBody>
      </p:sp>
      <p:sp>
        <p:nvSpPr>
          <p:cNvPr id="182" name="TextBox 181">
            <a:extLst>
              <a:ext uri="{FF2B5EF4-FFF2-40B4-BE49-F238E27FC236}">
                <a16:creationId xmlns:a16="http://schemas.microsoft.com/office/drawing/2014/main" id="{494DA915-9E55-4DDB-81B4-479369F68E75}"/>
              </a:ext>
            </a:extLst>
          </p:cNvPr>
          <p:cNvSpPr txBox="1"/>
          <p:nvPr/>
        </p:nvSpPr>
        <p:spPr>
          <a:xfrm>
            <a:off x="7166041" y="4765686"/>
            <a:ext cx="766390" cy="276999"/>
          </a:xfrm>
          <a:prstGeom prst="rect">
            <a:avLst/>
          </a:prstGeom>
          <a:noFill/>
        </p:spPr>
        <p:txBody>
          <a:bodyPr wrap="square" rtlCol="0">
            <a:spAutoFit/>
          </a:bodyPr>
          <a:lstStyle/>
          <a:p>
            <a:pPr marL="0" marR="0" lvl="0" indent="0" algn="ctr" defTabSz="685669"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mn-ea"/>
                <a:cs typeface="+mn-cs"/>
              </a:rPr>
              <a:t>Partner</a:t>
            </a:r>
            <a:endParaRPr kumimoji="0" lang="en-US" sz="1200" b="1" i="1" u="none" strike="noStrike" kern="0" cap="none" spc="0" normalizeH="0" baseline="0" noProof="0" dirty="0">
              <a:ln>
                <a:noFill/>
              </a:ln>
              <a:solidFill>
                <a:srgbClr val="BAD80A"/>
              </a:solidFill>
              <a:effectLst/>
              <a:uLnTx/>
              <a:uFillTx/>
              <a:latin typeface="Segoe UI"/>
              <a:ea typeface="+mn-ea"/>
              <a:cs typeface="+mn-cs"/>
            </a:endParaRPr>
          </a:p>
        </p:txBody>
      </p:sp>
      <p:grpSp>
        <p:nvGrpSpPr>
          <p:cNvPr id="183" name="Group 182">
            <a:extLst>
              <a:ext uri="{FF2B5EF4-FFF2-40B4-BE49-F238E27FC236}">
                <a16:creationId xmlns:a16="http://schemas.microsoft.com/office/drawing/2014/main" id="{29768B8A-6B46-4BE3-BBA9-DFE340545A28}"/>
              </a:ext>
            </a:extLst>
          </p:cNvPr>
          <p:cNvGrpSpPr/>
          <p:nvPr/>
        </p:nvGrpSpPr>
        <p:grpSpPr>
          <a:xfrm>
            <a:off x="7466262" y="1547753"/>
            <a:ext cx="1632225" cy="1883236"/>
            <a:chOff x="8404750" y="1588142"/>
            <a:chExt cx="3679496" cy="3088528"/>
          </a:xfrm>
        </p:grpSpPr>
        <p:cxnSp>
          <p:nvCxnSpPr>
            <p:cNvPr id="188" name="Straight Connector 187">
              <a:extLst>
                <a:ext uri="{FF2B5EF4-FFF2-40B4-BE49-F238E27FC236}">
                  <a16:creationId xmlns:a16="http://schemas.microsoft.com/office/drawing/2014/main" id="{1CDA6089-F027-4DA5-99E7-AB5058B7DD5F}"/>
                </a:ext>
              </a:extLst>
            </p:cNvPr>
            <p:cNvCxnSpPr/>
            <p:nvPr/>
          </p:nvCxnSpPr>
          <p:spPr>
            <a:xfrm>
              <a:off x="8520355" y="3123931"/>
              <a:ext cx="3137487" cy="0"/>
            </a:xfrm>
            <a:prstGeom prst="line">
              <a:avLst/>
            </a:prstGeom>
            <a:ln>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90" name="Group 189">
              <a:extLst>
                <a:ext uri="{FF2B5EF4-FFF2-40B4-BE49-F238E27FC236}">
                  <a16:creationId xmlns:a16="http://schemas.microsoft.com/office/drawing/2014/main" id="{90CAF8C4-9E68-4507-B2D0-AF96A48FDE0A}"/>
                </a:ext>
              </a:extLst>
            </p:cNvPr>
            <p:cNvGrpSpPr/>
            <p:nvPr/>
          </p:nvGrpSpPr>
          <p:grpSpPr>
            <a:xfrm>
              <a:off x="8591796" y="2123193"/>
              <a:ext cx="3482518" cy="378566"/>
              <a:chOff x="8850937" y="3066165"/>
              <a:chExt cx="3552350" cy="386158"/>
            </a:xfrm>
          </p:grpSpPr>
          <p:sp>
            <p:nvSpPr>
              <p:cNvPr id="245" name="TextBox 244">
                <a:extLst>
                  <a:ext uri="{FF2B5EF4-FFF2-40B4-BE49-F238E27FC236}">
                    <a16:creationId xmlns:a16="http://schemas.microsoft.com/office/drawing/2014/main" id="{BA9E150B-D08B-4D33-B658-EC88C9741EC3}"/>
                  </a:ext>
                </a:extLst>
              </p:cNvPr>
              <p:cNvSpPr txBox="1"/>
              <p:nvPr/>
            </p:nvSpPr>
            <p:spPr>
              <a:xfrm>
                <a:off x="9173541" y="3066165"/>
                <a:ext cx="3229746" cy="386158"/>
              </a:xfrm>
              <a:prstGeom prst="rect">
                <a:avLst/>
              </a:prstGeom>
              <a:noFill/>
            </p:spPr>
            <p:txBody>
              <a:bodyPr wrap="none" rtlCol="0">
                <a:spAutoFit/>
              </a:bodyPr>
              <a:lstStyle/>
              <a:p>
                <a:pPr marL="0" marR="0" lvl="0" indent="0" algn="l" defTabSz="68566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Become more productive</a:t>
                </a:r>
              </a:p>
            </p:txBody>
          </p:sp>
          <p:sp>
            <p:nvSpPr>
              <p:cNvPr id="246" name="Freeform 79">
                <a:extLst>
                  <a:ext uri="{FF2B5EF4-FFF2-40B4-BE49-F238E27FC236}">
                    <a16:creationId xmlns:a16="http://schemas.microsoft.com/office/drawing/2014/main" id="{E6020175-32DD-4088-8651-5215A9B0D70D}"/>
                  </a:ext>
                </a:extLst>
              </p:cNvPr>
              <p:cNvSpPr>
                <a:spLocks noChangeArrowheads="1"/>
              </p:cNvSpPr>
              <p:nvPr/>
            </p:nvSpPr>
            <p:spPr bwMode="auto">
              <a:xfrm>
                <a:off x="8850937" y="3106869"/>
                <a:ext cx="334597" cy="337073"/>
              </a:xfrm>
              <a:custGeom>
                <a:avLst/>
                <a:gdLst>
                  <a:gd name="T0" fmla="*/ 106933 w 479"/>
                  <a:gd name="T1" fmla="*/ 0 h 479"/>
                  <a:gd name="T2" fmla="*/ 106933 w 479"/>
                  <a:gd name="T3" fmla="*/ 0 h 479"/>
                  <a:gd name="T4" fmla="*/ 0 w 479"/>
                  <a:gd name="T5" fmla="*/ 107725 h 479"/>
                  <a:gd name="T6" fmla="*/ 106933 w 479"/>
                  <a:gd name="T7" fmla="*/ 215449 h 479"/>
                  <a:gd name="T8" fmla="*/ 213866 w 479"/>
                  <a:gd name="T9" fmla="*/ 107725 h 479"/>
                  <a:gd name="T10" fmla="*/ 106933 w 479"/>
                  <a:gd name="T11" fmla="*/ 0 h 479"/>
                  <a:gd name="T12" fmla="*/ 198206 w 479"/>
                  <a:gd name="T13" fmla="*/ 107725 h 479"/>
                  <a:gd name="T14" fmla="*/ 198206 w 479"/>
                  <a:gd name="T15" fmla="*/ 107725 h 479"/>
                  <a:gd name="T16" fmla="*/ 178520 w 479"/>
                  <a:gd name="T17" fmla="*/ 163615 h 479"/>
                  <a:gd name="T18" fmla="*/ 174493 w 479"/>
                  <a:gd name="T19" fmla="*/ 147840 h 479"/>
                  <a:gd name="T20" fmla="*/ 178520 w 479"/>
                  <a:gd name="T21" fmla="*/ 115838 h 479"/>
                  <a:gd name="T22" fmla="*/ 166439 w 479"/>
                  <a:gd name="T23" fmla="*/ 91949 h 479"/>
                  <a:gd name="T24" fmla="*/ 142726 w 479"/>
                  <a:gd name="T25" fmla="*/ 80230 h 479"/>
                  <a:gd name="T26" fmla="*/ 154806 w 479"/>
                  <a:gd name="T27" fmla="*/ 39664 h 479"/>
                  <a:gd name="T28" fmla="*/ 131093 w 479"/>
                  <a:gd name="T29" fmla="*/ 27945 h 479"/>
                  <a:gd name="T30" fmla="*/ 134673 w 479"/>
                  <a:gd name="T31" fmla="*/ 23889 h 479"/>
                  <a:gd name="T32" fmla="*/ 198206 w 479"/>
                  <a:gd name="T33" fmla="*/ 107725 h 479"/>
                  <a:gd name="T34" fmla="*/ 94853 w 479"/>
                  <a:gd name="T35" fmla="*/ 19832 h 479"/>
                  <a:gd name="T36" fmla="*/ 94853 w 479"/>
                  <a:gd name="T37" fmla="*/ 19832 h 479"/>
                  <a:gd name="T38" fmla="*/ 83220 w 479"/>
                  <a:gd name="T39" fmla="*/ 27945 h 479"/>
                  <a:gd name="T40" fmla="*/ 67113 w 479"/>
                  <a:gd name="T41" fmla="*/ 39664 h 479"/>
                  <a:gd name="T42" fmla="*/ 51453 w 479"/>
                  <a:gd name="T43" fmla="*/ 59947 h 479"/>
                  <a:gd name="T44" fmla="*/ 59507 w 479"/>
                  <a:gd name="T45" fmla="*/ 71666 h 479"/>
                  <a:gd name="T46" fmla="*/ 79193 w 479"/>
                  <a:gd name="T47" fmla="*/ 71666 h 479"/>
                  <a:gd name="T48" fmla="*/ 110960 w 479"/>
                  <a:gd name="T49" fmla="*/ 107725 h 479"/>
                  <a:gd name="T50" fmla="*/ 83220 w 479"/>
                  <a:gd name="T51" fmla="*/ 131613 h 479"/>
                  <a:gd name="T52" fmla="*/ 79193 w 479"/>
                  <a:gd name="T53" fmla="*/ 151896 h 479"/>
                  <a:gd name="T54" fmla="*/ 79193 w 479"/>
                  <a:gd name="T55" fmla="*/ 175785 h 479"/>
                  <a:gd name="T56" fmla="*/ 59507 w 479"/>
                  <a:gd name="T57" fmla="*/ 155502 h 479"/>
                  <a:gd name="T58" fmla="*/ 55480 w 479"/>
                  <a:gd name="T59" fmla="*/ 128008 h 479"/>
                  <a:gd name="T60" fmla="*/ 39373 w 479"/>
                  <a:gd name="T61" fmla="*/ 107725 h 479"/>
                  <a:gd name="T62" fmla="*/ 47426 w 479"/>
                  <a:gd name="T63" fmla="*/ 83836 h 479"/>
                  <a:gd name="T64" fmla="*/ 23713 w 479"/>
                  <a:gd name="T65" fmla="*/ 76173 h 479"/>
                  <a:gd name="T66" fmla="*/ 94853 w 479"/>
                  <a:gd name="T67" fmla="*/ 19832 h 479"/>
                  <a:gd name="T68" fmla="*/ 79193 w 479"/>
                  <a:gd name="T69" fmla="*/ 195617 h 479"/>
                  <a:gd name="T70" fmla="*/ 79193 w 479"/>
                  <a:gd name="T71" fmla="*/ 195617 h 479"/>
                  <a:gd name="T72" fmla="*/ 91273 w 479"/>
                  <a:gd name="T73" fmla="*/ 187504 h 479"/>
                  <a:gd name="T74" fmla="*/ 106933 w 479"/>
                  <a:gd name="T75" fmla="*/ 183447 h 479"/>
                  <a:gd name="T76" fmla="*/ 131093 w 479"/>
                  <a:gd name="T77" fmla="*/ 175785 h 479"/>
                  <a:gd name="T78" fmla="*/ 158386 w 479"/>
                  <a:gd name="T79" fmla="*/ 183447 h 479"/>
                  <a:gd name="T80" fmla="*/ 106933 w 479"/>
                  <a:gd name="T81" fmla="*/ 199674 h 479"/>
                  <a:gd name="T82" fmla="*/ 79193 w 479"/>
                  <a:gd name="T83" fmla="*/ 195617 h 4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9" h="479">
                    <a:moveTo>
                      <a:pt x="239" y="0"/>
                    </a:moveTo>
                    <a:lnTo>
                      <a:pt x="239" y="0"/>
                    </a:lnTo>
                    <a:cubicBezTo>
                      <a:pt x="106" y="0"/>
                      <a:pt x="0" y="106"/>
                      <a:pt x="0" y="239"/>
                    </a:cubicBezTo>
                    <a:cubicBezTo>
                      <a:pt x="0" y="372"/>
                      <a:pt x="106" y="478"/>
                      <a:pt x="239" y="478"/>
                    </a:cubicBezTo>
                    <a:cubicBezTo>
                      <a:pt x="372" y="478"/>
                      <a:pt x="478" y="372"/>
                      <a:pt x="478" y="239"/>
                    </a:cubicBezTo>
                    <a:cubicBezTo>
                      <a:pt x="478" y="106"/>
                      <a:pt x="372" y="0"/>
                      <a:pt x="239" y="0"/>
                    </a:cubicBezTo>
                    <a:close/>
                    <a:moveTo>
                      <a:pt x="443" y="239"/>
                    </a:moveTo>
                    <a:lnTo>
                      <a:pt x="443" y="239"/>
                    </a:lnTo>
                    <a:cubicBezTo>
                      <a:pt x="443" y="292"/>
                      <a:pt x="425" y="328"/>
                      <a:pt x="399" y="363"/>
                    </a:cubicBezTo>
                    <a:cubicBezTo>
                      <a:pt x="390" y="363"/>
                      <a:pt x="381" y="345"/>
                      <a:pt x="390" y="328"/>
                    </a:cubicBezTo>
                    <a:cubicBezTo>
                      <a:pt x="399" y="310"/>
                      <a:pt x="399" y="275"/>
                      <a:pt x="399" y="257"/>
                    </a:cubicBezTo>
                    <a:cubicBezTo>
                      <a:pt x="399" y="239"/>
                      <a:pt x="390" y="204"/>
                      <a:pt x="372" y="204"/>
                    </a:cubicBezTo>
                    <a:cubicBezTo>
                      <a:pt x="346" y="204"/>
                      <a:pt x="337" y="204"/>
                      <a:pt x="319" y="178"/>
                    </a:cubicBezTo>
                    <a:cubicBezTo>
                      <a:pt x="301" y="124"/>
                      <a:pt x="372" y="115"/>
                      <a:pt x="346" y="88"/>
                    </a:cubicBezTo>
                    <a:cubicBezTo>
                      <a:pt x="337" y="80"/>
                      <a:pt x="301" y="115"/>
                      <a:pt x="293" y="62"/>
                    </a:cubicBezTo>
                    <a:lnTo>
                      <a:pt x="301" y="53"/>
                    </a:lnTo>
                    <a:cubicBezTo>
                      <a:pt x="381" y="80"/>
                      <a:pt x="443" y="150"/>
                      <a:pt x="443" y="239"/>
                    </a:cubicBezTo>
                    <a:close/>
                    <a:moveTo>
                      <a:pt x="212" y="44"/>
                    </a:moveTo>
                    <a:lnTo>
                      <a:pt x="212" y="44"/>
                    </a:lnTo>
                    <a:cubicBezTo>
                      <a:pt x="204" y="53"/>
                      <a:pt x="194" y="53"/>
                      <a:pt x="186" y="62"/>
                    </a:cubicBezTo>
                    <a:cubicBezTo>
                      <a:pt x="168" y="80"/>
                      <a:pt x="159" y="71"/>
                      <a:pt x="150" y="88"/>
                    </a:cubicBezTo>
                    <a:cubicBezTo>
                      <a:pt x="141" y="106"/>
                      <a:pt x="115" y="124"/>
                      <a:pt x="115" y="133"/>
                    </a:cubicBezTo>
                    <a:cubicBezTo>
                      <a:pt x="115" y="142"/>
                      <a:pt x="133" y="159"/>
                      <a:pt x="133" y="159"/>
                    </a:cubicBezTo>
                    <a:cubicBezTo>
                      <a:pt x="141" y="150"/>
                      <a:pt x="159" y="150"/>
                      <a:pt x="177" y="159"/>
                    </a:cubicBezTo>
                    <a:cubicBezTo>
                      <a:pt x="186" y="159"/>
                      <a:pt x="275" y="169"/>
                      <a:pt x="248" y="239"/>
                    </a:cubicBezTo>
                    <a:cubicBezTo>
                      <a:pt x="239" y="266"/>
                      <a:pt x="194" y="257"/>
                      <a:pt x="186" y="292"/>
                    </a:cubicBezTo>
                    <a:cubicBezTo>
                      <a:pt x="186" y="301"/>
                      <a:pt x="186" y="328"/>
                      <a:pt x="177" y="337"/>
                    </a:cubicBezTo>
                    <a:cubicBezTo>
                      <a:pt x="177" y="345"/>
                      <a:pt x="186" y="390"/>
                      <a:pt x="177" y="390"/>
                    </a:cubicBezTo>
                    <a:cubicBezTo>
                      <a:pt x="168" y="390"/>
                      <a:pt x="133" y="345"/>
                      <a:pt x="133" y="345"/>
                    </a:cubicBezTo>
                    <a:cubicBezTo>
                      <a:pt x="133" y="337"/>
                      <a:pt x="124" y="310"/>
                      <a:pt x="124" y="284"/>
                    </a:cubicBezTo>
                    <a:cubicBezTo>
                      <a:pt x="124" y="266"/>
                      <a:pt x="88" y="266"/>
                      <a:pt x="88" y="239"/>
                    </a:cubicBezTo>
                    <a:cubicBezTo>
                      <a:pt x="88" y="213"/>
                      <a:pt x="106" y="195"/>
                      <a:pt x="106" y="186"/>
                    </a:cubicBezTo>
                    <a:cubicBezTo>
                      <a:pt x="97" y="169"/>
                      <a:pt x="62" y="169"/>
                      <a:pt x="53" y="169"/>
                    </a:cubicBezTo>
                    <a:cubicBezTo>
                      <a:pt x="80" y="97"/>
                      <a:pt x="141" y="53"/>
                      <a:pt x="212" y="44"/>
                    </a:cubicBezTo>
                    <a:close/>
                    <a:moveTo>
                      <a:pt x="177" y="434"/>
                    </a:moveTo>
                    <a:lnTo>
                      <a:pt x="177" y="434"/>
                    </a:lnTo>
                    <a:cubicBezTo>
                      <a:pt x="186" y="425"/>
                      <a:pt x="186" y="416"/>
                      <a:pt x="204" y="416"/>
                    </a:cubicBezTo>
                    <a:cubicBezTo>
                      <a:pt x="212" y="416"/>
                      <a:pt x="221" y="416"/>
                      <a:pt x="239" y="407"/>
                    </a:cubicBezTo>
                    <a:cubicBezTo>
                      <a:pt x="248" y="407"/>
                      <a:pt x="275" y="398"/>
                      <a:pt x="293" y="390"/>
                    </a:cubicBezTo>
                    <a:cubicBezTo>
                      <a:pt x="310" y="390"/>
                      <a:pt x="346" y="398"/>
                      <a:pt x="354" y="407"/>
                    </a:cubicBezTo>
                    <a:cubicBezTo>
                      <a:pt x="319" y="434"/>
                      <a:pt x="284" y="443"/>
                      <a:pt x="239" y="443"/>
                    </a:cubicBezTo>
                    <a:cubicBezTo>
                      <a:pt x="221" y="443"/>
                      <a:pt x="194" y="443"/>
                      <a:pt x="177" y="434"/>
                    </a:cubicBezTo>
                    <a:close/>
                  </a:path>
                </a:pathLst>
              </a:custGeom>
              <a:solidFill>
                <a:schemeClr val="accent4"/>
              </a:solidFill>
              <a:ln>
                <a:noFill/>
              </a:ln>
              <a:effectLst/>
              <a:extLst/>
            </p:spPr>
            <p:txBody>
              <a:bodyPr wrap="none" lIns="25715" tIns="12857" rIns="25715" bIns="12857" anchor="ct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cxnSp>
          <p:nvCxnSpPr>
            <p:cNvPr id="191" name="Straight Connector 190">
              <a:extLst>
                <a:ext uri="{FF2B5EF4-FFF2-40B4-BE49-F238E27FC236}">
                  <a16:creationId xmlns:a16="http://schemas.microsoft.com/office/drawing/2014/main" id="{BC7D958D-B33B-4E7A-B772-E760A24876A8}"/>
                </a:ext>
              </a:extLst>
            </p:cNvPr>
            <p:cNvCxnSpPr/>
            <p:nvPr/>
          </p:nvCxnSpPr>
          <p:spPr>
            <a:xfrm>
              <a:off x="8404750" y="2203246"/>
              <a:ext cx="3137487" cy="0"/>
            </a:xfrm>
            <a:prstGeom prst="line">
              <a:avLst/>
            </a:prstGeom>
            <a:ln>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C0D873E7-0176-4585-BE1E-F9BFA20585EA}"/>
                </a:ext>
              </a:extLst>
            </p:cNvPr>
            <p:cNvGrpSpPr/>
            <p:nvPr/>
          </p:nvGrpSpPr>
          <p:grpSpPr>
            <a:xfrm>
              <a:off x="8548532" y="1588142"/>
              <a:ext cx="2105626" cy="378567"/>
              <a:chOff x="8766308" y="2302559"/>
              <a:chExt cx="2147848" cy="386159"/>
            </a:xfrm>
          </p:grpSpPr>
          <p:sp>
            <p:nvSpPr>
              <p:cNvPr id="243" name="TextBox 242">
                <a:extLst>
                  <a:ext uri="{FF2B5EF4-FFF2-40B4-BE49-F238E27FC236}">
                    <a16:creationId xmlns:a16="http://schemas.microsoft.com/office/drawing/2014/main" id="{9F8BC039-BE57-44C7-9D8C-103AA61BDEB8}"/>
                  </a:ext>
                </a:extLst>
              </p:cNvPr>
              <p:cNvSpPr txBox="1"/>
              <p:nvPr/>
            </p:nvSpPr>
            <p:spPr>
              <a:xfrm>
                <a:off x="9133041" y="2302559"/>
                <a:ext cx="1781115" cy="386159"/>
              </a:xfrm>
              <a:prstGeom prst="rect">
                <a:avLst/>
              </a:prstGeom>
              <a:noFill/>
            </p:spPr>
            <p:txBody>
              <a:bodyPr wrap="none" rtlCol="0">
                <a:spAutoFit/>
              </a:bodyPr>
              <a:lstStyle/>
              <a:p>
                <a:pPr marL="0" marR="0" lvl="0" indent="0" algn="l" defTabSz="68566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Save money</a:t>
                </a:r>
              </a:p>
            </p:txBody>
          </p:sp>
          <p:sp>
            <p:nvSpPr>
              <p:cNvPr id="244" name="Freeform 79">
                <a:extLst>
                  <a:ext uri="{FF2B5EF4-FFF2-40B4-BE49-F238E27FC236}">
                    <a16:creationId xmlns:a16="http://schemas.microsoft.com/office/drawing/2014/main" id="{6E1BC986-7140-437B-B92E-1B04DD695FC2}"/>
                  </a:ext>
                </a:extLst>
              </p:cNvPr>
              <p:cNvSpPr>
                <a:spLocks noChangeArrowheads="1"/>
              </p:cNvSpPr>
              <p:nvPr/>
            </p:nvSpPr>
            <p:spPr bwMode="auto">
              <a:xfrm>
                <a:off x="8766308" y="2343602"/>
                <a:ext cx="334597" cy="337074"/>
              </a:xfrm>
              <a:custGeom>
                <a:avLst/>
                <a:gdLst>
                  <a:gd name="T0" fmla="*/ 106933 w 479"/>
                  <a:gd name="T1" fmla="*/ 0 h 479"/>
                  <a:gd name="T2" fmla="*/ 106933 w 479"/>
                  <a:gd name="T3" fmla="*/ 0 h 479"/>
                  <a:gd name="T4" fmla="*/ 0 w 479"/>
                  <a:gd name="T5" fmla="*/ 107725 h 479"/>
                  <a:gd name="T6" fmla="*/ 106933 w 479"/>
                  <a:gd name="T7" fmla="*/ 215449 h 479"/>
                  <a:gd name="T8" fmla="*/ 213866 w 479"/>
                  <a:gd name="T9" fmla="*/ 107725 h 479"/>
                  <a:gd name="T10" fmla="*/ 106933 w 479"/>
                  <a:gd name="T11" fmla="*/ 0 h 479"/>
                  <a:gd name="T12" fmla="*/ 198206 w 479"/>
                  <a:gd name="T13" fmla="*/ 107725 h 479"/>
                  <a:gd name="T14" fmla="*/ 198206 w 479"/>
                  <a:gd name="T15" fmla="*/ 107725 h 479"/>
                  <a:gd name="T16" fmla="*/ 178520 w 479"/>
                  <a:gd name="T17" fmla="*/ 163615 h 479"/>
                  <a:gd name="T18" fmla="*/ 174493 w 479"/>
                  <a:gd name="T19" fmla="*/ 147840 h 479"/>
                  <a:gd name="T20" fmla="*/ 178520 w 479"/>
                  <a:gd name="T21" fmla="*/ 115838 h 479"/>
                  <a:gd name="T22" fmla="*/ 166439 w 479"/>
                  <a:gd name="T23" fmla="*/ 91949 h 479"/>
                  <a:gd name="T24" fmla="*/ 142726 w 479"/>
                  <a:gd name="T25" fmla="*/ 80230 h 479"/>
                  <a:gd name="T26" fmla="*/ 154806 w 479"/>
                  <a:gd name="T27" fmla="*/ 39664 h 479"/>
                  <a:gd name="T28" fmla="*/ 131093 w 479"/>
                  <a:gd name="T29" fmla="*/ 27945 h 479"/>
                  <a:gd name="T30" fmla="*/ 134673 w 479"/>
                  <a:gd name="T31" fmla="*/ 23889 h 479"/>
                  <a:gd name="T32" fmla="*/ 198206 w 479"/>
                  <a:gd name="T33" fmla="*/ 107725 h 479"/>
                  <a:gd name="T34" fmla="*/ 94853 w 479"/>
                  <a:gd name="T35" fmla="*/ 19832 h 479"/>
                  <a:gd name="T36" fmla="*/ 94853 w 479"/>
                  <a:gd name="T37" fmla="*/ 19832 h 479"/>
                  <a:gd name="T38" fmla="*/ 83220 w 479"/>
                  <a:gd name="T39" fmla="*/ 27945 h 479"/>
                  <a:gd name="T40" fmla="*/ 67113 w 479"/>
                  <a:gd name="T41" fmla="*/ 39664 h 479"/>
                  <a:gd name="T42" fmla="*/ 51453 w 479"/>
                  <a:gd name="T43" fmla="*/ 59947 h 479"/>
                  <a:gd name="T44" fmla="*/ 59507 w 479"/>
                  <a:gd name="T45" fmla="*/ 71666 h 479"/>
                  <a:gd name="T46" fmla="*/ 79193 w 479"/>
                  <a:gd name="T47" fmla="*/ 71666 h 479"/>
                  <a:gd name="T48" fmla="*/ 110960 w 479"/>
                  <a:gd name="T49" fmla="*/ 107725 h 479"/>
                  <a:gd name="T50" fmla="*/ 83220 w 479"/>
                  <a:gd name="T51" fmla="*/ 131613 h 479"/>
                  <a:gd name="T52" fmla="*/ 79193 w 479"/>
                  <a:gd name="T53" fmla="*/ 151896 h 479"/>
                  <a:gd name="T54" fmla="*/ 79193 w 479"/>
                  <a:gd name="T55" fmla="*/ 175785 h 479"/>
                  <a:gd name="T56" fmla="*/ 59507 w 479"/>
                  <a:gd name="T57" fmla="*/ 155502 h 479"/>
                  <a:gd name="T58" fmla="*/ 55480 w 479"/>
                  <a:gd name="T59" fmla="*/ 128008 h 479"/>
                  <a:gd name="T60" fmla="*/ 39373 w 479"/>
                  <a:gd name="T61" fmla="*/ 107725 h 479"/>
                  <a:gd name="T62" fmla="*/ 47426 w 479"/>
                  <a:gd name="T63" fmla="*/ 83836 h 479"/>
                  <a:gd name="T64" fmla="*/ 23713 w 479"/>
                  <a:gd name="T65" fmla="*/ 76173 h 479"/>
                  <a:gd name="T66" fmla="*/ 94853 w 479"/>
                  <a:gd name="T67" fmla="*/ 19832 h 479"/>
                  <a:gd name="T68" fmla="*/ 79193 w 479"/>
                  <a:gd name="T69" fmla="*/ 195617 h 479"/>
                  <a:gd name="T70" fmla="*/ 79193 w 479"/>
                  <a:gd name="T71" fmla="*/ 195617 h 479"/>
                  <a:gd name="T72" fmla="*/ 91273 w 479"/>
                  <a:gd name="T73" fmla="*/ 187504 h 479"/>
                  <a:gd name="T74" fmla="*/ 106933 w 479"/>
                  <a:gd name="T75" fmla="*/ 183447 h 479"/>
                  <a:gd name="T76" fmla="*/ 131093 w 479"/>
                  <a:gd name="T77" fmla="*/ 175785 h 479"/>
                  <a:gd name="T78" fmla="*/ 158386 w 479"/>
                  <a:gd name="T79" fmla="*/ 183447 h 479"/>
                  <a:gd name="T80" fmla="*/ 106933 w 479"/>
                  <a:gd name="T81" fmla="*/ 199674 h 479"/>
                  <a:gd name="T82" fmla="*/ 79193 w 479"/>
                  <a:gd name="T83" fmla="*/ 195617 h 4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9" h="479">
                    <a:moveTo>
                      <a:pt x="239" y="0"/>
                    </a:moveTo>
                    <a:lnTo>
                      <a:pt x="239" y="0"/>
                    </a:lnTo>
                    <a:cubicBezTo>
                      <a:pt x="106" y="0"/>
                      <a:pt x="0" y="106"/>
                      <a:pt x="0" y="239"/>
                    </a:cubicBezTo>
                    <a:cubicBezTo>
                      <a:pt x="0" y="372"/>
                      <a:pt x="106" y="478"/>
                      <a:pt x="239" y="478"/>
                    </a:cubicBezTo>
                    <a:cubicBezTo>
                      <a:pt x="372" y="478"/>
                      <a:pt x="478" y="372"/>
                      <a:pt x="478" y="239"/>
                    </a:cubicBezTo>
                    <a:cubicBezTo>
                      <a:pt x="478" y="106"/>
                      <a:pt x="372" y="0"/>
                      <a:pt x="239" y="0"/>
                    </a:cubicBezTo>
                    <a:close/>
                    <a:moveTo>
                      <a:pt x="443" y="239"/>
                    </a:moveTo>
                    <a:lnTo>
                      <a:pt x="443" y="239"/>
                    </a:lnTo>
                    <a:cubicBezTo>
                      <a:pt x="443" y="292"/>
                      <a:pt x="425" y="328"/>
                      <a:pt x="399" y="363"/>
                    </a:cubicBezTo>
                    <a:cubicBezTo>
                      <a:pt x="390" y="363"/>
                      <a:pt x="381" y="345"/>
                      <a:pt x="390" y="328"/>
                    </a:cubicBezTo>
                    <a:cubicBezTo>
                      <a:pt x="399" y="310"/>
                      <a:pt x="399" y="275"/>
                      <a:pt x="399" y="257"/>
                    </a:cubicBezTo>
                    <a:cubicBezTo>
                      <a:pt x="399" y="239"/>
                      <a:pt x="390" y="204"/>
                      <a:pt x="372" y="204"/>
                    </a:cubicBezTo>
                    <a:cubicBezTo>
                      <a:pt x="346" y="204"/>
                      <a:pt x="337" y="204"/>
                      <a:pt x="319" y="178"/>
                    </a:cubicBezTo>
                    <a:cubicBezTo>
                      <a:pt x="301" y="124"/>
                      <a:pt x="372" y="115"/>
                      <a:pt x="346" y="88"/>
                    </a:cubicBezTo>
                    <a:cubicBezTo>
                      <a:pt x="337" y="80"/>
                      <a:pt x="301" y="115"/>
                      <a:pt x="293" y="62"/>
                    </a:cubicBezTo>
                    <a:lnTo>
                      <a:pt x="301" y="53"/>
                    </a:lnTo>
                    <a:cubicBezTo>
                      <a:pt x="381" y="80"/>
                      <a:pt x="443" y="150"/>
                      <a:pt x="443" y="239"/>
                    </a:cubicBezTo>
                    <a:close/>
                    <a:moveTo>
                      <a:pt x="212" y="44"/>
                    </a:moveTo>
                    <a:lnTo>
                      <a:pt x="212" y="44"/>
                    </a:lnTo>
                    <a:cubicBezTo>
                      <a:pt x="204" y="53"/>
                      <a:pt x="194" y="53"/>
                      <a:pt x="186" y="62"/>
                    </a:cubicBezTo>
                    <a:cubicBezTo>
                      <a:pt x="168" y="80"/>
                      <a:pt x="159" y="71"/>
                      <a:pt x="150" y="88"/>
                    </a:cubicBezTo>
                    <a:cubicBezTo>
                      <a:pt x="141" y="106"/>
                      <a:pt x="115" y="124"/>
                      <a:pt x="115" y="133"/>
                    </a:cubicBezTo>
                    <a:cubicBezTo>
                      <a:pt x="115" y="142"/>
                      <a:pt x="133" y="159"/>
                      <a:pt x="133" y="159"/>
                    </a:cubicBezTo>
                    <a:cubicBezTo>
                      <a:pt x="141" y="150"/>
                      <a:pt x="159" y="150"/>
                      <a:pt x="177" y="159"/>
                    </a:cubicBezTo>
                    <a:cubicBezTo>
                      <a:pt x="186" y="159"/>
                      <a:pt x="275" y="169"/>
                      <a:pt x="248" y="239"/>
                    </a:cubicBezTo>
                    <a:cubicBezTo>
                      <a:pt x="239" y="266"/>
                      <a:pt x="194" y="257"/>
                      <a:pt x="186" y="292"/>
                    </a:cubicBezTo>
                    <a:cubicBezTo>
                      <a:pt x="186" y="301"/>
                      <a:pt x="186" y="328"/>
                      <a:pt x="177" y="337"/>
                    </a:cubicBezTo>
                    <a:cubicBezTo>
                      <a:pt x="177" y="345"/>
                      <a:pt x="186" y="390"/>
                      <a:pt x="177" y="390"/>
                    </a:cubicBezTo>
                    <a:cubicBezTo>
                      <a:pt x="168" y="390"/>
                      <a:pt x="133" y="345"/>
                      <a:pt x="133" y="345"/>
                    </a:cubicBezTo>
                    <a:cubicBezTo>
                      <a:pt x="133" y="337"/>
                      <a:pt x="124" y="310"/>
                      <a:pt x="124" y="284"/>
                    </a:cubicBezTo>
                    <a:cubicBezTo>
                      <a:pt x="124" y="266"/>
                      <a:pt x="88" y="266"/>
                      <a:pt x="88" y="239"/>
                    </a:cubicBezTo>
                    <a:cubicBezTo>
                      <a:pt x="88" y="213"/>
                      <a:pt x="106" y="195"/>
                      <a:pt x="106" y="186"/>
                    </a:cubicBezTo>
                    <a:cubicBezTo>
                      <a:pt x="97" y="169"/>
                      <a:pt x="62" y="169"/>
                      <a:pt x="53" y="169"/>
                    </a:cubicBezTo>
                    <a:cubicBezTo>
                      <a:pt x="80" y="97"/>
                      <a:pt x="141" y="53"/>
                      <a:pt x="212" y="44"/>
                    </a:cubicBezTo>
                    <a:close/>
                    <a:moveTo>
                      <a:pt x="177" y="434"/>
                    </a:moveTo>
                    <a:lnTo>
                      <a:pt x="177" y="434"/>
                    </a:lnTo>
                    <a:cubicBezTo>
                      <a:pt x="186" y="425"/>
                      <a:pt x="186" y="416"/>
                      <a:pt x="204" y="416"/>
                    </a:cubicBezTo>
                    <a:cubicBezTo>
                      <a:pt x="212" y="416"/>
                      <a:pt x="221" y="416"/>
                      <a:pt x="239" y="407"/>
                    </a:cubicBezTo>
                    <a:cubicBezTo>
                      <a:pt x="248" y="407"/>
                      <a:pt x="275" y="398"/>
                      <a:pt x="293" y="390"/>
                    </a:cubicBezTo>
                    <a:cubicBezTo>
                      <a:pt x="310" y="390"/>
                      <a:pt x="346" y="398"/>
                      <a:pt x="354" y="407"/>
                    </a:cubicBezTo>
                    <a:cubicBezTo>
                      <a:pt x="319" y="434"/>
                      <a:pt x="284" y="443"/>
                      <a:pt x="239" y="443"/>
                    </a:cubicBezTo>
                    <a:cubicBezTo>
                      <a:pt x="221" y="443"/>
                      <a:pt x="194" y="443"/>
                      <a:pt x="177" y="434"/>
                    </a:cubicBezTo>
                    <a:close/>
                  </a:path>
                </a:pathLst>
              </a:custGeom>
              <a:solidFill>
                <a:schemeClr val="accent4"/>
              </a:solidFill>
              <a:ln>
                <a:noFill/>
              </a:ln>
              <a:effectLst/>
              <a:extLst/>
            </p:spPr>
            <p:txBody>
              <a:bodyPr wrap="none" lIns="25715" tIns="12857" rIns="25715" bIns="12857" anchor="ct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93" name="Group 192">
              <a:extLst>
                <a:ext uri="{FF2B5EF4-FFF2-40B4-BE49-F238E27FC236}">
                  <a16:creationId xmlns:a16="http://schemas.microsoft.com/office/drawing/2014/main" id="{AB903F18-CBC1-4D14-B7FA-3AC5825DB9DC}"/>
                </a:ext>
              </a:extLst>
            </p:cNvPr>
            <p:cNvGrpSpPr/>
            <p:nvPr/>
          </p:nvGrpSpPr>
          <p:grpSpPr>
            <a:xfrm>
              <a:off x="8574673" y="2639654"/>
              <a:ext cx="3091301" cy="378567"/>
              <a:chOff x="8839522" y="3682064"/>
              <a:chExt cx="3153287" cy="386159"/>
            </a:xfrm>
          </p:grpSpPr>
          <p:sp>
            <p:nvSpPr>
              <p:cNvPr id="241" name="TextBox 240">
                <a:extLst>
                  <a:ext uri="{FF2B5EF4-FFF2-40B4-BE49-F238E27FC236}">
                    <a16:creationId xmlns:a16="http://schemas.microsoft.com/office/drawing/2014/main" id="{33C48A3C-CD72-4639-97F1-BFED8267E57C}"/>
                  </a:ext>
                </a:extLst>
              </p:cNvPr>
              <p:cNvSpPr txBox="1"/>
              <p:nvPr/>
            </p:nvSpPr>
            <p:spPr>
              <a:xfrm>
                <a:off x="9179593" y="3682064"/>
                <a:ext cx="2813216" cy="386159"/>
              </a:xfrm>
              <a:prstGeom prst="rect">
                <a:avLst/>
              </a:prstGeom>
              <a:noFill/>
            </p:spPr>
            <p:txBody>
              <a:bodyPr wrap="none" rtlCol="0">
                <a:spAutoFit/>
              </a:bodyPr>
              <a:lstStyle/>
              <a:p>
                <a:pPr marL="0" marR="0" lvl="0" indent="0" algn="l" defTabSz="68566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Become more flexible</a:t>
                </a:r>
              </a:p>
            </p:txBody>
          </p:sp>
          <p:sp>
            <p:nvSpPr>
              <p:cNvPr id="242" name="Freeform 79">
                <a:extLst>
                  <a:ext uri="{FF2B5EF4-FFF2-40B4-BE49-F238E27FC236}">
                    <a16:creationId xmlns:a16="http://schemas.microsoft.com/office/drawing/2014/main" id="{89152AE1-C764-4D14-88E3-89C18E4DA0A4}"/>
                  </a:ext>
                </a:extLst>
              </p:cNvPr>
              <p:cNvSpPr>
                <a:spLocks noChangeArrowheads="1"/>
              </p:cNvSpPr>
              <p:nvPr/>
            </p:nvSpPr>
            <p:spPr bwMode="auto">
              <a:xfrm>
                <a:off x="8839522" y="3716349"/>
                <a:ext cx="334597" cy="337074"/>
              </a:xfrm>
              <a:custGeom>
                <a:avLst/>
                <a:gdLst>
                  <a:gd name="T0" fmla="*/ 106933 w 479"/>
                  <a:gd name="T1" fmla="*/ 0 h 479"/>
                  <a:gd name="T2" fmla="*/ 106933 w 479"/>
                  <a:gd name="T3" fmla="*/ 0 h 479"/>
                  <a:gd name="T4" fmla="*/ 0 w 479"/>
                  <a:gd name="T5" fmla="*/ 107725 h 479"/>
                  <a:gd name="T6" fmla="*/ 106933 w 479"/>
                  <a:gd name="T7" fmla="*/ 215449 h 479"/>
                  <a:gd name="T8" fmla="*/ 213866 w 479"/>
                  <a:gd name="T9" fmla="*/ 107725 h 479"/>
                  <a:gd name="T10" fmla="*/ 106933 w 479"/>
                  <a:gd name="T11" fmla="*/ 0 h 479"/>
                  <a:gd name="T12" fmla="*/ 198206 w 479"/>
                  <a:gd name="T13" fmla="*/ 107725 h 479"/>
                  <a:gd name="T14" fmla="*/ 198206 w 479"/>
                  <a:gd name="T15" fmla="*/ 107725 h 479"/>
                  <a:gd name="T16" fmla="*/ 178520 w 479"/>
                  <a:gd name="T17" fmla="*/ 163615 h 479"/>
                  <a:gd name="T18" fmla="*/ 174493 w 479"/>
                  <a:gd name="T19" fmla="*/ 147840 h 479"/>
                  <a:gd name="T20" fmla="*/ 178520 w 479"/>
                  <a:gd name="T21" fmla="*/ 115838 h 479"/>
                  <a:gd name="T22" fmla="*/ 166439 w 479"/>
                  <a:gd name="T23" fmla="*/ 91949 h 479"/>
                  <a:gd name="T24" fmla="*/ 142726 w 479"/>
                  <a:gd name="T25" fmla="*/ 80230 h 479"/>
                  <a:gd name="T26" fmla="*/ 154806 w 479"/>
                  <a:gd name="T27" fmla="*/ 39664 h 479"/>
                  <a:gd name="T28" fmla="*/ 131093 w 479"/>
                  <a:gd name="T29" fmla="*/ 27945 h 479"/>
                  <a:gd name="T30" fmla="*/ 134673 w 479"/>
                  <a:gd name="T31" fmla="*/ 23889 h 479"/>
                  <a:gd name="T32" fmla="*/ 198206 w 479"/>
                  <a:gd name="T33" fmla="*/ 107725 h 479"/>
                  <a:gd name="T34" fmla="*/ 94853 w 479"/>
                  <a:gd name="T35" fmla="*/ 19832 h 479"/>
                  <a:gd name="T36" fmla="*/ 94853 w 479"/>
                  <a:gd name="T37" fmla="*/ 19832 h 479"/>
                  <a:gd name="T38" fmla="*/ 83220 w 479"/>
                  <a:gd name="T39" fmla="*/ 27945 h 479"/>
                  <a:gd name="T40" fmla="*/ 67113 w 479"/>
                  <a:gd name="T41" fmla="*/ 39664 h 479"/>
                  <a:gd name="T42" fmla="*/ 51453 w 479"/>
                  <a:gd name="T43" fmla="*/ 59947 h 479"/>
                  <a:gd name="T44" fmla="*/ 59507 w 479"/>
                  <a:gd name="T45" fmla="*/ 71666 h 479"/>
                  <a:gd name="T46" fmla="*/ 79193 w 479"/>
                  <a:gd name="T47" fmla="*/ 71666 h 479"/>
                  <a:gd name="T48" fmla="*/ 110960 w 479"/>
                  <a:gd name="T49" fmla="*/ 107725 h 479"/>
                  <a:gd name="T50" fmla="*/ 83220 w 479"/>
                  <a:gd name="T51" fmla="*/ 131613 h 479"/>
                  <a:gd name="T52" fmla="*/ 79193 w 479"/>
                  <a:gd name="T53" fmla="*/ 151896 h 479"/>
                  <a:gd name="T54" fmla="*/ 79193 w 479"/>
                  <a:gd name="T55" fmla="*/ 175785 h 479"/>
                  <a:gd name="T56" fmla="*/ 59507 w 479"/>
                  <a:gd name="T57" fmla="*/ 155502 h 479"/>
                  <a:gd name="T58" fmla="*/ 55480 w 479"/>
                  <a:gd name="T59" fmla="*/ 128008 h 479"/>
                  <a:gd name="T60" fmla="*/ 39373 w 479"/>
                  <a:gd name="T61" fmla="*/ 107725 h 479"/>
                  <a:gd name="T62" fmla="*/ 47426 w 479"/>
                  <a:gd name="T63" fmla="*/ 83836 h 479"/>
                  <a:gd name="T64" fmla="*/ 23713 w 479"/>
                  <a:gd name="T65" fmla="*/ 76173 h 479"/>
                  <a:gd name="T66" fmla="*/ 94853 w 479"/>
                  <a:gd name="T67" fmla="*/ 19832 h 479"/>
                  <a:gd name="T68" fmla="*/ 79193 w 479"/>
                  <a:gd name="T69" fmla="*/ 195617 h 479"/>
                  <a:gd name="T70" fmla="*/ 79193 w 479"/>
                  <a:gd name="T71" fmla="*/ 195617 h 479"/>
                  <a:gd name="T72" fmla="*/ 91273 w 479"/>
                  <a:gd name="T73" fmla="*/ 187504 h 479"/>
                  <a:gd name="T74" fmla="*/ 106933 w 479"/>
                  <a:gd name="T75" fmla="*/ 183447 h 479"/>
                  <a:gd name="T76" fmla="*/ 131093 w 479"/>
                  <a:gd name="T77" fmla="*/ 175785 h 479"/>
                  <a:gd name="T78" fmla="*/ 158386 w 479"/>
                  <a:gd name="T79" fmla="*/ 183447 h 479"/>
                  <a:gd name="T80" fmla="*/ 106933 w 479"/>
                  <a:gd name="T81" fmla="*/ 199674 h 479"/>
                  <a:gd name="T82" fmla="*/ 79193 w 479"/>
                  <a:gd name="T83" fmla="*/ 195617 h 4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9" h="479">
                    <a:moveTo>
                      <a:pt x="239" y="0"/>
                    </a:moveTo>
                    <a:lnTo>
                      <a:pt x="239" y="0"/>
                    </a:lnTo>
                    <a:cubicBezTo>
                      <a:pt x="106" y="0"/>
                      <a:pt x="0" y="106"/>
                      <a:pt x="0" y="239"/>
                    </a:cubicBezTo>
                    <a:cubicBezTo>
                      <a:pt x="0" y="372"/>
                      <a:pt x="106" y="478"/>
                      <a:pt x="239" y="478"/>
                    </a:cubicBezTo>
                    <a:cubicBezTo>
                      <a:pt x="372" y="478"/>
                      <a:pt x="478" y="372"/>
                      <a:pt x="478" y="239"/>
                    </a:cubicBezTo>
                    <a:cubicBezTo>
                      <a:pt x="478" y="106"/>
                      <a:pt x="372" y="0"/>
                      <a:pt x="239" y="0"/>
                    </a:cubicBezTo>
                    <a:close/>
                    <a:moveTo>
                      <a:pt x="443" y="239"/>
                    </a:moveTo>
                    <a:lnTo>
                      <a:pt x="443" y="239"/>
                    </a:lnTo>
                    <a:cubicBezTo>
                      <a:pt x="443" y="292"/>
                      <a:pt x="425" y="328"/>
                      <a:pt x="399" y="363"/>
                    </a:cubicBezTo>
                    <a:cubicBezTo>
                      <a:pt x="390" y="363"/>
                      <a:pt x="381" y="345"/>
                      <a:pt x="390" y="328"/>
                    </a:cubicBezTo>
                    <a:cubicBezTo>
                      <a:pt x="399" y="310"/>
                      <a:pt x="399" y="275"/>
                      <a:pt x="399" y="257"/>
                    </a:cubicBezTo>
                    <a:cubicBezTo>
                      <a:pt x="399" y="239"/>
                      <a:pt x="390" y="204"/>
                      <a:pt x="372" y="204"/>
                    </a:cubicBezTo>
                    <a:cubicBezTo>
                      <a:pt x="346" y="204"/>
                      <a:pt x="337" y="204"/>
                      <a:pt x="319" y="178"/>
                    </a:cubicBezTo>
                    <a:cubicBezTo>
                      <a:pt x="301" y="124"/>
                      <a:pt x="372" y="115"/>
                      <a:pt x="346" y="88"/>
                    </a:cubicBezTo>
                    <a:cubicBezTo>
                      <a:pt x="337" y="80"/>
                      <a:pt x="301" y="115"/>
                      <a:pt x="293" y="62"/>
                    </a:cubicBezTo>
                    <a:lnTo>
                      <a:pt x="301" y="53"/>
                    </a:lnTo>
                    <a:cubicBezTo>
                      <a:pt x="381" y="80"/>
                      <a:pt x="443" y="150"/>
                      <a:pt x="443" y="239"/>
                    </a:cubicBezTo>
                    <a:close/>
                    <a:moveTo>
                      <a:pt x="212" y="44"/>
                    </a:moveTo>
                    <a:lnTo>
                      <a:pt x="212" y="44"/>
                    </a:lnTo>
                    <a:cubicBezTo>
                      <a:pt x="204" y="53"/>
                      <a:pt x="194" y="53"/>
                      <a:pt x="186" y="62"/>
                    </a:cubicBezTo>
                    <a:cubicBezTo>
                      <a:pt x="168" y="80"/>
                      <a:pt x="159" y="71"/>
                      <a:pt x="150" y="88"/>
                    </a:cubicBezTo>
                    <a:cubicBezTo>
                      <a:pt x="141" y="106"/>
                      <a:pt x="115" y="124"/>
                      <a:pt x="115" y="133"/>
                    </a:cubicBezTo>
                    <a:cubicBezTo>
                      <a:pt x="115" y="142"/>
                      <a:pt x="133" y="159"/>
                      <a:pt x="133" y="159"/>
                    </a:cubicBezTo>
                    <a:cubicBezTo>
                      <a:pt x="141" y="150"/>
                      <a:pt x="159" y="150"/>
                      <a:pt x="177" y="159"/>
                    </a:cubicBezTo>
                    <a:cubicBezTo>
                      <a:pt x="186" y="159"/>
                      <a:pt x="275" y="169"/>
                      <a:pt x="248" y="239"/>
                    </a:cubicBezTo>
                    <a:cubicBezTo>
                      <a:pt x="239" y="266"/>
                      <a:pt x="194" y="257"/>
                      <a:pt x="186" y="292"/>
                    </a:cubicBezTo>
                    <a:cubicBezTo>
                      <a:pt x="186" y="301"/>
                      <a:pt x="186" y="328"/>
                      <a:pt x="177" y="337"/>
                    </a:cubicBezTo>
                    <a:cubicBezTo>
                      <a:pt x="177" y="345"/>
                      <a:pt x="186" y="390"/>
                      <a:pt x="177" y="390"/>
                    </a:cubicBezTo>
                    <a:cubicBezTo>
                      <a:pt x="168" y="390"/>
                      <a:pt x="133" y="345"/>
                      <a:pt x="133" y="345"/>
                    </a:cubicBezTo>
                    <a:cubicBezTo>
                      <a:pt x="133" y="337"/>
                      <a:pt x="124" y="310"/>
                      <a:pt x="124" y="284"/>
                    </a:cubicBezTo>
                    <a:cubicBezTo>
                      <a:pt x="124" y="266"/>
                      <a:pt x="88" y="266"/>
                      <a:pt x="88" y="239"/>
                    </a:cubicBezTo>
                    <a:cubicBezTo>
                      <a:pt x="88" y="213"/>
                      <a:pt x="106" y="195"/>
                      <a:pt x="106" y="186"/>
                    </a:cubicBezTo>
                    <a:cubicBezTo>
                      <a:pt x="97" y="169"/>
                      <a:pt x="62" y="169"/>
                      <a:pt x="53" y="169"/>
                    </a:cubicBezTo>
                    <a:cubicBezTo>
                      <a:pt x="80" y="97"/>
                      <a:pt x="141" y="53"/>
                      <a:pt x="212" y="44"/>
                    </a:cubicBezTo>
                    <a:close/>
                    <a:moveTo>
                      <a:pt x="177" y="434"/>
                    </a:moveTo>
                    <a:lnTo>
                      <a:pt x="177" y="434"/>
                    </a:lnTo>
                    <a:cubicBezTo>
                      <a:pt x="186" y="425"/>
                      <a:pt x="186" y="416"/>
                      <a:pt x="204" y="416"/>
                    </a:cubicBezTo>
                    <a:cubicBezTo>
                      <a:pt x="212" y="416"/>
                      <a:pt x="221" y="416"/>
                      <a:pt x="239" y="407"/>
                    </a:cubicBezTo>
                    <a:cubicBezTo>
                      <a:pt x="248" y="407"/>
                      <a:pt x="275" y="398"/>
                      <a:pt x="293" y="390"/>
                    </a:cubicBezTo>
                    <a:cubicBezTo>
                      <a:pt x="310" y="390"/>
                      <a:pt x="346" y="398"/>
                      <a:pt x="354" y="407"/>
                    </a:cubicBezTo>
                    <a:cubicBezTo>
                      <a:pt x="319" y="434"/>
                      <a:pt x="284" y="443"/>
                      <a:pt x="239" y="443"/>
                    </a:cubicBezTo>
                    <a:cubicBezTo>
                      <a:pt x="221" y="443"/>
                      <a:pt x="194" y="443"/>
                      <a:pt x="177" y="434"/>
                    </a:cubicBezTo>
                    <a:close/>
                  </a:path>
                </a:pathLst>
              </a:custGeom>
              <a:solidFill>
                <a:schemeClr val="accent4"/>
              </a:solidFill>
              <a:ln>
                <a:noFill/>
              </a:ln>
              <a:effectLst/>
              <a:extLst/>
            </p:spPr>
            <p:txBody>
              <a:bodyPr wrap="none" lIns="25715" tIns="12857" rIns="25715" bIns="12857" anchor="ct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cxnSp>
          <p:nvCxnSpPr>
            <p:cNvPr id="194" name="Straight Connector 193">
              <a:extLst>
                <a:ext uri="{FF2B5EF4-FFF2-40B4-BE49-F238E27FC236}">
                  <a16:creationId xmlns:a16="http://schemas.microsoft.com/office/drawing/2014/main" id="{08F07060-4CCB-40FD-B72C-1C1D310DC615}"/>
                </a:ext>
              </a:extLst>
            </p:cNvPr>
            <p:cNvCxnSpPr/>
            <p:nvPr/>
          </p:nvCxnSpPr>
          <p:spPr>
            <a:xfrm>
              <a:off x="8520355" y="3943338"/>
              <a:ext cx="3137487" cy="0"/>
            </a:xfrm>
            <a:prstGeom prst="line">
              <a:avLst/>
            </a:prstGeom>
            <a:ln>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34" name="Group 233">
              <a:extLst>
                <a:ext uri="{FF2B5EF4-FFF2-40B4-BE49-F238E27FC236}">
                  <a16:creationId xmlns:a16="http://schemas.microsoft.com/office/drawing/2014/main" id="{A0DF3302-5435-4CFA-A752-780C578EC593}"/>
                </a:ext>
              </a:extLst>
            </p:cNvPr>
            <p:cNvGrpSpPr/>
            <p:nvPr/>
          </p:nvGrpSpPr>
          <p:grpSpPr>
            <a:xfrm>
              <a:off x="8591796" y="3149812"/>
              <a:ext cx="3490659" cy="407318"/>
              <a:chOff x="8858826" y="4260700"/>
              <a:chExt cx="3560654" cy="415486"/>
            </a:xfrm>
          </p:grpSpPr>
          <p:sp>
            <p:nvSpPr>
              <p:cNvPr id="239" name="TextBox 238">
                <a:extLst>
                  <a:ext uri="{FF2B5EF4-FFF2-40B4-BE49-F238E27FC236}">
                    <a16:creationId xmlns:a16="http://schemas.microsoft.com/office/drawing/2014/main" id="{7EA71F7A-5465-4A84-BCF7-EF4D5D02CE87}"/>
                  </a:ext>
                </a:extLst>
              </p:cNvPr>
              <p:cNvSpPr txBox="1"/>
              <p:nvPr/>
            </p:nvSpPr>
            <p:spPr>
              <a:xfrm>
                <a:off x="9193424" y="4260700"/>
                <a:ext cx="3226056" cy="386158"/>
              </a:xfrm>
              <a:prstGeom prst="rect">
                <a:avLst/>
              </a:prstGeom>
              <a:noFill/>
            </p:spPr>
            <p:txBody>
              <a:bodyPr wrap="none" rtlCol="0">
                <a:spAutoFit/>
              </a:bodyPr>
              <a:lstStyle/>
              <a:p>
                <a:pPr marL="0" marR="0" lvl="0" indent="0" algn="l" defTabSz="68566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Become more responsive</a:t>
                </a:r>
              </a:p>
            </p:txBody>
          </p:sp>
          <p:sp>
            <p:nvSpPr>
              <p:cNvPr id="240" name="Freeform 79">
                <a:extLst>
                  <a:ext uri="{FF2B5EF4-FFF2-40B4-BE49-F238E27FC236}">
                    <a16:creationId xmlns:a16="http://schemas.microsoft.com/office/drawing/2014/main" id="{4039BAC0-1C66-4405-B4DB-C1317A489A51}"/>
                  </a:ext>
                </a:extLst>
              </p:cNvPr>
              <p:cNvSpPr>
                <a:spLocks noChangeArrowheads="1"/>
              </p:cNvSpPr>
              <p:nvPr/>
            </p:nvSpPr>
            <p:spPr bwMode="auto">
              <a:xfrm>
                <a:off x="8858826" y="4339112"/>
                <a:ext cx="334597" cy="337074"/>
              </a:xfrm>
              <a:custGeom>
                <a:avLst/>
                <a:gdLst>
                  <a:gd name="T0" fmla="*/ 106933 w 479"/>
                  <a:gd name="T1" fmla="*/ 0 h 479"/>
                  <a:gd name="T2" fmla="*/ 106933 w 479"/>
                  <a:gd name="T3" fmla="*/ 0 h 479"/>
                  <a:gd name="T4" fmla="*/ 0 w 479"/>
                  <a:gd name="T5" fmla="*/ 107725 h 479"/>
                  <a:gd name="T6" fmla="*/ 106933 w 479"/>
                  <a:gd name="T7" fmla="*/ 215449 h 479"/>
                  <a:gd name="T8" fmla="*/ 213866 w 479"/>
                  <a:gd name="T9" fmla="*/ 107725 h 479"/>
                  <a:gd name="T10" fmla="*/ 106933 w 479"/>
                  <a:gd name="T11" fmla="*/ 0 h 479"/>
                  <a:gd name="T12" fmla="*/ 198206 w 479"/>
                  <a:gd name="T13" fmla="*/ 107725 h 479"/>
                  <a:gd name="T14" fmla="*/ 198206 w 479"/>
                  <a:gd name="T15" fmla="*/ 107725 h 479"/>
                  <a:gd name="T16" fmla="*/ 178520 w 479"/>
                  <a:gd name="T17" fmla="*/ 163615 h 479"/>
                  <a:gd name="T18" fmla="*/ 174493 w 479"/>
                  <a:gd name="T19" fmla="*/ 147840 h 479"/>
                  <a:gd name="T20" fmla="*/ 178520 w 479"/>
                  <a:gd name="T21" fmla="*/ 115838 h 479"/>
                  <a:gd name="T22" fmla="*/ 166439 w 479"/>
                  <a:gd name="T23" fmla="*/ 91949 h 479"/>
                  <a:gd name="T24" fmla="*/ 142726 w 479"/>
                  <a:gd name="T25" fmla="*/ 80230 h 479"/>
                  <a:gd name="T26" fmla="*/ 154806 w 479"/>
                  <a:gd name="T27" fmla="*/ 39664 h 479"/>
                  <a:gd name="T28" fmla="*/ 131093 w 479"/>
                  <a:gd name="T29" fmla="*/ 27945 h 479"/>
                  <a:gd name="T30" fmla="*/ 134673 w 479"/>
                  <a:gd name="T31" fmla="*/ 23889 h 479"/>
                  <a:gd name="T32" fmla="*/ 198206 w 479"/>
                  <a:gd name="T33" fmla="*/ 107725 h 479"/>
                  <a:gd name="T34" fmla="*/ 94853 w 479"/>
                  <a:gd name="T35" fmla="*/ 19832 h 479"/>
                  <a:gd name="T36" fmla="*/ 94853 w 479"/>
                  <a:gd name="T37" fmla="*/ 19832 h 479"/>
                  <a:gd name="T38" fmla="*/ 83220 w 479"/>
                  <a:gd name="T39" fmla="*/ 27945 h 479"/>
                  <a:gd name="T40" fmla="*/ 67113 w 479"/>
                  <a:gd name="T41" fmla="*/ 39664 h 479"/>
                  <a:gd name="T42" fmla="*/ 51453 w 479"/>
                  <a:gd name="T43" fmla="*/ 59947 h 479"/>
                  <a:gd name="T44" fmla="*/ 59507 w 479"/>
                  <a:gd name="T45" fmla="*/ 71666 h 479"/>
                  <a:gd name="T46" fmla="*/ 79193 w 479"/>
                  <a:gd name="T47" fmla="*/ 71666 h 479"/>
                  <a:gd name="T48" fmla="*/ 110960 w 479"/>
                  <a:gd name="T49" fmla="*/ 107725 h 479"/>
                  <a:gd name="T50" fmla="*/ 83220 w 479"/>
                  <a:gd name="T51" fmla="*/ 131613 h 479"/>
                  <a:gd name="T52" fmla="*/ 79193 w 479"/>
                  <a:gd name="T53" fmla="*/ 151896 h 479"/>
                  <a:gd name="T54" fmla="*/ 79193 w 479"/>
                  <a:gd name="T55" fmla="*/ 175785 h 479"/>
                  <a:gd name="T56" fmla="*/ 59507 w 479"/>
                  <a:gd name="T57" fmla="*/ 155502 h 479"/>
                  <a:gd name="T58" fmla="*/ 55480 w 479"/>
                  <a:gd name="T59" fmla="*/ 128008 h 479"/>
                  <a:gd name="T60" fmla="*/ 39373 w 479"/>
                  <a:gd name="T61" fmla="*/ 107725 h 479"/>
                  <a:gd name="T62" fmla="*/ 47426 w 479"/>
                  <a:gd name="T63" fmla="*/ 83836 h 479"/>
                  <a:gd name="T64" fmla="*/ 23713 w 479"/>
                  <a:gd name="T65" fmla="*/ 76173 h 479"/>
                  <a:gd name="T66" fmla="*/ 94853 w 479"/>
                  <a:gd name="T67" fmla="*/ 19832 h 479"/>
                  <a:gd name="T68" fmla="*/ 79193 w 479"/>
                  <a:gd name="T69" fmla="*/ 195617 h 479"/>
                  <a:gd name="T70" fmla="*/ 79193 w 479"/>
                  <a:gd name="T71" fmla="*/ 195617 h 479"/>
                  <a:gd name="T72" fmla="*/ 91273 w 479"/>
                  <a:gd name="T73" fmla="*/ 187504 h 479"/>
                  <a:gd name="T74" fmla="*/ 106933 w 479"/>
                  <a:gd name="T75" fmla="*/ 183447 h 479"/>
                  <a:gd name="T76" fmla="*/ 131093 w 479"/>
                  <a:gd name="T77" fmla="*/ 175785 h 479"/>
                  <a:gd name="T78" fmla="*/ 158386 w 479"/>
                  <a:gd name="T79" fmla="*/ 183447 h 479"/>
                  <a:gd name="T80" fmla="*/ 106933 w 479"/>
                  <a:gd name="T81" fmla="*/ 199674 h 479"/>
                  <a:gd name="T82" fmla="*/ 79193 w 479"/>
                  <a:gd name="T83" fmla="*/ 195617 h 4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9" h="479">
                    <a:moveTo>
                      <a:pt x="239" y="0"/>
                    </a:moveTo>
                    <a:lnTo>
                      <a:pt x="239" y="0"/>
                    </a:lnTo>
                    <a:cubicBezTo>
                      <a:pt x="106" y="0"/>
                      <a:pt x="0" y="106"/>
                      <a:pt x="0" y="239"/>
                    </a:cubicBezTo>
                    <a:cubicBezTo>
                      <a:pt x="0" y="372"/>
                      <a:pt x="106" y="478"/>
                      <a:pt x="239" y="478"/>
                    </a:cubicBezTo>
                    <a:cubicBezTo>
                      <a:pt x="372" y="478"/>
                      <a:pt x="478" y="372"/>
                      <a:pt x="478" y="239"/>
                    </a:cubicBezTo>
                    <a:cubicBezTo>
                      <a:pt x="478" y="106"/>
                      <a:pt x="372" y="0"/>
                      <a:pt x="239" y="0"/>
                    </a:cubicBezTo>
                    <a:close/>
                    <a:moveTo>
                      <a:pt x="443" y="239"/>
                    </a:moveTo>
                    <a:lnTo>
                      <a:pt x="443" y="239"/>
                    </a:lnTo>
                    <a:cubicBezTo>
                      <a:pt x="443" y="292"/>
                      <a:pt x="425" y="328"/>
                      <a:pt x="399" y="363"/>
                    </a:cubicBezTo>
                    <a:cubicBezTo>
                      <a:pt x="390" y="363"/>
                      <a:pt x="381" y="345"/>
                      <a:pt x="390" y="328"/>
                    </a:cubicBezTo>
                    <a:cubicBezTo>
                      <a:pt x="399" y="310"/>
                      <a:pt x="399" y="275"/>
                      <a:pt x="399" y="257"/>
                    </a:cubicBezTo>
                    <a:cubicBezTo>
                      <a:pt x="399" y="239"/>
                      <a:pt x="390" y="204"/>
                      <a:pt x="372" y="204"/>
                    </a:cubicBezTo>
                    <a:cubicBezTo>
                      <a:pt x="346" y="204"/>
                      <a:pt x="337" y="204"/>
                      <a:pt x="319" y="178"/>
                    </a:cubicBezTo>
                    <a:cubicBezTo>
                      <a:pt x="301" y="124"/>
                      <a:pt x="372" y="115"/>
                      <a:pt x="346" y="88"/>
                    </a:cubicBezTo>
                    <a:cubicBezTo>
                      <a:pt x="337" y="80"/>
                      <a:pt x="301" y="115"/>
                      <a:pt x="293" y="62"/>
                    </a:cubicBezTo>
                    <a:lnTo>
                      <a:pt x="301" y="53"/>
                    </a:lnTo>
                    <a:cubicBezTo>
                      <a:pt x="381" y="80"/>
                      <a:pt x="443" y="150"/>
                      <a:pt x="443" y="239"/>
                    </a:cubicBezTo>
                    <a:close/>
                    <a:moveTo>
                      <a:pt x="212" y="44"/>
                    </a:moveTo>
                    <a:lnTo>
                      <a:pt x="212" y="44"/>
                    </a:lnTo>
                    <a:cubicBezTo>
                      <a:pt x="204" y="53"/>
                      <a:pt x="194" y="53"/>
                      <a:pt x="186" y="62"/>
                    </a:cubicBezTo>
                    <a:cubicBezTo>
                      <a:pt x="168" y="80"/>
                      <a:pt x="159" y="71"/>
                      <a:pt x="150" y="88"/>
                    </a:cubicBezTo>
                    <a:cubicBezTo>
                      <a:pt x="141" y="106"/>
                      <a:pt x="115" y="124"/>
                      <a:pt x="115" y="133"/>
                    </a:cubicBezTo>
                    <a:cubicBezTo>
                      <a:pt x="115" y="142"/>
                      <a:pt x="133" y="159"/>
                      <a:pt x="133" y="159"/>
                    </a:cubicBezTo>
                    <a:cubicBezTo>
                      <a:pt x="141" y="150"/>
                      <a:pt x="159" y="150"/>
                      <a:pt x="177" y="159"/>
                    </a:cubicBezTo>
                    <a:cubicBezTo>
                      <a:pt x="186" y="159"/>
                      <a:pt x="275" y="169"/>
                      <a:pt x="248" y="239"/>
                    </a:cubicBezTo>
                    <a:cubicBezTo>
                      <a:pt x="239" y="266"/>
                      <a:pt x="194" y="257"/>
                      <a:pt x="186" y="292"/>
                    </a:cubicBezTo>
                    <a:cubicBezTo>
                      <a:pt x="186" y="301"/>
                      <a:pt x="186" y="328"/>
                      <a:pt x="177" y="337"/>
                    </a:cubicBezTo>
                    <a:cubicBezTo>
                      <a:pt x="177" y="345"/>
                      <a:pt x="186" y="390"/>
                      <a:pt x="177" y="390"/>
                    </a:cubicBezTo>
                    <a:cubicBezTo>
                      <a:pt x="168" y="390"/>
                      <a:pt x="133" y="345"/>
                      <a:pt x="133" y="345"/>
                    </a:cubicBezTo>
                    <a:cubicBezTo>
                      <a:pt x="133" y="337"/>
                      <a:pt x="124" y="310"/>
                      <a:pt x="124" y="284"/>
                    </a:cubicBezTo>
                    <a:cubicBezTo>
                      <a:pt x="124" y="266"/>
                      <a:pt x="88" y="266"/>
                      <a:pt x="88" y="239"/>
                    </a:cubicBezTo>
                    <a:cubicBezTo>
                      <a:pt x="88" y="213"/>
                      <a:pt x="106" y="195"/>
                      <a:pt x="106" y="186"/>
                    </a:cubicBezTo>
                    <a:cubicBezTo>
                      <a:pt x="97" y="169"/>
                      <a:pt x="62" y="169"/>
                      <a:pt x="53" y="169"/>
                    </a:cubicBezTo>
                    <a:cubicBezTo>
                      <a:pt x="80" y="97"/>
                      <a:pt x="141" y="53"/>
                      <a:pt x="212" y="44"/>
                    </a:cubicBezTo>
                    <a:close/>
                    <a:moveTo>
                      <a:pt x="177" y="434"/>
                    </a:moveTo>
                    <a:lnTo>
                      <a:pt x="177" y="434"/>
                    </a:lnTo>
                    <a:cubicBezTo>
                      <a:pt x="186" y="425"/>
                      <a:pt x="186" y="416"/>
                      <a:pt x="204" y="416"/>
                    </a:cubicBezTo>
                    <a:cubicBezTo>
                      <a:pt x="212" y="416"/>
                      <a:pt x="221" y="416"/>
                      <a:pt x="239" y="407"/>
                    </a:cubicBezTo>
                    <a:cubicBezTo>
                      <a:pt x="248" y="407"/>
                      <a:pt x="275" y="398"/>
                      <a:pt x="293" y="390"/>
                    </a:cubicBezTo>
                    <a:cubicBezTo>
                      <a:pt x="310" y="390"/>
                      <a:pt x="346" y="398"/>
                      <a:pt x="354" y="407"/>
                    </a:cubicBezTo>
                    <a:cubicBezTo>
                      <a:pt x="319" y="434"/>
                      <a:pt x="284" y="443"/>
                      <a:pt x="239" y="443"/>
                    </a:cubicBezTo>
                    <a:cubicBezTo>
                      <a:pt x="221" y="443"/>
                      <a:pt x="194" y="443"/>
                      <a:pt x="177" y="434"/>
                    </a:cubicBezTo>
                    <a:close/>
                  </a:path>
                </a:pathLst>
              </a:custGeom>
              <a:solidFill>
                <a:schemeClr val="accent4"/>
              </a:solidFill>
              <a:ln>
                <a:noFill/>
              </a:ln>
              <a:effectLst/>
              <a:extLst/>
            </p:spPr>
            <p:txBody>
              <a:bodyPr wrap="none" lIns="25715" tIns="12857" rIns="25715" bIns="12857" anchor="ct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cxnSp>
          <p:nvCxnSpPr>
            <p:cNvPr id="235" name="Straight Connector 234">
              <a:extLst>
                <a:ext uri="{FF2B5EF4-FFF2-40B4-BE49-F238E27FC236}">
                  <a16:creationId xmlns:a16="http://schemas.microsoft.com/office/drawing/2014/main" id="{4E9D152F-9A82-40A3-B39E-27E47AD0595C}"/>
                </a:ext>
              </a:extLst>
            </p:cNvPr>
            <p:cNvCxnSpPr/>
            <p:nvPr/>
          </p:nvCxnSpPr>
          <p:spPr>
            <a:xfrm>
              <a:off x="8528892" y="4676670"/>
              <a:ext cx="3137487" cy="0"/>
            </a:xfrm>
            <a:prstGeom prst="line">
              <a:avLst/>
            </a:prstGeom>
            <a:ln>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36" name="Group 235">
              <a:extLst>
                <a:ext uri="{FF2B5EF4-FFF2-40B4-BE49-F238E27FC236}">
                  <a16:creationId xmlns:a16="http://schemas.microsoft.com/office/drawing/2014/main" id="{66716924-3ADD-4EFD-8CD6-145A61E23905}"/>
                </a:ext>
              </a:extLst>
            </p:cNvPr>
            <p:cNvGrpSpPr/>
            <p:nvPr/>
          </p:nvGrpSpPr>
          <p:grpSpPr>
            <a:xfrm>
              <a:off x="8574670" y="3708949"/>
              <a:ext cx="3509576" cy="378568"/>
              <a:chOff x="8832650" y="4083018"/>
              <a:chExt cx="3579951" cy="386160"/>
            </a:xfrm>
          </p:grpSpPr>
          <p:sp>
            <p:nvSpPr>
              <p:cNvPr id="237" name="TextBox 236">
                <a:extLst>
                  <a:ext uri="{FF2B5EF4-FFF2-40B4-BE49-F238E27FC236}">
                    <a16:creationId xmlns:a16="http://schemas.microsoft.com/office/drawing/2014/main" id="{C3C1F934-22F8-4E35-84B5-503321CB3182}"/>
                  </a:ext>
                </a:extLst>
              </p:cNvPr>
              <p:cNvSpPr txBox="1"/>
              <p:nvPr/>
            </p:nvSpPr>
            <p:spPr>
              <a:xfrm>
                <a:off x="9230776" y="4083018"/>
                <a:ext cx="3181825" cy="386160"/>
              </a:xfrm>
              <a:prstGeom prst="rect">
                <a:avLst/>
              </a:prstGeom>
              <a:noFill/>
            </p:spPr>
            <p:txBody>
              <a:bodyPr wrap="none" rtlCol="0">
                <a:spAutoFit/>
              </a:bodyPr>
              <a:lstStyle/>
              <a:p>
                <a:pPr marL="0" marR="0" lvl="0" indent="0" algn="l" defTabSz="68566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Become more innovative</a:t>
                </a:r>
              </a:p>
            </p:txBody>
          </p:sp>
          <p:sp>
            <p:nvSpPr>
              <p:cNvPr id="238" name="Freeform 79">
                <a:extLst>
                  <a:ext uri="{FF2B5EF4-FFF2-40B4-BE49-F238E27FC236}">
                    <a16:creationId xmlns:a16="http://schemas.microsoft.com/office/drawing/2014/main" id="{0B67646C-1642-4CFB-BC01-893C59A9F293}"/>
                  </a:ext>
                </a:extLst>
              </p:cNvPr>
              <p:cNvSpPr>
                <a:spLocks noChangeArrowheads="1"/>
              </p:cNvSpPr>
              <p:nvPr/>
            </p:nvSpPr>
            <p:spPr bwMode="auto">
              <a:xfrm>
                <a:off x="8832650" y="4117041"/>
                <a:ext cx="334597" cy="337074"/>
              </a:xfrm>
              <a:custGeom>
                <a:avLst/>
                <a:gdLst>
                  <a:gd name="T0" fmla="*/ 106933 w 479"/>
                  <a:gd name="T1" fmla="*/ 0 h 479"/>
                  <a:gd name="T2" fmla="*/ 106933 w 479"/>
                  <a:gd name="T3" fmla="*/ 0 h 479"/>
                  <a:gd name="T4" fmla="*/ 0 w 479"/>
                  <a:gd name="T5" fmla="*/ 107725 h 479"/>
                  <a:gd name="T6" fmla="*/ 106933 w 479"/>
                  <a:gd name="T7" fmla="*/ 215449 h 479"/>
                  <a:gd name="T8" fmla="*/ 213866 w 479"/>
                  <a:gd name="T9" fmla="*/ 107725 h 479"/>
                  <a:gd name="T10" fmla="*/ 106933 w 479"/>
                  <a:gd name="T11" fmla="*/ 0 h 479"/>
                  <a:gd name="T12" fmla="*/ 198206 w 479"/>
                  <a:gd name="T13" fmla="*/ 107725 h 479"/>
                  <a:gd name="T14" fmla="*/ 198206 w 479"/>
                  <a:gd name="T15" fmla="*/ 107725 h 479"/>
                  <a:gd name="T16" fmla="*/ 178520 w 479"/>
                  <a:gd name="T17" fmla="*/ 163615 h 479"/>
                  <a:gd name="T18" fmla="*/ 174493 w 479"/>
                  <a:gd name="T19" fmla="*/ 147840 h 479"/>
                  <a:gd name="T20" fmla="*/ 178520 w 479"/>
                  <a:gd name="T21" fmla="*/ 115838 h 479"/>
                  <a:gd name="T22" fmla="*/ 166439 w 479"/>
                  <a:gd name="T23" fmla="*/ 91949 h 479"/>
                  <a:gd name="T24" fmla="*/ 142726 w 479"/>
                  <a:gd name="T25" fmla="*/ 80230 h 479"/>
                  <a:gd name="T26" fmla="*/ 154806 w 479"/>
                  <a:gd name="T27" fmla="*/ 39664 h 479"/>
                  <a:gd name="T28" fmla="*/ 131093 w 479"/>
                  <a:gd name="T29" fmla="*/ 27945 h 479"/>
                  <a:gd name="T30" fmla="*/ 134673 w 479"/>
                  <a:gd name="T31" fmla="*/ 23889 h 479"/>
                  <a:gd name="T32" fmla="*/ 198206 w 479"/>
                  <a:gd name="T33" fmla="*/ 107725 h 479"/>
                  <a:gd name="T34" fmla="*/ 94853 w 479"/>
                  <a:gd name="T35" fmla="*/ 19832 h 479"/>
                  <a:gd name="T36" fmla="*/ 94853 w 479"/>
                  <a:gd name="T37" fmla="*/ 19832 h 479"/>
                  <a:gd name="T38" fmla="*/ 83220 w 479"/>
                  <a:gd name="T39" fmla="*/ 27945 h 479"/>
                  <a:gd name="T40" fmla="*/ 67113 w 479"/>
                  <a:gd name="T41" fmla="*/ 39664 h 479"/>
                  <a:gd name="T42" fmla="*/ 51453 w 479"/>
                  <a:gd name="T43" fmla="*/ 59947 h 479"/>
                  <a:gd name="T44" fmla="*/ 59507 w 479"/>
                  <a:gd name="T45" fmla="*/ 71666 h 479"/>
                  <a:gd name="T46" fmla="*/ 79193 w 479"/>
                  <a:gd name="T47" fmla="*/ 71666 h 479"/>
                  <a:gd name="T48" fmla="*/ 110960 w 479"/>
                  <a:gd name="T49" fmla="*/ 107725 h 479"/>
                  <a:gd name="T50" fmla="*/ 83220 w 479"/>
                  <a:gd name="T51" fmla="*/ 131613 h 479"/>
                  <a:gd name="T52" fmla="*/ 79193 w 479"/>
                  <a:gd name="T53" fmla="*/ 151896 h 479"/>
                  <a:gd name="T54" fmla="*/ 79193 w 479"/>
                  <a:gd name="T55" fmla="*/ 175785 h 479"/>
                  <a:gd name="T56" fmla="*/ 59507 w 479"/>
                  <a:gd name="T57" fmla="*/ 155502 h 479"/>
                  <a:gd name="T58" fmla="*/ 55480 w 479"/>
                  <a:gd name="T59" fmla="*/ 128008 h 479"/>
                  <a:gd name="T60" fmla="*/ 39373 w 479"/>
                  <a:gd name="T61" fmla="*/ 107725 h 479"/>
                  <a:gd name="T62" fmla="*/ 47426 w 479"/>
                  <a:gd name="T63" fmla="*/ 83836 h 479"/>
                  <a:gd name="T64" fmla="*/ 23713 w 479"/>
                  <a:gd name="T65" fmla="*/ 76173 h 479"/>
                  <a:gd name="T66" fmla="*/ 94853 w 479"/>
                  <a:gd name="T67" fmla="*/ 19832 h 479"/>
                  <a:gd name="T68" fmla="*/ 79193 w 479"/>
                  <a:gd name="T69" fmla="*/ 195617 h 479"/>
                  <a:gd name="T70" fmla="*/ 79193 w 479"/>
                  <a:gd name="T71" fmla="*/ 195617 h 479"/>
                  <a:gd name="T72" fmla="*/ 91273 w 479"/>
                  <a:gd name="T73" fmla="*/ 187504 h 479"/>
                  <a:gd name="T74" fmla="*/ 106933 w 479"/>
                  <a:gd name="T75" fmla="*/ 183447 h 479"/>
                  <a:gd name="T76" fmla="*/ 131093 w 479"/>
                  <a:gd name="T77" fmla="*/ 175785 h 479"/>
                  <a:gd name="T78" fmla="*/ 158386 w 479"/>
                  <a:gd name="T79" fmla="*/ 183447 h 479"/>
                  <a:gd name="T80" fmla="*/ 106933 w 479"/>
                  <a:gd name="T81" fmla="*/ 199674 h 479"/>
                  <a:gd name="T82" fmla="*/ 79193 w 479"/>
                  <a:gd name="T83" fmla="*/ 195617 h 4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9" h="479">
                    <a:moveTo>
                      <a:pt x="239" y="0"/>
                    </a:moveTo>
                    <a:lnTo>
                      <a:pt x="239" y="0"/>
                    </a:lnTo>
                    <a:cubicBezTo>
                      <a:pt x="106" y="0"/>
                      <a:pt x="0" y="106"/>
                      <a:pt x="0" y="239"/>
                    </a:cubicBezTo>
                    <a:cubicBezTo>
                      <a:pt x="0" y="372"/>
                      <a:pt x="106" y="478"/>
                      <a:pt x="239" y="478"/>
                    </a:cubicBezTo>
                    <a:cubicBezTo>
                      <a:pt x="372" y="478"/>
                      <a:pt x="478" y="372"/>
                      <a:pt x="478" y="239"/>
                    </a:cubicBezTo>
                    <a:cubicBezTo>
                      <a:pt x="478" y="106"/>
                      <a:pt x="372" y="0"/>
                      <a:pt x="239" y="0"/>
                    </a:cubicBezTo>
                    <a:close/>
                    <a:moveTo>
                      <a:pt x="443" y="239"/>
                    </a:moveTo>
                    <a:lnTo>
                      <a:pt x="443" y="239"/>
                    </a:lnTo>
                    <a:cubicBezTo>
                      <a:pt x="443" y="292"/>
                      <a:pt x="425" y="328"/>
                      <a:pt x="399" y="363"/>
                    </a:cubicBezTo>
                    <a:cubicBezTo>
                      <a:pt x="390" y="363"/>
                      <a:pt x="381" y="345"/>
                      <a:pt x="390" y="328"/>
                    </a:cubicBezTo>
                    <a:cubicBezTo>
                      <a:pt x="399" y="310"/>
                      <a:pt x="399" y="275"/>
                      <a:pt x="399" y="257"/>
                    </a:cubicBezTo>
                    <a:cubicBezTo>
                      <a:pt x="399" y="239"/>
                      <a:pt x="390" y="204"/>
                      <a:pt x="372" y="204"/>
                    </a:cubicBezTo>
                    <a:cubicBezTo>
                      <a:pt x="346" y="204"/>
                      <a:pt x="337" y="204"/>
                      <a:pt x="319" y="178"/>
                    </a:cubicBezTo>
                    <a:cubicBezTo>
                      <a:pt x="301" y="124"/>
                      <a:pt x="372" y="115"/>
                      <a:pt x="346" y="88"/>
                    </a:cubicBezTo>
                    <a:cubicBezTo>
                      <a:pt x="337" y="80"/>
                      <a:pt x="301" y="115"/>
                      <a:pt x="293" y="62"/>
                    </a:cubicBezTo>
                    <a:lnTo>
                      <a:pt x="301" y="53"/>
                    </a:lnTo>
                    <a:cubicBezTo>
                      <a:pt x="381" y="80"/>
                      <a:pt x="443" y="150"/>
                      <a:pt x="443" y="239"/>
                    </a:cubicBezTo>
                    <a:close/>
                    <a:moveTo>
                      <a:pt x="212" y="44"/>
                    </a:moveTo>
                    <a:lnTo>
                      <a:pt x="212" y="44"/>
                    </a:lnTo>
                    <a:cubicBezTo>
                      <a:pt x="204" y="53"/>
                      <a:pt x="194" y="53"/>
                      <a:pt x="186" y="62"/>
                    </a:cubicBezTo>
                    <a:cubicBezTo>
                      <a:pt x="168" y="80"/>
                      <a:pt x="159" y="71"/>
                      <a:pt x="150" y="88"/>
                    </a:cubicBezTo>
                    <a:cubicBezTo>
                      <a:pt x="141" y="106"/>
                      <a:pt x="115" y="124"/>
                      <a:pt x="115" y="133"/>
                    </a:cubicBezTo>
                    <a:cubicBezTo>
                      <a:pt x="115" y="142"/>
                      <a:pt x="133" y="159"/>
                      <a:pt x="133" y="159"/>
                    </a:cubicBezTo>
                    <a:cubicBezTo>
                      <a:pt x="141" y="150"/>
                      <a:pt x="159" y="150"/>
                      <a:pt x="177" y="159"/>
                    </a:cubicBezTo>
                    <a:cubicBezTo>
                      <a:pt x="186" y="159"/>
                      <a:pt x="275" y="169"/>
                      <a:pt x="248" y="239"/>
                    </a:cubicBezTo>
                    <a:cubicBezTo>
                      <a:pt x="239" y="266"/>
                      <a:pt x="194" y="257"/>
                      <a:pt x="186" y="292"/>
                    </a:cubicBezTo>
                    <a:cubicBezTo>
                      <a:pt x="186" y="301"/>
                      <a:pt x="186" y="328"/>
                      <a:pt x="177" y="337"/>
                    </a:cubicBezTo>
                    <a:cubicBezTo>
                      <a:pt x="177" y="345"/>
                      <a:pt x="186" y="390"/>
                      <a:pt x="177" y="390"/>
                    </a:cubicBezTo>
                    <a:cubicBezTo>
                      <a:pt x="168" y="390"/>
                      <a:pt x="133" y="345"/>
                      <a:pt x="133" y="345"/>
                    </a:cubicBezTo>
                    <a:cubicBezTo>
                      <a:pt x="133" y="337"/>
                      <a:pt x="124" y="310"/>
                      <a:pt x="124" y="284"/>
                    </a:cubicBezTo>
                    <a:cubicBezTo>
                      <a:pt x="124" y="266"/>
                      <a:pt x="88" y="266"/>
                      <a:pt x="88" y="239"/>
                    </a:cubicBezTo>
                    <a:cubicBezTo>
                      <a:pt x="88" y="213"/>
                      <a:pt x="106" y="195"/>
                      <a:pt x="106" y="186"/>
                    </a:cubicBezTo>
                    <a:cubicBezTo>
                      <a:pt x="97" y="169"/>
                      <a:pt x="62" y="169"/>
                      <a:pt x="53" y="169"/>
                    </a:cubicBezTo>
                    <a:cubicBezTo>
                      <a:pt x="80" y="97"/>
                      <a:pt x="141" y="53"/>
                      <a:pt x="212" y="44"/>
                    </a:cubicBezTo>
                    <a:close/>
                    <a:moveTo>
                      <a:pt x="177" y="434"/>
                    </a:moveTo>
                    <a:lnTo>
                      <a:pt x="177" y="434"/>
                    </a:lnTo>
                    <a:cubicBezTo>
                      <a:pt x="186" y="425"/>
                      <a:pt x="186" y="416"/>
                      <a:pt x="204" y="416"/>
                    </a:cubicBezTo>
                    <a:cubicBezTo>
                      <a:pt x="212" y="416"/>
                      <a:pt x="221" y="416"/>
                      <a:pt x="239" y="407"/>
                    </a:cubicBezTo>
                    <a:cubicBezTo>
                      <a:pt x="248" y="407"/>
                      <a:pt x="275" y="398"/>
                      <a:pt x="293" y="390"/>
                    </a:cubicBezTo>
                    <a:cubicBezTo>
                      <a:pt x="310" y="390"/>
                      <a:pt x="346" y="398"/>
                      <a:pt x="354" y="407"/>
                    </a:cubicBezTo>
                    <a:cubicBezTo>
                      <a:pt x="319" y="434"/>
                      <a:pt x="284" y="443"/>
                      <a:pt x="239" y="443"/>
                    </a:cubicBezTo>
                    <a:cubicBezTo>
                      <a:pt x="221" y="443"/>
                      <a:pt x="194" y="443"/>
                      <a:pt x="177" y="434"/>
                    </a:cubicBezTo>
                    <a:close/>
                  </a:path>
                </a:pathLst>
              </a:custGeom>
              <a:solidFill>
                <a:schemeClr val="accent4"/>
              </a:solidFill>
              <a:ln>
                <a:noFill/>
              </a:ln>
              <a:effectLst/>
              <a:extLst/>
            </p:spPr>
            <p:txBody>
              <a:bodyPr wrap="none" lIns="25715" tIns="12857" rIns="25715" bIns="12857" anchor="ctr"/>
              <a:lstStyle/>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24049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Freeform: Shape 99"/>
          <p:cNvSpPr/>
          <p:nvPr/>
        </p:nvSpPr>
        <p:spPr>
          <a:xfrm>
            <a:off x="26723" y="3834319"/>
            <a:ext cx="9141977" cy="130918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sp>
        <p:nvSpPr>
          <p:cNvPr id="925" name="Freeform: Shape 924"/>
          <p:cNvSpPr>
            <a:spLocks/>
          </p:cNvSpPr>
          <p:nvPr/>
        </p:nvSpPr>
        <p:spPr bwMode="auto">
          <a:xfrm>
            <a:off x="961221" y="4023002"/>
            <a:ext cx="7441849" cy="1450872"/>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8" name="Freeform: Shape 827"/>
          <p:cNvSpPr/>
          <p:nvPr/>
        </p:nvSpPr>
        <p:spPr>
          <a:xfrm>
            <a:off x="973377" y="2168645"/>
            <a:ext cx="502398" cy="232254"/>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7936558" y="1984381"/>
            <a:ext cx="415584" cy="576323"/>
          </a:xfrm>
          <a:prstGeom prst="rect">
            <a:avLst/>
          </a:prstGeom>
          <a:noFill/>
          <a:extLst>
            <a:ext uri="{909E8E84-426E-40DD-AFC4-6F175D3DCCD1}">
              <a14:hiddenFill xmlns:a14="http://schemas.microsoft.com/office/drawing/2010/main">
                <a:solidFill>
                  <a:srgbClr val="FFFFFF"/>
                </a:solidFill>
              </a14:hiddenFill>
            </a:ext>
          </a:extLst>
        </p:spPr>
      </p:pic>
      <p:sp>
        <p:nvSpPr>
          <p:cNvPr id="830" name="Freeform: Shape 28"/>
          <p:cNvSpPr/>
          <p:nvPr/>
        </p:nvSpPr>
        <p:spPr>
          <a:xfrm>
            <a:off x="4233892" y="1812037"/>
            <a:ext cx="542139" cy="467391"/>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104749" y="1824248"/>
            <a:ext cx="1170023" cy="455180"/>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18551" y="1920703"/>
            <a:ext cx="1173245" cy="318357"/>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6573706" y="2791078"/>
            <a:ext cx="439727" cy="282872"/>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5157011" y="2570932"/>
            <a:ext cx="374406" cy="354992"/>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solidFill>
                  <a:srgbClr val="FFFFFF"/>
                </a:solidFill>
                <a:effectLst/>
                <a:uLnTx/>
                <a:uFillTx/>
                <a:latin typeface="Segoe UI"/>
                <a:ea typeface="+mn-ea"/>
                <a:cs typeface="+mn-cs"/>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solidFill>
                  <a:srgbClr val="FFFFFF"/>
                </a:solidFill>
                <a:effectLst/>
                <a:uLnTx/>
                <a:uFillTx/>
                <a:latin typeface="Segoe UI"/>
                <a:ea typeface="+mn-ea"/>
                <a:cs typeface="+mn-cs"/>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solidFill>
                  <a:srgbClr val="FFFFFF"/>
                </a:solidFill>
                <a:effectLst/>
                <a:uLnTx/>
                <a:uFillTx/>
                <a:latin typeface="Segoe UI"/>
                <a:ea typeface="+mn-ea"/>
                <a:cs typeface="+mn-cs"/>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889" name="TextBox 888"/>
          <p:cNvSpPr txBox="1"/>
          <p:nvPr/>
        </p:nvSpPr>
        <p:spPr>
          <a:xfrm>
            <a:off x="3263841" y="2876280"/>
            <a:ext cx="770404" cy="213585"/>
          </a:xfrm>
          <a:prstGeom prst="rect">
            <a:avLst/>
          </a:prstGeom>
          <a:noFill/>
        </p:spPr>
        <p:txBody>
          <a:bodyPr wrap="none" l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sp>
        <p:nvSpPr>
          <p:cNvPr id="890" name="TextBox 889"/>
          <p:cNvSpPr txBox="1"/>
          <p:nvPr/>
        </p:nvSpPr>
        <p:spPr>
          <a:xfrm>
            <a:off x="5111073" y="2932523"/>
            <a:ext cx="571631" cy="213585"/>
          </a:xfrm>
          <a:prstGeom prst="rect">
            <a:avLst/>
          </a:prstGeom>
          <a:noFill/>
        </p:spPr>
        <p:txBody>
          <a:bodyPr wrap="none" l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sp>
        <p:nvSpPr>
          <p:cNvPr id="891" name="TextBox 890"/>
          <p:cNvSpPr txBox="1"/>
          <p:nvPr/>
        </p:nvSpPr>
        <p:spPr>
          <a:xfrm>
            <a:off x="6687182" y="3148745"/>
            <a:ext cx="372859" cy="213585"/>
          </a:xfrm>
          <a:prstGeom prst="rect">
            <a:avLst/>
          </a:prstGeom>
          <a:noFill/>
        </p:spPr>
        <p:txBody>
          <a:bodyPr wrap="none" l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sp>
        <p:nvSpPr>
          <p:cNvPr id="893" name="TextBox 892"/>
          <p:cNvSpPr txBox="1"/>
          <p:nvPr/>
        </p:nvSpPr>
        <p:spPr>
          <a:xfrm>
            <a:off x="596030" y="3960958"/>
            <a:ext cx="1553630" cy="230832"/>
          </a:xfrm>
          <a:prstGeom prst="rect">
            <a:avLst/>
          </a:prstGeom>
          <a:noFill/>
        </p:spPr>
        <p:txBody>
          <a:bodyPr wrap="none" rtlCol="0">
            <a:spAutoFit/>
          </a:bodyPr>
          <a:lstStyle/>
          <a:p>
            <a:pPr marL="0" marR="0" lvl="0" indent="0" algn="ctr" defTabSz="64284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Turnkey global distribution</a:t>
            </a:r>
          </a:p>
        </p:txBody>
      </p:sp>
      <p:sp>
        <p:nvSpPr>
          <p:cNvPr id="894" name="TextBox 893"/>
          <p:cNvSpPr txBox="1"/>
          <p:nvPr/>
        </p:nvSpPr>
        <p:spPr>
          <a:xfrm>
            <a:off x="1974466" y="3543240"/>
            <a:ext cx="1443024" cy="369332"/>
          </a:xfrm>
          <a:prstGeom prst="rect">
            <a:avLst/>
          </a:prstGeom>
          <a:noFill/>
        </p:spPr>
        <p:txBody>
          <a:bodyPr wrap="none" rtlCol="0">
            <a:spAutoFit/>
          </a:bodyPr>
          <a:lstStyle/>
          <a:p>
            <a:pPr marL="0" marR="0" lvl="0" indent="0" algn="ctr" defTabSz="64284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Elastic scale out </a:t>
            </a:r>
          </a:p>
          <a:p>
            <a:pPr marL="0" marR="0" lvl="0" indent="0" algn="ctr" defTabSz="64284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of storage &amp; throughput</a:t>
            </a:r>
          </a:p>
        </p:txBody>
      </p:sp>
      <p:sp>
        <p:nvSpPr>
          <p:cNvPr id="895" name="TextBox 894"/>
          <p:cNvSpPr txBox="1"/>
          <p:nvPr/>
        </p:nvSpPr>
        <p:spPr>
          <a:xfrm>
            <a:off x="3269690" y="3451450"/>
            <a:ext cx="2470549" cy="230832"/>
          </a:xfrm>
          <a:prstGeom prst="rect">
            <a:avLst/>
          </a:prstGeom>
          <a:noFill/>
        </p:spPr>
        <p:txBody>
          <a:bodyPr wrap="none" rtlCol="0">
            <a:spAutoFit/>
          </a:bodyPr>
          <a:lstStyle/>
          <a:p>
            <a:pPr marL="0" marR="0" lvl="0" indent="0" algn="ctr" defTabSz="64284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Guaranteed low latency at the 99</a:t>
            </a:r>
            <a:r>
              <a:rPr kumimoji="0" lang="en-US" sz="900" b="0" i="0" u="none" strike="noStrike" kern="0" cap="none" spc="0" normalizeH="0" baseline="30000" noProof="0" dirty="0">
                <a:ln>
                  <a:noFill/>
                </a:ln>
                <a:solidFill>
                  <a:srgbClr val="002050"/>
                </a:solidFill>
                <a:effectLst/>
                <a:uLnTx/>
                <a:uFillTx/>
                <a:latin typeface="Segoe UI"/>
                <a:ea typeface="+mn-ea"/>
                <a:cs typeface="Segoe UI Light" panose="020B0502040204020203" pitchFamily="34" charset="0"/>
              </a:rPr>
              <a:t>th</a:t>
            </a:r>
            <a:r>
              <a:rPr kumimoji="0" lang="en-US" sz="9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 percentile</a:t>
            </a:r>
          </a:p>
        </p:txBody>
      </p:sp>
      <p:sp>
        <p:nvSpPr>
          <p:cNvPr id="896" name="TextBox 895"/>
          <p:cNvSpPr txBox="1"/>
          <p:nvPr/>
        </p:nvSpPr>
        <p:spPr>
          <a:xfrm>
            <a:off x="7312830" y="3960958"/>
            <a:ext cx="1247457" cy="230832"/>
          </a:xfrm>
          <a:prstGeom prst="rect">
            <a:avLst/>
          </a:prstGeom>
          <a:noFill/>
        </p:spPr>
        <p:txBody>
          <a:bodyPr wrap="none" rtlCol="0">
            <a:spAutoFit/>
          </a:bodyPr>
          <a:lstStyle/>
          <a:p>
            <a:pPr marL="0" marR="0" lvl="0" indent="0" algn="ctr" defTabSz="64284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Comprehensive SLAs</a:t>
            </a:r>
          </a:p>
        </p:txBody>
      </p:sp>
      <p:sp>
        <p:nvSpPr>
          <p:cNvPr id="897" name="TextBox 896"/>
          <p:cNvSpPr txBox="1"/>
          <p:nvPr/>
        </p:nvSpPr>
        <p:spPr>
          <a:xfrm>
            <a:off x="5404453" y="3639971"/>
            <a:ext cx="2069798" cy="230832"/>
          </a:xfrm>
          <a:prstGeom prst="rect">
            <a:avLst/>
          </a:prstGeom>
          <a:noFill/>
        </p:spPr>
        <p:txBody>
          <a:bodyPr wrap="none" rtlCol="0">
            <a:spAutoFit/>
          </a:bodyPr>
          <a:lstStyle/>
          <a:p>
            <a:pPr marL="0" marR="0" lvl="0" indent="0" algn="ctr" defTabSz="64284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Five well-defined consistency models</a:t>
            </a:r>
          </a:p>
        </p:txBody>
      </p:sp>
      <p:grpSp>
        <p:nvGrpSpPr>
          <p:cNvPr id="905" name="Group 3"/>
          <p:cNvGrpSpPr/>
          <p:nvPr/>
        </p:nvGrpSpPr>
        <p:grpSpPr>
          <a:xfrm>
            <a:off x="1616791" y="4480021"/>
            <a:ext cx="564677" cy="564676"/>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5403976" y="4571132"/>
            <a:ext cx="564677" cy="564676"/>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4597702" y="4300694"/>
            <a:ext cx="564677" cy="564676"/>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6985188" y="4300694"/>
            <a:ext cx="564677" cy="564676"/>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5443" y="3230556"/>
            <a:ext cx="9149443" cy="778276"/>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sp>
        <p:nvSpPr>
          <p:cNvPr id="928" name="Freeform: Shape 927"/>
          <p:cNvSpPr/>
          <p:nvPr/>
        </p:nvSpPr>
        <p:spPr>
          <a:xfrm>
            <a:off x="-5443" y="2408292"/>
            <a:ext cx="9149443" cy="765022"/>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4823043" y="1919338"/>
            <a:ext cx="881267"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Segoe UI"/>
                <a:ea typeface="+mn-ea"/>
                <a:cs typeface="+mn-cs"/>
              </a:rPr>
              <a:t>Table API</a:t>
            </a:r>
          </a:p>
        </p:txBody>
      </p:sp>
      <p:grpSp>
        <p:nvGrpSpPr>
          <p:cNvPr id="93" name="Group 92"/>
          <p:cNvGrpSpPr/>
          <p:nvPr/>
        </p:nvGrpSpPr>
        <p:grpSpPr>
          <a:xfrm>
            <a:off x="3351473" y="2700950"/>
            <a:ext cx="486720" cy="93485"/>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18" name="Group 117"/>
          <p:cNvGrpSpPr/>
          <p:nvPr/>
        </p:nvGrpSpPr>
        <p:grpSpPr>
          <a:xfrm>
            <a:off x="1891654" y="2767510"/>
            <a:ext cx="552804" cy="604151"/>
            <a:chOff x="4511512" y="6316301"/>
            <a:chExt cx="680742" cy="1674728"/>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90" rIns="0" bIns="34290" numCol="1" rtlCol="0" anchor="ctr" anchorCtr="0" compatLnSpc="1">
                <a:prstTxWarp prst="textNoShape">
                  <a:avLst/>
                </a:prstTxWarp>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20" name="TextBox 119"/>
            <p:cNvSpPr txBox="1"/>
            <p:nvPr/>
          </p:nvSpPr>
          <p:spPr>
            <a:xfrm>
              <a:off x="4525832" y="7398964"/>
              <a:ext cx="666422" cy="592065"/>
            </a:xfrm>
            <a:prstGeom prst="rect">
              <a:avLst/>
            </a:prstGeom>
            <a:noFill/>
          </p:spPr>
          <p:txBody>
            <a:bodyPr wrap="none" l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sp>
        <p:nvSpPr>
          <p:cNvPr id="84" name="Title 10"/>
          <p:cNvSpPr>
            <a:spLocks noGrp="1"/>
          </p:cNvSpPr>
          <p:nvPr>
            <p:ph type="title"/>
          </p:nvPr>
        </p:nvSpPr>
        <p:spPr>
          <a:xfrm>
            <a:off x="203258" y="149063"/>
            <a:ext cx="8732041" cy="688181"/>
          </a:xfrm>
        </p:spPr>
        <p:txBody>
          <a:bodyPr>
            <a:noAutofit/>
          </a:bodyPr>
          <a:lstStyle/>
          <a:p>
            <a:r>
              <a:rPr lang="en-US" dirty="0"/>
              <a:t>Introducing Azure Cosmos DB</a:t>
            </a:r>
            <a:br>
              <a:rPr lang="en-US" dirty="0"/>
            </a:br>
            <a:r>
              <a:rPr lang="en-US" sz="1800" dirty="0">
                <a:solidFill>
                  <a:schemeClr val="accent1"/>
                </a:solidFill>
              </a:rPr>
              <a:t>A globally distributed, massively scalable, multi-model database service</a:t>
            </a:r>
          </a:p>
        </p:txBody>
      </p:sp>
    </p:spTree>
    <p:extLst>
      <p:ext uri="{BB962C8B-B14F-4D97-AF65-F5344CB8AC3E}">
        <p14:creationId xmlns:p14="http://schemas.microsoft.com/office/powerpoint/2010/main" val="302666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937C7-AC02-4F2C-9E6D-4C297AD1D7F7}"/>
              </a:ext>
            </a:extLst>
          </p:cNvPr>
          <p:cNvSpPr>
            <a:spLocks noGrp="1"/>
          </p:cNvSpPr>
          <p:nvPr>
            <p:ph type="title"/>
          </p:nvPr>
        </p:nvSpPr>
        <p:spPr/>
        <p:txBody>
          <a:bodyPr/>
          <a:lstStyle/>
          <a:p>
            <a:r>
              <a:rPr lang="de-AT" dirty="0"/>
              <a:t>Azure </a:t>
            </a:r>
            <a:r>
              <a:rPr lang="de-AT" dirty="0" err="1"/>
              <a:t>DevOps</a:t>
            </a:r>
            <a:endParaRPr lang="de-AT" dirty="0"/>
          </a:p>
        </p:txBody>
      </p:sp>
      <p:sp>
        <p:nvSpPr>
          <p:cNvPr id="3" name="Text Placeholder 2">
            <a:extLst>
              <a:ext uri="{FF2B5EF4-FFF2-40B4-BE49-F238E27FC236}">
                <a16:creationId xmlns:a16="http://schemas.microsoft.com/office/drawing/2014/main" id="{165BD964-4A60-4E9B-8563-715CE9BFF404}"/>
              </a:ext>
            </a:extLst>
          </p:cNvPr>
          <p:cNvSpPr>
            <a:spLocks noGrp="1"/>
          </p:cNvSpPr>
          <p:nvPr>
            <p:ph type="body" sz="quarter" idx="25"/>
          </p:nvPr>
        </p:nvSpPr>
        <p:spPr/>
        <p:txBody>
          <a:bodyPr/>
          <a:lstStyle/>
          <a:p>
            <a:endParaRPr lang="de-AT"/>
          </a:p>
        </p:txBody>
      </p:sp>
    </p:spTree>
    <p:extLst>
      <p:ext uri="{BB962C8B-B14F-4D97-AF65-F5344CB8AC3E}">
        <p14:creationId xmlns:p14="http://schemas.microsoft.com/office/powerpoint/2010/main" val="716874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he converged DevOps lifecycle</a:t>
            </a:r>
            <a:endParaRPr lang="de-DE" dirty="0"/>
          </a:p>
        </p:txBody>
      </p:sp>
      <p:grpSp>
        <p:nvGrpSpPr>
          <p:cNvPr id="13" name="Group 12"/>
          <p:cNvGrpSpPr/>
          <p:nvPr/>
        </p:nvGrpSpPr>
        <p:grpSpPr>
          <a:xfrm>
            <a:off x="32022" y="1339167"/>
            <a:ext cx="8978553" cy="2839871"/>
            <a:chOff x="43550" y="1899446"/>
            <a:chExt cx="12211456" cy="3862422"/>
          </a:xfrm>
        </p:grpSpPr>
        <p:sp>
          <p:nvSpPr>
            <p:cNvPr id="14" name="AutoShape 63"/>
            <p:cNvSpPr>
              <a:spLocks noChangeAspect="1" noChangeArrowheads="1" noTextEdit="1"/>
            </p:cNvSpPr>
            <p:nvPr/>
          </p:nvSpPr>
          <p:spPr bwMode="auto">
            <a:xfrm>
              <a:off x="3370790" y="2363586"/>
              <a:ext cx="5807321" cy="2882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15" name="Freeform 67"/>
            <p:cNvSpPr>
              <a:spLocks/>
            </p:cNvSpPr>
            <p:nvPr/>
          </p:nvSpPr>
          <p:spPr bwMode="auto">
            <a:xfrm>
              <a:off x="3370790" y="3584797"/>
              <a:ext cx="3039881" cy="1660944"/>
            </a:xfrm>
            <a:custGeom>
              <a:avLst/>
              <a:gdLst>
                <a:gd name="T0" fmla="*/ 2545 w 2545"/>
                <a:gd name="T1" fmla="*/ 365 h 1391"/>
                <a:gd name="T2" fmla="*/ 2464 w 2545"/>
                <a:gd name="T3" fmla="*/ 486 h 1391"/>
                <a:gd name="T4" fmla="*/ 2395 w 2545"/>
                <a:gd name="T5" fmla="*/ 587 h 1391"/>
                <a:gd name="T6" fmla="*/ 2333 w 2545"/>
                <a:gd name="T7" fmla="*/ 679 h 1391"/>
                <a:gd name="T8" fmla="*/ 2271 w 2545"/>
                <a:gd name="T9" fmla="*/ 767 h 1391"/>
                <a:gd name="T10" fmla="*/ 2203 w 2545"/>
                <a:gd name="T11" fmla="*/ 861 h 1391"/>
                <a:gd name="T12" fmla="*/ 2134 w 2545"/>
                <a:gd name="T13" fmla="*/ 951 h 1391"/>
                <a:gd name="T14" fmla="*/ 2059 w 2545"/>
                <a:gd name="T15" fmla="*/ 1033 h 1391"/>
                <a:gd name="T16" fmla="*/ 1968 w 2545"/>
                <a:gd name="T17" fmla="*/ 1114 h 1391"/>
                <a:gd name="T18" fmla="*/ 1859 w 2545"/>
                <a:gd name="T19" fmla="*/ 1192 h 1391"/>
                <a:gd name="T20" fmla="*/ 1733 w 2545"/>
                <a:gd name="T21" fmla="*/ 1263 h 1391"/>
                <a:gd name="T22" fmla="*/ 1591 w 2545"/>
                <a:gd name="T23" fmla="*/ 1322 h 1391"/>
                <a:gd name="T24" fmla="*/ 1430 w 2545"/>
                <a:gd name="T25" fmla="*/ 1366 h 1391"/>
                <a:gd name="T26" fmla="*/ 1250 w 2545"/>
                <a:gd name="T27" fmla="*/ 1390 h 1391"/>
                <a:gd name="T28" fmla="*/ 1250 w 2545"/>
                <a:gd name="T29" fmla="*/ 1390 h 1391"/>
                <a:gd name="T30" fmla="*/ 1100 w 2545"/>
                <a:gd name="T31" fmla="*/ 1387 h 1391"/>
                <a:gd name="T32" fmla="*/ 900 w 2545"/>
                <a:gd name="T33" fmla="*/ 1351 h 1391"/>
                <a:gd name="T34" fmla="*/ 713 w 2545"/>
                <a:gd name="T35" fmla="*/ 1287 h 1391"/>
                <a:gd name="T36" fmla="*/ 540 w 2545"/>
                <a:gd name="T37" fmla="*/ 1192 h 1391"/>
                <a:gd name="T38" fmla="*/ 387 w 2545"/>
                <a:gd name="T39" fmla="*/ 1072 h 1391"/>
                <a:gd name="T40" fmla="*/ 256 w 2545"/>
                <a:gd name="T41" fmla="*/ 929 h 1391"/>
                <a:gd name="T42" fmla="*/ 149 w 2545"/>
                <a:gd name="T43" fmla="*/ 766 h 1391"/>
                <a:gd name="T44" fmla="*/ 68 w 2545"/>
                <a:gd name="T45" fmla="*/ 586 h 1391"/>
                <a:gd name="T46" fmla="*/ 18 w 2545"/>
                <a:gd name="T47" fmla="*/ 392 h 1391"/>
                <a:gd name="T48" fmla="*/ 0 w 2545"/>
                <a:gd name="T49" fmla="*/ 187 h 1391"/>
                <a:gd name="T50" fmla="*/ 4 w 2545"/>
                <a:gd name="T51" fmla="*/ 125 h 1391"/>
                <a:gd name="T52" fmla="*/ 402 w 2545"/>
                <a:gd name="T53" fmla="*/ 187 h 1391"/>
                <a:gd name="T54" fmla="*/ 418 w 2545"/>
                <a:gd name="T55" fmla="*/ 349 h 1391"/>
                <a:gd name="T56" fmla="*/ 464 w 2545"/>
                <a:gd name="T57" fmla="*/ 499 h 1391"/>
                <a:gd name="T58" fmla="*/ 539 w 2545"/>
                <a:gd name="T59" fmla="*/ 636 h 1391"/>
                <a:gd name="T60" fmla="*/ 636 w 2545"/>
                <a:gd name="T61" fmla="*/ 754 h 1391"/>
                <a:gd name="T62" fmla="*/ 756 w 2545"/>
                <a:gd name="T63" fmla="*/ 852 h 1391"/>
                <a:gd name="T64" fmla="*/ 891 w 2545"/>
                <a:gd name="T65" fmla="*/ 926 h 1391"/>
                <a:gd name="T66" fmla="*/ 1043 w 2545"/>
                <a:gd name="T67" fmla="*/ 973 h 1391"/>
                <a:gd name="T68" fmla="*/ 1205 w 2545"/>
                <a:gd name="T69" fmla="*/ 989 h 1391"/>
                <a:gd name="T70" fmla="*/ 1250 w 2545"/>
                <a:gd name="T71" fmla="*/ 988 h 1391"/>
                <a:gd name="T72" fmla="*/ 1409 w 2545"/>
                <a:gd name="T73" fmla="*/ 963 h 1391"/>
                <a:gd name="T74" fmla="*/ 1558 w 2545"/>
                <a:gd name="T75" fmla="*/ 908 h 1391"/>
                <a:gd name="T76" fmla="*/ 1689 w 2545"/>
                <a:gd name="T77" fmla="*/ 829 h 1391"/>
                <a:gd name="T78" fmla="*/ 1801 w 2545"/>
                <a:gd name="T79" fmla="*/ 724 h 1391"/>
                <a:gd name="T80" fmla="*/ 1906 w 2545"/>
                <a:gd name="T81" fmla="*/ 583 h 1391"/>
                <a:gd name="T82" fmla="*/ 2031 w 2545"/>
                <a:gd name="T83" fmla="*/ 399 h 1391"/>
                <a:gd name="T84" fmla="*/ 2166 w 2545"/>
                <a:gd name="T85" fmla="*/ 202 h 1391"/>
                <a:gd name="T86" fmla="*/ 2306 w 2545"/>
                <a:gd name="T87" fmla="*/ 0 h 1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45" h="1391">
                  <a:moveTo>
                    <a:pt x="2306" y="0"/>
                  </a:moveTo>
                  <a:lnTo>
                    <a:pt x="2545" y="365"/>
                  </a:lnTo>
                  <a:lnTo>
                    <a:pt x="2502" y="429"/>
                  </a:lnTo>
                  <a:lnTo>
                    <a:pt x="2464" y="486"/>
                  </a:lnTo>
                  <a:lnTo>
                    <a:pt x="2429" y="539"/>
                  </a:lnTo>
                  <a:lnTo>
                    <a:pt x="2395" y="587"/>
                  </a:lnTo>
                  <a:lnTo>
                    <a:pt x="2364" y="635"/>
                  </a:lnTo>
                  <a:lnTo>
                    <a:pt x="2333" y="679"/>
                  </a:lnTo>
                  <a:lnTo>
                    <a:pt x="2302" y="723"/>
                  </a:lnTo>
                  <a:lnTo>
                    <a:pt x="2271" y="767"/>
                  </a:lnTo>
                  <a:lnTo>
                    <a:pt x="2239" y="813"/>
                  </a:lnTo>
                  <a:lnTo>
                    <a:pt x="2203" y="861"/>
                  </a:lnTo>
                  <a:lnTo>
                    <a:pt x="2165" y="913"/>
                  </a:lnTo>
                  <a:lnTo>
                    <a:pt x="2134" y="951"/>
                  </a:lnTo>
                  <a:lnTo>
                    <a:pt x="2099" y="992"/>
                  </a:lnTo>
                  <a:lnTo>
                    <a:pt x="2059" y="1033"/>
                  </a:lnTo>
                  <a:lnTo>
                    <a:pt x="2015" y="1075"/>
                  </a:lnTo>
                  <a:lnTo>
                    <a:pt x="1968" y="1114"/>
                  </a:lnTo>
                  <a:lnTo>
                    <a:pt x="1915" y="1154"/>
                  </a:lnTo>
                  <a:lnTo>
                    <a:pt x="1859" y="1192"/>
                  </a:lnTo>
                  <a:lnTo>
                    <a:pt x="1798" y="1229"/>
                  </a:lnTo>
                  <a:lnTo>
                    <a:pt x="1733" y="1263"/>
                  </a:lnTo>
                  <a:lnTo>
                    <a:pt x="1664" y="1294"/>
                  </a:lnTo>
                  <a:lnTo>
                    <a:pt x="1591" y="1322"/>
                  </a:lnTo>
                  <a:lnTo>
                    <a:pt x="1512" y="1345"/>
                  </a:lnTo>
                  <a:lnTo>
                    <a:pt x="1430" y="1366"/>
                  </a:lnTo>
                  <a:lnTo>
                    <a:pt x="1342" y="1381"/>
                  </a:lnTo>
                  <a:lnTo>
                    <a:pt x="1250" y="1390"/>
                  </a:lnTo>
                  <a:lnTo>
                    <a:pt x="1250" y="1390"/>
                  </a:lnTo>
                  <a:lnTo>
                    <a:pt x="1250" y="1390"/>
                  </a:lnTo>
                  <a:lnTo>
                    <a:pt x="1205" y="1391"/>
                  </a:lnTo>
                  <a:lnTo>
                    <a:pt x="1100" y="1387"/>
                  </a:lnTo>
                  <a:lnTo>
                    <a:pt x="999" y="1373"/>
                  </a:lnTo>
                  <a:lnTo>
                    <a:pt x="900" y="1351"/>
                  </a:lnTo>
                  <a:lnTo>
                    <a:pt x="804" y="1323"/>
                  </a:lnTo>
                  <a:lnTo>
                    <a:pt x="713" y="1287"/>
                  </a:lnTo>
                  <a:lnTo>
                    <a:pt x="624" y="1242"/>
                  </a:lnTo>
                  <a:lnTo>
                    <a:pt x="540" y="1192"/>
                  </a:lnTo>
                  <a:lnTo>
                    <a:pt x="462" y="1135"/>
                  </a:lnTo>
                  <a:lnTo>
                    <a:pt x="387" y="1072"/>
                  </a:lnTo>
                  <a:lnTo>
                    <a:pt x="320" y="1002"/>
                  </a:lnTo>
                  <a:lnTo>
                    <a:pt x="256" y="929"/>
                  </a:lnTo>
                  <a:lnTo>
                    <a:pt x="199" y="849"/>
                  </a:lnTo>
                  <a:lnTo>
                    <a:pt x="149" y="766"/>
                  </a:lnTo>
                  <a:lnTo>
                    <a:pt x="105" y="679"/>
                  </a:lnTo>
                  <a:lnTo>
                    <a:pt x="68" y="586"/>
                  </a:lnTo>
                  <a:lnTo>
                    <a:pt x="38" y="490"/>
                  </a:lnTo>
                  <a:lnTo>
                    <a:pt x="18" y="392"/>
                  </a:lnTo>
                  <a:lnTo>
                    <a:pt x="4" y="292"/>
                  </a:lnTo>
                  <a:lnTo>
                    <a:pt x="0" y="187"/>
                  </a:lnTo>
                  <a:lnTo>
                    <a:pt x="1" y="156"/>
                  </a:lnTo>
                  <a:lnTo>
                    <a:pt x="4" y="125"/>
                  </a:lnTo>
                  <a:lnTo>
                    <a:pt x="404" y="125"/>
                  </a:lnTo>
                  <a:lnTo>
                    <a:pt x="402" y="187"/>
                  </a:lnTo>
                  <a:lnTo>
                    <a:pt x="405" y="270"/>
                  </a:lnTo>
                  <a:lnTo>
                    <a:pt x="418" y="349"/>
                  </a:lnTo>
                  <a:lnTo>
                    <a:pt x="437" y="426"/>
                  </a:lnTo>
                  <a:lnTo>
                    <a:pt x="464" y="499"/>
                  </a:lnTo>
                  <a:lnTo>
                    <a:pt x="498" y="570"/>
                  </a:lnTo>
                  <a:lnTo>
                    <a:pt x="539" y="636"/>
                  </a:lnTo>
                  <a:lnTo>
                    <a:pt x="585" y="698"/>
                  </a:lnTo>
                  <a:lnTo>
                    <a:pt x="636" y="754"/>
                  </a:lnTo>
                  <a:lnTo>
                    <a:pt x="694" y="807"/>
                  </a:lnTo>
                  <a:lnTo>
                    <a:pt x="756" y="852"/>
                  </a:lnTo>
                  <a:lnTo>
                    <a:pt x="822" y="892"/>
                  </a:lnTo>
                  <a:lnTo>
                    <a:pt x="891" y="926"/>
                  </a:lnTo>
                  <a:lnTo>
                    <a:pt x="965" y="954"/>
                  </a:lnTo>
                  <a:lnTo>
                    <a:pt x="1043" y="973"/>
                  </a:lnTo>
                  <a:lnTo>
                    <a:pt x="1122" y="985"/>
                  </a:lnTo>
                  <a:lnTo>
                    <a:pt x="1205" y="989"/>
                  </a:lnTo>
                  <a:lnTo>
                    <a:pt x="1250" y="988"/>
                  </a:lnTo>
                  <a:lnTo>
                    <a:pt x="1250" y="988"/>
                  </a:lnTo>
                  <a:lnTo>
                    <a:pt x="1331" y="979"/>
                  </a:lnTo>
                  <a:lnTo>
                    <a:pt x="1409" y="963"/>
                  </a:lnTo>
                  <a:lnTo>
                    <a:pt x="1486" y="939"/>
                  </a:lnTo>
                  <a:lnTo>
                    <a:pt x="1558" y="908"/>
                  </a:lnTo>
                  <a:lnTo>
                    <a:pt x="1626" y="872"/>
                  </a:lnTo>
                  <a:lnTo>
                    <a:pt x="1689" y="829"/>
                  </a:lnTo>
                  <a:lnTo>
                    <a:pt x="1748" y="779"/>
                  </a:lnTo>
                  <a:lnTo>
                    <a:pt x="1801" y="724"/>
                  </a:lnTo>
                  <a:lnTo>
                    <a:pt x="1848" y="665"/>
                  </a:lnTo>
                  <a:lnTo>
                    <a:pt x="1906" y="583"/>
                  </a:lnTo>
                  <a:lnTo>
                    <a:pt x="1966" y="493"/>
                  </a:lnTo>
                  <a:lnTo>
                    <a:pt x="2031" y="399"/>
                  </a:lnTo>
                  <a:lnTo>
                    <a:pt x="2097" y="302"/>
                  </a:lnTo>
                  <a:lnTo>
                    <a:pt x="2166" y="202"/>
                  </a:lnTo>
                  <a:lnTo>
                    <a:pt x="2236" y="102"/>
                  </a:lnTo>
                  <a:lnTo>
                    <a:pt x="2306" y="0"/>
                  </a:lnTo>
                  <a:close/>
                </a:path>
              </a:pathLst>
            </a:custGeom>
            <a:solidFill>
              <a:srgbClr val="CB2627"/>
            </a:solidFill>
            <a:ln w="10795" cap="flat" cmpd="sng" algn="ctr">
              <a:noFill/>
              <a:prstDash val="solid"/>
              <a:headEnd type="none" w="med" len="med"/>
              <a:tailEnd type="none" w="med" len="med"/>
            </a:ln>
            <a:effectLst/>
          </p:spPr>
          <p:txBody>
            <a:bodyPr vert="horz" wrap="square" lIns="0" tIns="34285" rIns="0" bIns="34285" numCol="1" rtlCol="0" anchor="ctr" anchorCtr="0" compatLnSpc="1">
              <a:prstTxWarp prst="textNoShape">
                <a:avLst/>
              </a:prstTxWarp>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2" name="Freeform 68"/>
            <p:cNvSpPr>
              <a:spLocks/>
            </p:cNvSpPr>
            <p:nvPr/>
          </p:nvSpPr>
          <p:spPr bwMode="auto">
            <a:xfrm>
              <a:off x="3748385" y="3018404"/>
              <a:ext cx="1687230" cy="1065871"/>
            </a:xfrm>
            <a:custGeom>
              <a:avLst/>
              <a:gdLst>
                <a:gd name="T0" fmla="*/ 161 w 1413"/>
                <a:gd name="T1" fmla="*/ 0 h 892"/>
                <a:gd name="T2" fmla="*/ 1413 w 1413"/>
                <a:gd name="T3" fmla="*/ 389 h 892"/>
                <a:gd name="T4" fmla="*/ 1252 w 1413"/>
                <a:gd name="T5" fmla="*/ 892 h 892"/>
                <a:gd name="T6" fmla="*/ 0 w 1413"/>
                <a:gd name="T7" fmla="*/ 504 h 892"/>
                <a:gd name="T8" fmla="*/ 161 w 1413"/>
                <a:gd name="T9" fmla="*/ 0 h 892"/>
              </a:gdLst>
              <a:ahLst/>
              <a:cxnLst>
                <a:cxn ang="0">
                  <a:pos x="T0" y="T1"/>
                </a:cxn>
                <a:cxn ang="0">
                  <a:pos x="T2" y="T3"/>
                </a:cxn>
                <a:cxn ang="0">
                  <a:pos x="T4" y="T5"/>
                </a:cxn>
                <a:cxn ang="0">
                  <a:pos x="T6" y="T7"/>
                </a:cxn>
                <a:cxn ang="0">
                  <a:pos x="T8" y="T9"/>
                </a:cxn>
              </a:cxnLst>
              <a:rect l="0" t="0" r="r" b="b"/>
              <a:pathLst>
                <a:path w="1413" h="892">
                  <a:moveTo>
                    <a:pt x="161" y="0"/>
                  </a:moveTo>
                  <a:lnTo>
                    <a:pt x="1413" y="389"/>
                  </a:lnTo>
                  <a:lnTo>
                    <a:pt x="1252" y="892"/>
                  </a:lnTo>
                  <a:lnTo>
                    <a:pt x="0" y="504"/>
                  </a:lnTo>
                  <a:lnTo>
                    <a:pt x="161" y="0"/>
                  </a:lnTo>
                  <a:close/>
                </a:path>
              </a:pathLst>
            </a:custGeom>
            <a:solidFill>
              <a:srgbClr val="000000"/>
            </a:solidFill>
            <a:ln w="0">
              <a:solidFill>
                <a:srgbClr val="000000"/>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23" name="Freeform 69"/>
            <p:cNvSpPr>
              <a:spLocks/>
            </p:cNvSpPr>
            <p:nvPr/>
          </p:nvSpPr>
          <p:spPr bwMode="auto">
            <a:xfrm>
              <a:off x="3370790" y="2370756"/>
              <a:ext cx="3015983" cy="1646605"/>
            </a:xfrm>
            <a:custGeom>
              <a:avLst/>
              <a:gdLst>
                <a:gd name="T0" fmla="*/ 1404 w 2524"/>
                <a:gd name="T1" fmla="*/ 16 h 1377"/>
                <a:gd name="T2" fmla="*/ 1683 w 2524"/>
                <a:gd name="T3" fmla="*/ 103 h 1377"/>
                <a:gd name="T4" fmla="*/ 1931 w 2524"/>
                <a:gd name="T5" fmla="*/ 249 h 1377"/>
                <a:gd name="T6" fmla="*/ 2134 w 2524"/>
                <a:gd name="T7" fmla="*/ 441 h 1377"/>
                <a:gd name="T8" fmla="*/ 2216 w 2524"/>
                <a:gd name="T9" fmla="*/ 549 h 1377"/>
                <a:gd name="T10" fmla="*/ 2247 w 2524"/>
                <a:gd name="T11" fmla="*/ 591 h 1377"/>
                <a:gd name="T12" fmla="*/ 2268 w 2524"/>
                <a:gd name="T13" fmla="*/ 619 h 1377"/>
                <a:gd name="T14" fmla="*/ 2281 w 2524"/>
                <a:gd name="T15" fmla="*/ 637 h 1377"/>
                <a:gd name="T16" fmla="*/ 2287 w 2524"/>
                <a:gd name="T17" fmla="*/ 646 h 1377"/>
                <a:gd name="T18" fmla="*/ 2286 w 2524"/>
                <a:gd name="T19" fmla="*/ 644 h 1377"/>
                <a:gd name="T20" fmla="*/ 2281 w 2524"/>
                <a:gd name="T21" fmla="*/ 639 h 1377"/>
                <a:gd name="T22" fmla="*/ 2272 w 2524"/>
                <a:gd name="T23" fmla="*/ 625 h 1377"/>
                <a:gd name="T24" fmla="*/ 2261 w 2524"/>
                <a:gd name="T25" fmla="*/ 609 h 1377"/>
                <a:gd name="T26" fmla="*/ 2247 w 2524"/>
                <a:gd name="T27" fmla="*/ 591 h 1377"/>
                <a:gd name="T28" fmla="*/ 2233 w 2524"/>
                <a:gd name="T29" fmla="*/ 572 h 1377"/>
                <a:gd name="T30" fmla="*/ 2219 w 2524"/>
                <a:gd name="T31" fmla="*/ 553 h 1377"/>
                <a:gd name="T32" fmla="*/ 2208 w 2524"/>
                <a:gd name="T33" fmla="*/ 537 h 1377"/>
                <a:gd name="T34" fmla="*/ 2199 w 2524"/>
                <a:gd name="T35" fmla="*/ 524 h 1377"/>
                <a:gd name="T36" fmla="*/ 2193 w 2524"/>
                <a:gd name="T37" fmla="*/ 516 h 1377"/>
                <a:gd name="T38" fmla="*/ 2209 w 2524"/>
                <a:gd name="T39" fmla="*/ 536 h 1377"/>
                <a:gd name="T40" fmla="*/ 2278 w 2524"/>
                <a:gd name="T41" fmla="*/ 630 h 1377"/>
                <a:gd name="T42" fmla="*/ 2371 w 2524"/>
                <a:gd name="T43" fmla="*/ 765 h 1377"/>
                <a:gd name="T44" fmla="*/ 2483 w 2524"/>
                <a:gd name="T45" fmla="*/ 928 h 1377"/>
                <a:gd name="T46" fmla="*/ 2206 w 2524"/>
                <a:gd name="T47" fmla="*/ 1251 h 1377"/>
                <a:gd name="T48" fmla="*/ 1966 w 2524"/>
                <a:gd name="T49" fmla="*/ 902 h 1377"/>
                <a:gd name="T50" fmla="*/ 1804 w 2524"/>
                <a:gd name="T51" fmla="*/ 678 h 1377"/>
                <a:gd name="T52" fmla="*/ 1635 w 2524"/>
                <a:gd name="T53" fmla="*/ 533 h 1377"/>
                <a:gd name="T54" fmla="*/ 1433 w 2524"/>
                <a:gd name="T55" fmla="*/ 435 h 1377"/>
                <a:gd name="T56" fmla="*/ 1205 w 2524"/>
                <a:gd name="T57" fmla="*/ 400 h 1377"/>
                <a:gd name="T58" fmla="*/ 1118 w 2524"/>
                <a:gd name="T59" fmla="*/ 405 h 1377"/>
                <a:gd name="T60" fmla="*/ 950 w 2524"/>
                <a:gd name="T61" fmla="*/ 441 h 1377"/>
                <a:gd name="T62" fmla="*/ 745 w 2524"/>
                <a:gd name="T63" fmla="*/ 544 h 1377"/>
                <a:gd name="T64" fmla="*/ 580 w 2524"/>
                <a:gd name="T65" fmla="*/ 699 h 1377"/>
                <a:gd name="T66" fmla="*/ 465 w 2524"/>
                <a:gd name="T67" fmla="*/ 895 h 1377"/>
                <a:gd name="T68" fmla="*/ 408 w 2524"/>
                <a:gd name="T69" fmla="*/ 1118 h 1377"/>
                <a:gd name="T70" fmla="*/ 6 w 2524"/>
                <a:gd name="T71" fmla="*/ 1095 h 1377"/>
                <a:gd name="T72" fmla="*/ 71 w 2524"/>
                <a:gd name="T73" fmla="*/ 803 h 1377"/>
                <a:gd name="T74" fmla="*/ 202 w 2524"/>
                <a:gd name="T75" fmla="*/ 541 h 1377"/>
                <a:gd name="T76" fmla="*/ 387 w 2524"/>
                <a:gd name="T77" fmla="*/ 321 h 1377"/>
                <a:gd name="T78" fmla="*/ 623 w 2524"/>
                <a:gd name="T79" fmla="*/ 150 h 1377"/>
                <a:gd name="T80" fmla="*/ 898 w 2524"/>
                <a:gd name="T81" fmla="*/ 40 h 1377"/>
                <a:gd name="T82" fmla="*/ 1102 w 2524"/>
                <a:gd name="T83" fmla="*/ 4 h 1377"/>
                <a:gd name="T84" fmla="*/ 1158 w 2524"/>
                <a:gd name="T85" fmla="*/ 0 h 1377"/>
                <a:gd name="T86" fmla="*/ 1205 w 2524"/>
                <a:gd name="T87" fmla="*/ 0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24" h="1377">
                  <a:moveTo>
                    <a:pt x="1205" y="0"/>
                  </a:moveTo>
                  <a:lnTo>
                    <a:pt x="1305" y="4"/>
                  </a:lnTo>
                  <a:lnTo>
                    <a:pt x="1404" y="16"/>
                  </a:lnTo>
                  <a:lnTo>
                    <a:pt x="1501" y="38"/>
                  </a:lnTo>
                  <a:lnTo>
                    <a:pt x="1593" y="66"/>
                  </a:lnTo>
                  <a:lnTo>
                    <a:pt x="1683" y="103"/>
                  </a:lnTo>
                  <a:lnTo>
                    <a:pt x="1770" y="144"/>
                  </a:lnTo>
                  <a:lnTo>
                    <a:pt x="1853" y="194"/>
                  </a:lnTo>
                  <a:lnTo>
                    <a:pt x="1931" y="249"/>
                  </a:lnTo>
                  <a:lnTo>
                    <a:pt x="2003" y="307"/>
                  </a:lnTo>
                  <a:lnTo>
                    <a:pt x="2072" y="372"/>
                  </a:lnTo>
                  <a:lnTo>
                    <a:pt x="2134" y="441"/>
                  </a:lnTo>
                  <a:lnTo>
                    <a:pt x="2191" y="513"/>
                  </a:lnTo>
                  <a:lnTo>
                    <a:pt x="2205" y="533"/>
                  </a:lnTo>
                  <a:lnTo>
                    <a:pt x="2216" y="549"/>
                  </a:lnTo>
                  <a:lnTo>
                    <a:pt x="2228" y="565"/>
                  </a:lnTo>
                  <a:lnTo>
                    <a:pt x="2239" y="578"/>
                  </a:lnTo>
                  <a:lnTo>
                    <a:pt x="2247" y="591"/>
                  </a:lnTo>
                  <a:lnTo>
                    <a:pt x="2255" y="602"/>
                  </a:lnTo>
                  <a:lnTo>
                    <a:pt x="2262" y="612"/>
                  </a:lnTo>
                  <a:lnTo>
                    <a:pt x="2268" y="619"/>
                  </a:lnTo>
                  <a:lnTo>
                    <a:pt x="2272" y="627"/>
                  </a:lnTo>
                  <a:lnTo>
                    <a:pt x="2277" y="633"/>
                  </a:lnTo>
                  <a:lnTo>
                    <a:pt x="2281" y="637"/>
                  </a:lnTo>
                  <a:lnTo>
                    <a:pt x="2283" y="642"/>
                  </a:lnTo>
                  <a:lnTo>
                    <a:pt x="2286" y="643"/>
                  </a:lnTo>
                  <a:lnTo>
                    <a:pt x="2287" y="646"/>
                  </a:lnTo>
                  <a:lnTo>
                    <a:pt x="2287" y="646"/>
                  </a:lnTo>
                  <a:lnTo>
                    <a:pt x="2287" y="646"/>
                  </a:lnTo>
                  <a:lnTo>
                    <a:pt x="2286" y="644"/>
                  </a:lnTo>
                  <a:lnTo>
                    <a:pt x="2286" y="643"/>
                  </a:lnTo>
                  <a:lnTo>
                    <a:pt x="2283" y="642"/>
                  </a:lnTo>
                  <a:lnTo>
                    <a:pt x="2281" y="639"/>
                  </a:lnTo>
                  <a:lnTo>
                    <a:pt x="2278" y="634"/>
                  </a:lnTo>
                  <a:lnTo>
                    <a:pt x="2275" y="630"/>
                  </a:lnTo>
                  <a:lnTo>
                    <a:pt x="2272" y="625"/>
                  </a:lnTo>
                  <a:lnTo>
                    <a:pt x="2268" y="621"/>
                  </a:lnTo>
                  <a:lnTo>
                    <a:pt x="2265" y="615"/>
                  </a:lnTo>
                  <a:lnTo>
                    <a:pt x="2261" y="609"/>
                  </a:lnTo>
                  <a:lnTo>
                    <a:pt x="2256" y="603"/>
                  </a:lnTo>
                  <a:lnTo>
                    <a:pt x="2252" y="597"/>
                  </a:lnTo>
                  <a:lnTo>
                    <a:pt x="2247" y="591"/>
                  </a:lnTo>
                  <a:lnTo>
                    <a:pt x="2243" y="584"/>
                  </a:lnTo>
                  <a:lnTo>
                    <a:pt x="2239" y="578"/>
                  </a:lnTo>
                  <a:lnTo>
                    <a:pt x="2233" y="572"/>
                  </a:lnTo>
                  <a:lnTo>
                    <a:pt x="2228" y="565"/>
                  </a:lnTo>
                  <a:lnTo>
                    <a:pt x="2224" y="559"/>
                  </a:lnTo>
                  <a:lnTo>
                    <a:pt x="2219" y="553"/>
                  </a:lnTo>
                  <a:lnTo>
                    <a:pt x="2215" y="547"/>
                  </a:lnTo>
                  <a:lnTo>
                    <a:pt x="2212" y="541"/>
                  </a:lnTo>
                  <a:lnTo>
                    <a:pt x="2208" y="537"/>
                  </a:lnTo>
                  <a:lnTo>
                    <a:pt x="2205" y="531"/>
                  </a:lnTo>
                  <a:lnTo>
                    <a:pt x="2202" y="528"/>
                  </a:lnTo>
                  <a:lnTo>
                    <a:pt x="2199" y="524"/>
                  </a:lnTo>
                  <a:lnTo>
                    <a:pt x="2196" y="521"/>
                  </a:lnTo>
                  <a:lnTo>
                    <a:pt x="2194" y="518"/>
                  </a:lnTo>
                  <a:lnTo>
                    <a:pt x="2193" y="516"/>
                  </a:lnTo>
                  <a:lnTo>
                    <a:pt x="2193" y="515"/>
                  </a:lnTo>
                  <a:lnTo>
                    <a:pt x="2191" y="515"/>
                  </a:lnTo>
                  <a:lnTo>
                    <a:pt x="2209" y="536"/>
                  </a:lnTo>
                  <a:lnTo>
                    <a:pt x="2228" y="562"/>
                  </a:lnTo>
                  <a:lnTo>
                    <a:pt x="2252" y="594"/>
                  </a:lnTo>
                  <a:lnTo>
                    <a:pt x="2278" y="630"/>
                  </a:lnTo>
                  <a:lnTo>
                    <a:pt x="2306" y="671"/>
                  </a:lnTo>
                  <a:lnTo>
                    <a:pt x="2339" y="717"/>
                  </a:lnTo>
                  <a:lnTo>
                    <a:pt x="2371" y="765"/>
                  </a:lnTo>
                  <a:lnTo>
                    <a:pt x="2408" y="817"/>
                  </a:lnTo>
                  <a:lnTo>
                    <a:pt x="2445" y="873"/>
                  </a:lnTo>
                  <a:lnTo>
                    <a:pt x="2483" y="928"/>
                  </a:lnTo>
                  <a:lnTo>
                    <a:pt x="2524" y="987"/>
                  </a:lnTo>
                  <a:lnTo>
                    <a:pt x="2295" y="1377"/>
                  </a:lnTo>
                  <a:lnTo>
                    <a:pt x="2206" y="1251"/>
                  </a:lnTo>
                  <a:lnTo>
                    <a:pt x="2121" y="1130"/>
                  </a:lnTo>
                  <a:lnTo>
                    <a:pt x="2041" y="1014"/>
                  </a:lnTo>
                  <a:lnTo>
                    <a:pt x="1966" y="902"/>
                  </a:lnTo>
                  <a:lnTo>
                    <a:pt x="1895" y="796"/>
                  </a:lnTo>
                  <a:lnTo>
                    <a:pt x="1851" y="734"/>
                  </a:lnTo>
                  <a:lnTo>
                    <a:pt x="1804" y="678"/>
                  </a:lnTo>
                  <a:lnTo>
                    <a:pt x="1751" y="624"/>
                  </a:lnTo>
                  <a:lnTo>
                    <a:pt x="1695" y="575"/>
                  </a:lnTo>
                  <a:lnTo>
                    <a:pt x="1635" y="533"/>
                  </a:lnTo>
                  <a:lnTo>
                    <a:pt x="1571" y="494"/>
                  </a:lnTo>
                  <a:lnTo>
                    <a:pt x="1504" y="462"/>
                  </a:lnTo>
                  <a:lnTo>
                    <a:pt x="1433" y="435"/>
                  </a:lnTo>
                  <a:lnTo>
                    <a:pt x="1359" y="416"/>
                  </a:lnTo>
                  <a:lnTo>
                    <a:pt x="1283" y="405"/>
                  </a:lnTo>
                  <a:lnTo>
                    <a:pt x="1205" y="400"/>
                  </a:lnTo>
                  <a:lnTo>
                    <a:pt x="1194" y="400"/>
                  </a:lnTo>
                  <a:lnTo>
                    <a:pt x="1194" y="400"/>
                  </a:lnTo>
                  <a:lnTo>
                    <a:pt x="1118" y="405"/>
                  </a:lnTo>
                  <a:lnTo>
                    <a:pt x="1107" y="406"/>
                  </a:lnTo>
                  <a:lnTo>
                    <a:pt x="1026" y="419"/>
                  </a:lnTo>
                  <a:lnTo>
                    <a:pt x="950" y="441"/>
                  </a:lnTo>
                  <a:lnTo>
                    <a:pt x="878" y="469"/>
                  </a:lnTo>
                  <a:lnTo>
                    <a:pt x="810" y="503"/>
                  </a:lnTo>
                  <a:lnTo>
                    <a:pt x="745" y="544"/>
                  </a:lnTo>
                  <a:lnTo>
                    <a:pt x="685" y="590"/>
                  </a:lnTo>
                  <a:lnTo>
                    <a:pt x="630" y="643"/>
                  </a:lnTo>
                  <a:lnTo>
                    <a:pt x="580" y="699"/>
                  </a:lnTo>
                  <a:lnTo>
                    <a:pt x="536" y="759"/>
                  </a:lnTo>
                  <a:lnTo>
                    <a:pt x="498" y="825"/>
                  </a:lnTo>
                  <a:lnTo>
                    <a:pt x="465" y="895"/>
                  </a:lnTo>
                  <a:lnTo>
                    <a:pt x="440" y="967"/>
                  </a:lnTo>
                  <a:lnTo>
                    <a:pt x="420" y="1040"/>
                  </a:lnTo>
                  <a:lnTo>
                    <a:pt x="408" y="1118"/>
                  </a:lnTo>
                  <a:lnTo>
                    <a:pt x="402" y="1198"/>
                  </a:lnTo>
                  <a:lnTo>
                    <a:pt x="0" y="1198"/>
                  </a:lnTo>
                  <a:lnTo>
                    <a:pt x="6" y="1095"/>
                  </a:lnTo>
                  <a:lnTo>
                    <a:pt x="21" y="995"/>
                  </a:lnTo>
                  <a:lnTo>
                    <a:pt x="41" y="898"/>
                  </a:lnTo>
                  <a:lnTo>
                    <a:pt x="71" y="803"/>
                  </a:lnTo>
                  <a:lnTo>
                    <a:pt x="108" y="712"/>
                  </a:lnTo>
                  <a:lnTo>
                    <a:pt x="152" y="625"/>
                  </a:lnTo>
                  <a:lnTo>
                    <a:pt x="202" y="541"/>
                  </a:lnTo>
                  <a:lnTo>
                    <a:pt x="258" y="463"/>
                  </a:lnTo>
                  <a:lnTo>
                    <a:pt x="320" y="390"/>
                  </a:lnTo>
                  <a:lnTo>
                    <a:pt x="387" y="321"/>
                  </a:lnTo>
                  <a:lnTo>
                    <a:pt x="461" y="257"/>
                  </a:lnTo>
                  <a:lnTo>
                    <a:pt x="539" y="201"/>
                  </a:lnTo>
                  <a:lnTo>
                    <a:pt x="623" y="150"/>
                  </a:lnTo>
                  <a:lnTo>
                    <a:pt x="711" y="106"/>
                  </a:lnTo>
                  <a:lnTo>
                    <a:pt x="803" y="69"/>
                  </a:lnTo>
                  <a:lnTo>
                    <a:pt x="898" y="40"/>
                  </a:lnTo>
                  <a:lnTo>
                    <a:pt x="999" y="18"/>
                  </a:lnTo>
                  <a:lnTo>
                    <a:pt x="1102" y="4"/>
                  </a:lnTo>
                  <a:lnTo>
                    <a:pt x="1102" y="4"/>
                  </a:lnTo>
                  <a:lnTo>
                    <a:pt x="1102" y="3"/>
                  </a:lnTo>
                  <a:lnTo>
                    <a:pt x="1144" y="1"/>
                  </a:lnTo>
                  <a:lnTo>
                    <a:pt x="1158" y="0"/>
                  </a:lnTo>
                  <a:lnTo>
                    <a:pt x="1194" y="0"/>
                  </a:lnTo>
                  <a:lnTo>
                    <a:pt x="1194" y="0"/>
                  </a:lnTo>
                  <a:lnTo>
                    <a:pt x="1205" y="0"/>
                  </a:lnTo>
                  <a:close/>
                </a:path>
              </a:pathLst>
            </a:custGeom>
            <a:solidFill>
              <a:srgbClr val="B53594"/>
            </a:solidFill>
            <a:ln w="0">
              <a:no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27" name="Freeform 71"/>
            <p:cNvSpPr>
              <a:spLocks/>
            </p:cNvSpPr>
            <p:nvPr/>
          </p:nvSpPr>
          <p:spPr bwMode="auto">
            <a:xfrm>
              <a:off x="7139574" y="3011234"/>
              <a:ext cx="1634653" cy="1073041"/>
            </a:xfrm>
            <a:custGeom>
              <a:avLst/>
              <a:gdLst>
                <a:gd name="T0" fmla="*/ 1206 w 1366"/>
                <a:gd name="T1" fmla="*/ 0 h 897"/>
                <a:gd name="T2" fmla="*/ 1366 w 1366"/>
                <a:gd name="T3" fmla="*/ 503 h 897"/>
                <a:gd name="T4" fmla="*/ 160 w 1366"/>
                <a:gd name="T5" fmla="*/ 897 h 897"/>
                <a:gd name="T6" fmla="*/ 0 w 1366"/>
                <a:gd name="T7" fmla="*/ 394 h 897"/>
                <a:gd name="T8" fmla="*/ 1206 w 1366"/>
                <a:gd name="T9" fmla="*/ 0 h 897"/>
              </a:gdLst>
              <a:ahLst/>
              <a:cxnLst>
                <a:cxn ang="0">
                  <a:pos x="T0" y="T1"/>
                </a:cxn>
                <a:cxn ang="0">
                  <a:pos x="T2" y="T3"/>
                </a:cxn>
                <a:cxn ang="0">
                  <a:pos x="T4" y="T5"/>
                </a:cxn>
                <a:cxn ang="0">
                  <a:pos x="T6" y="T7"/>
                </a:cxn>
                <a:cxn ang="0">
                  <a:pos x="T8" y="T9"/>
                </a:cxn>
              </a:cxnLst>
              <a:rect l="0" t="0" r="r" b="b"/>
              <a:pathLst>
                <a:path w="1366" h="897">
                  <a:moveTo>
                    <a:pt x="1206" y="0"/>
                  </a:moveTo>
                  <a:lnTo>
                    <a:pt x="1366" y="503"/>
                  </a:lnTo>
                  <a:lnTo>
                    <a:pt x="160" y="897"/>
                  </a:lnTo>
                  <a:lnTo>
                    <a:pt x="0" y="394"/>
                  </a:lnTo>
                  <a:lnTo>
                    <a:pt x="1206" y="0"/>
                  </a:lnTo>
                  <a:close/>
                </a:path>
              </a:pathLst>
            </a:custGeom>
            <a:solidFill>
              <a:srgbClr val="000000"/>
            </a:solidFill>
            <a:ln w="0">
              <a:solidFill>
                <a:srgbClr val="000000"/>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29" name="Freeform 72"/>
            <p:cNvSpPr>
              <a:spLocks/>
            </p:cNvSpPr>
            <p:nvPr/>
          </p:nvSpPr>
          <p:spPr bwMode="auto">
            <a:xfrm>
              <a:off x="6099992" y="2370756"/>
              <a:ext cx="3068560" cy="1701570"/>
            </a:xfrm>
            <a:custGeom>
              <a:avLst/>
              <a:gdLst>
                <a:gd name="T0" fmla="*/ 1469 w 2569"/>
                <a:gd name="T1" fmla="*/ 4 h 1424"/>
                <a:gd name="T2" fmla="*/ 1667 w 2569"/>
                <a:gd name="T3" fmla="*/ 38 h 1424"/>
                <a:gd name="T4" fmla="*/ 1856 w 2569"/>
                <a:gd name="T5" fmla="*/ 103 h 1424"/>
                <a:gd name="T6" fmla="*/ 2027 w 2569"/>
                <a:gd name="T7" fmla="*/ 199 h 1424"/>
                <a:gd name="T8" fmla="*/ 2180 w 2569"/>
                <a:gd name="T9" fmla="*/ 318 h 1424"/>
                <a:gd name="T10" fmla="*/ 2312 w 2569"/>
                <a:gd name="T11" fmla="*/ 461 h 1424"/>
                <a:gd name="T12" fmla="*/ 2420 w 2569"/>
                <a:gd name="T13" fmla="*/ 624 h 1424"/>
                <a:gd name="T14" fmla="*/ 2501 w 2569"/>
                <a:gd name="T15" fmla="*/ 803 h 1424"/>
                <a:gd name="T16" fmla="*/ 2551 w 2569"/>
                <a:gd name="T17" fmla="*/ 998 h 1424"/>
                <a:gd name="T18" fmla="*/ 2569 w 2569"/>
                <a:gd name="T19" fmla="*/ 1202 h 1424"/>
                <a:gd name="T20" fmla="*/ 2162 w 2569"/>
                <a:gd name="T21" fmla="*/ 1285 h 1424"/>
                <a:gd name="T22" fmla="*/ 2162 w 2569"/>
                <a:gd name="T23" fmla="*/ 1120 h 1424"/>
                <a:gd name="T24" fmla="*/ 2131 w 2569"/>
                <a:gd name="T25" fmla="*/ 964 h 1424"/>
                <a:gd name="T26" fmla="*/ 2069 w 2569"/>
                <a:gd name="T27" fmla="*/ 820 h 1424"/>
                <a:gd name="T28" fmla="*/ 1984 w 2569"/>
                <a:gd name="T29" fmla="*/ 692 h 1424"/>
                <a:gd name="T30" fmla="*/ 1875 w 2569"/>
                <a:gd name="T31" fmla="*/ 583 h 1424"/>
                <a:gd name="T32" fmla="*/ 1747 w 2569"/>
                <a:gd name="T33" fmla="*/ 497 h 1424"/>
                <a:gd name="T34" fmla="*/ 1603 w 2569"/>
                <a:gd name="T35" fmla="*/ 437 h 1424"/>
                <a:gd name="T36" fmla="*/ 1446 w 2569"/>
                <a:gd name="T37" fmla="*/ 405 h 1424"/>
                <a:gd name="T38" fmla="*/ 1354 w 2569"/>
                <a:gd name="T39" fmla="*/ 400 h 1424"/>
                <a:gd name="T40" fmla="*/ 1305 w 2569"/>
                <a:gd name="T41" fmla="*/ 403 h 1424"/>
                <a:gd name="T42" fmla="*/ 1283 w 2569"/>
                <a:gd name="T43" fmla="*/ 405 h 1424"/>
                <a:gd name="T44" fmla="*/ 1187 w 2569"/>
                <a:gd name="T45" fmla="*/ 419 h 1424"/>
                <a:gd name="T46" fmla="*/ 1043 w 2569"/>
                <a:gd name="T47" fmla="*/ 468 h 1424"/>
                <a:gd name="T48" fmla="*/ 913 w 2569"/>
                <a:gd name="T49" fmla="*/ 540 h 1424"/>
                <a:gd name="T50" fmla="*/ 797 w 2569"/>
                <a:gd name="T51" fmla="*/ 637 h 1424"/>
                <a:gd name="T52" fmla="*/ 697 w 2569"/>
                <a:gd name="T53" fmla="*/ 756 h 1424"/>
                <a:gd name="T54" fmla="*/ 588 w 2569"/>
                <a:gd name="T55" fmla="*/ 911 h 1424"/>
                <a:gd name="T56" fmla="*/ 469 w 2569"/>
                <a:gd name="T57" fmla="*/ 1080 h 1424"/>
                <a:gd name="T58" fmla="*/ 348 w 2569"/>
                <a:gd name="T59" fmla="*/ 1254 h 1424"/>
                <a:gd name="T60" fmla="*/ 233 w 2569"/>
                <a:gd name="T61" fmla="*/ 1424 h 1424"/>
                <a:gd name="T62" fmla="*/ 30 w 2569"/>
                <a:gd name="T63" fmla="*/ 1004 h 1424"/>
                <a:gd name="T64" fmla="*/ 80 w 2569"/>
                <a:gd name="T65" fmla="*/ 934 h 1424"/>
                <a:gd name="T66" fmla="*/ 121 w 2569"/>
                <a:gd name="T67" fmla="*/ 874 h 1424"/>
                <a:gd name="T68" fmla="*/ 159 w 2569"/>
                <a:gd name="T69" fmla="*/ 820 h 1424"/>
                <a:gd name="T70" fmla="*/ 200 w 2569"/>
                <a:gd name="T71" fmla="*/ 761 h 1424"/>
                <a:gd name="T72" fmla="*/ 249 w 2569"/>
                <a:gd name="T73" fmla="*/ 694 h 1424"/>
                <a:gd name="T74" fmla="*/ 308 w 2569"/>
                <a:gd name="T75" fmla="*/ 612 h 1424"/>
                <a:gd name="T76" fmla="*/ 382 w 2569"/>
                <a:gd name="T77" fmla="*/ 513 h 1424"/>
                <a:gd name="T78" fmla="*/ 464 w 2569"/>
                <a:gd name="T79" fmla="*/ 415 h 1424"/>
                <a:gd name="T80" fmla="*/ 561 w 2569"/>
                <a:gd name="T81" fmla="*/ 318 h 1424"/>
                <a:gd name="T82" fmla="*/ 670 w 2569"/>
                <a:gd name="T83" fmla="*/ 228 h 1424"/>
                <a:gd name="T84" fmla="*/ 794 w 2569"/>
                <a:gd name="T85" fmla="*/ 149 h 1424"/>
                <a:gd name="T86" fmla="*/ 934 w 2569"/>
                <a:gd name="T87" fmla="*/ 82 h 1424"/>
                <a:gd name="T88" fmla="*/ 1089 w 2569"/>
                <a:gd name="T89" fmla="*/ 32 h 1424"/>
                <a:gd name="T90" fmla="*/ 1261 w 2569"/>
                <a:gd name="T91" fmla="*/ 4 h 1424"/>
                <a:gd name="T92" fmla="*/ 1267 w 2569"/>
                <a:gd name="T93" fmla="*/ 3 h 1424"/>
                <a:gd name="T94" fmla="*/ 1320 w 2569"/>
                <a:gd name="T95" fmla="*/ 0 h 1424"/>
                <a:gd name="T96" fmla="*/ 1354 w 2569"/>
                <a:gd name="T97" fmla="*/ 0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9" h="1424">
                  <a:moveTo>
                    <a:pt x="1364" y="0"/>
                  </a:moveTo>
                  <a:lnTo>
                    <a:pt x="1469" y="4"/>
                  </a:lnTo>
                  <a:lnTo>
                    <a:pt x="1569" y="16"/>
                  </a:lnTo>
                  <a:lnTo>
                    <a:pt x="1667" y="38"/>
                  </a:lnTo>
                  <a:lnTo>
                    <a:pt x="1763" y="68"/>
                  </a:lnTo>
                  <a:lnTo>
                    <a:pt x="1856" y="103"/>
                  </a:lnTo>
                  <a:lnTo>
                    <a:pt x="1943" y="147"/>
                  </a:lnTo>
                  <a:lnTo>
                    <a:pt x="2027" y="199"/>
                  </a:lnTo>
                  <a:lnTo>
                    <a:pt x="2106" y="254"/>
                  </a:lnTo>
                  <a:lnTo>
                    <a:pt x="2180" y="318"/>
                  </a:lnTo>
                  <a:lnTo>
                    <a:pt x="2249" y="387"/>
                  </a:lnTo>
                  <a:lnTo>
                    <a:pt x="2312" y="461"/>
                  </a:lnTo>
                  <a:lnTo>
                    <a:pt x="2370" y="540"/>
                  </a:lnTo>
                  <a:lnTo>
                    <a:pt x="2420" y="624"/>
                  </a:lnTo>
                  <a:lnTo>
                    <a:pt x="2464" y="711"/>
                  </a:lnTo>
                  <a:lnTo>
                    <a:pt x="2501" y="803"/>
                  </a:lnTo>
                  <a:lnTo>
                    <a:pt x="2529" y="899"/>
                  </a:lnTo>
                  <a:lnTo>
                    <a:pt x="2551" y="998"/>
                  </a:lnTo>
                  <a:lnTo>
                    <a:pt x="2564" y="1098"/>
                  </a:lnTo>
                  <a:lnTo>
                    <a:pt x="2569" y="1202"/>
                  </a:lnTo>
                  <a:lnTo>
                    <a:pt x="2566" y="1285"/>
                  </a:lnTo>
                  <a:lnTo>
                    <a:pt x="2162" y="1285"/>
                  </a:lnTo>
                  <a:lnTo>
                    <a:pt x="2167" y="1202"/>
                  </a:lnTo>
                  <a:lnTo>
                    <a:pt x="2162" y="1120"/>
                  </a:lnTo>
                  <a:lnTo>
                    <a:pt x="2150" y="1040"/>
                  </a:lnTo>
                  <a:lnTo>
                    <a:pt x="2131" y="964"/>
                  </a:lnTo>
                  <a:lnTo>
                    <a:pt x="2103" y="890"/>
                  </a:lnTo>
                  <a:lnTo>
                    <a:pt x="2069" y="820"/>
                  </a:lnTo>
                  <a:lnTo>
                    <a:pt x="2030" y="753"/>
                  </a:lnTo>
                  <a:lnTo>
                    <a:pt x="1984" y="692"/>
                  </a:lnTo>
                  <a:lnTo>
                    <a:pt x="1931" y="636"/>
                  </a:lnTo>
                  <a:lnTo>
                    <a:pt x="1875" y="583"/>
                  </a:lnTo>
                  <a:lnTo>
                    <a:pt x="1813" y="537"/>
                  </a:lnTo>
                  <a:lnTo>
                    <a:pt x="1747" y="497"/>
                  </a:lnTo>
                  <a:lnTo>
                    <a:pt x="1676" y="463"/>
                  </a:lnTo>
                  <a:lnTo>
                    <a:pt x="1603" y="437"/>
                  </a:lnTo>
                  <a:lnTo>
                    <a:pt x="1526" y="416"/>
                  </a:lnTo>
                  <a:lnTo>
                    <a:pt x="1446" y="405"/>
                  </a:lnTo>
                  <a:lnTo>
                    <a:pt x="1364" y="400"/>
                  </a:lnTo>
                  <a:lnTo>
                    <a:pt x="1354" y="400"/>
                  </a:lnTo>
                  <a:lnTo>
                    <a:pt x="1354" y="400"/>
                  </a:lnTo>
                  <a:lnTo>
                    <a:pt x="1305" y="403"/>
                  </a:lnTo>
                  <a:lnTo>
                    <a:pt x="1296" y="403"/>
                  </a:lnTo>
                  <a:lnTo>
                    <a:pt x="1283" y="405"/>
                  </a:lnTo>
                  <a:lnTo>
                    <a:pt x="1265" y="406"/>
                  </a:lnTo>
                  <a:lnTo>
                    <a:pt x="1187" y="419"/>
                  </a:lnTo>
                  <a:lnTo>
                    <a:pt x="1114" y="440"/>
                  </a:lnTo>
                  <a:lnTo>
                    <a:pt x="1043" y="468"/>
                  </a:lnTo>
                  <a:lnTo>
                    <a:pt x="977" y="500"/>
                  </a:lnTo>
                  <a:lnTo>
                    <a:pt x="913" y="540"/>
                  </a:lnTo>
                  <a:lnTo>
                    <a:pt x="853" y="586"/>
                  </a:lnTo>
                  <a:lnTo>
                    <a:pt x="797" y="637"/>
                  </a:lnTo>
                  <a:lnTo>
                    <a:pt x="745" y="694"/>
                  </a:lnTo>
                  <a:lnTo>
                    <a:pt x="697" y="756"/>
                  </a:lnTo>
                  <a:lnTo>
                    <a:pt x="644" y="831"/>
                  </a:lnTo>
                  <a:lnTo>
                    <a:pt x="588" y="911"/>
                  </a:lnTo>
                  <a:lnTo>
                    <a:pt x="529" y="995"/>
                  </a:lnTo>
                  <a:lnTo>
                    <a:pt x="469" y="1080"/>
                  </a:lnTo>
                  <a:lnTo>
                    <a:pt x="408" y="1167"/>
                  </a:lnTo>
                  <a:lnTo>
                    <a:pt x="348" y="1254"/>
                  </a:lnTo>
                  <a:lnTo>
                    <a:pt x="289" y="1341"/>
                  </a:lnTo>
                  <a:lnTo>
                    <a:pt x="233" y="1424"/>
                  </a:lnTo>
                  <a:lnTo>
                    <a:pt x="0" y="1046"/>
                  </a:lnTo>
                  <a:lnTo>
                    <a:pt x="30" y="1004"/>
                  </a:lnTo>
                  <a:lnTo>
                    <a:pt x="56" y="967"/>
                  </a:lnTo>
                  <a:lnTo>
                    <a:pt x="80" y="934"/>
                  </a:lnTo>
                  <a:lnTo>
                    <a:pt x="100" y="903"/>
                  </a:lnTo>
                  <a:lnTo>
                    <a:pt x="121" y="874"/>
                  </a:lnTo>
                  <a:lnTo>
                    <a:pt x="140" y="846"/>
                  </a:lnTo>
                  <a:lnTo>
                    <a:pt x="159" y="820"/>
                  </a:lnTo>
                  <a:lnTo>
                    <a:pt x="180" y="790"/>
                  </a:lnTo>
                  <a:lnTo>
                    <a:pt x="200" y="761"/>
                  </a:lnTo>
                  <a:lnTo>
                    <a:pt x="224" y="730"/>
                  </a:lnTo>
                  <a:lnTo>
                    <a:pt x="249" y="694"/>
                  </a:lnTo>
                  <a:lnTo>
                    <a:pt x="277" y="655"/>
                  </a:lnTo>
                  <a:lnTo>
                    <a:pt x="308" y="612"/>
                  </a:lnTo>
                  <a:lnTo>
                    <a:pt x="345" y="562"/>
                  </a:lnTo>
                  <a:lnTo>
                    <a:pt x="382" y="513"/>
                  </a:lnTo>
                  <a:lnTo>
                    <a:pt x="421" y="463"/>
                  </a:lnTo>
                  <a:lnTo>
                    <a:pt x="464" y="415"/>
                  </a:lnTo>
                  <a:lnTo>
                    <a:pt x="511" y="366"/>
                  </a:lnTo>
                  <a:lnTo>
                    <a:pt x="561" y="318"/>
                  </a:lnTo>
                  <a:lnTo>
                    <a:pt x="614" y="272"/>
                  </a:lnTo>
                  <a:lnTo>
                    <a:pt x="670" y="228"/>
                  </a:lnTo>
                  <a:lnTo>
                    <a:pt x="731" y="187"/>
                  </a:lnTo>
                  <a:lnTo>
                    <a:pt x="794" y="149"/>
                  </a:lnTo>
                  <a:lnTo>
                    <a:pt x="862" y="113"/>
                  </a:lnTo>
                  <a:lnTo>
                    <a:pt x="934" y="82"/>
                  </a:lnTo>
                  <a:lnTo>
                    <a:pt x="1009" y="54"/>
                  </a:lnTo>
                  <a:lnTo>
                    <a:pt x="1089" y="32"/>
                  </a:lnTo>
                  <a:lnTo>
                    <a:pt x="1172" y="15"/>
                  </a:lnTo>
                  <a:lnTo>
                    <a:pt x="1261" y="4"/>
                  </a:lnTo>
                  <a:lnTo>
                    <a:pt x="1261" y="4"/>
                  </a:lnTo>
                  <a:lnTo>
                    <a:pt x="1267" y="3"/>
                  </a:lnTo>
                  <a:lnTo>
                    <a:pt x="1302" y="1"/>
                  </a:lnTo>
                  <a:lnTo>
                    <a:pt x="1320" y="0"/>
                  </a:lnTo>
                  <a:lnTo>
                    <a:pt x="1354" y="0"/>
                  </a:lnTo>
                  <a:lnTo>
                    <a:pt x="1354" y="0"/>
                  </a:lnTo>
                  <a:lnTo>
                    <a:pt x="1364" y="0"/>
                  </a:lnTo>
                  <a:close/>
                </a:path>
              </a:pathLst>
            </a:custGeom>
            <a:solidFill>
              <a:srgbClr val="4185C6"/>
            </a:solidFill>
            <a:ln w="0">
              <a:no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0" name="Freeform 73"/>
            <p:cNvSpPr>
              <a:spLocks/>
            </p:cNvSpPr>
            <p:nvPr/>
          </p:nvSpPr>
          <p:spPr bwMode="auto">
            <a:xfrm>
              <a:off x="6143009" y="3620646"/>
              <a:ext cx="3025542" cy="1625095"/>
            </a:xfrm>
            <a:custGeom>
              <a:avLst/>
              <a:gdLst>
                <a:gd name="T0" fmla="*/ 337 w 2533"/>
                <a:gd name="T1" fmla="*/ 139 h 1360"/>
                <a:gd name="T2" fmla="*/ 524 w 2533"/>
                <a:gd name="T3" fmla="*/ 415 h 1360"/>
                <a:gd name="T4" fmla="*/ 714 w 2533"/>
                <a:gd name="T5" fmla="*/ 673 h 1360"/>
                <a:gd name="T6" fmla="*/ 764 w 2533"/>
                <a:gd name="T7" fmla="*/ 727 h 1360"/>
                <a:gd name="T8" fmla="*/ 880 w 2533"/>
                <a:gd name="T9" fmla="*/ 823 h 1360"/>
                <a:gd name="T10" fmla="*/ 1014 w 2533"/>
                <a:gd name="T11" fmla="*/ 895 h 1360"/>
                <a:gd name="T12" fmla="*/ 1160 w 2533"/>
                <a:gd name="T13" fmla="*/ 941 h 1360"/>
                <a:gd name="T14" fmla="*/ 1318 w 2533"/>
                <a:gd name="T15" fmla="*/ 958 h 1360"/>
                <a:gd name="T16" fmla="*/ 1328 w 2533"/>
                <a:gd name="T17" fmla="*/ 958 h 1360"/>
                <a:gd name="T18" fmla="*/ 1374 w 2533"/>
                <a:gd name="T19" fmla="*/ 957 h 1360"/>
                <a:gd name="T20" fmla="*/ 1537 w 2533"/>
                <a:gd name="T21" fmla="*/ 930 h 1360"/>
                <a:gd name="T22" fmla="*/ 1689 w 2533"/>
                <a:gd name="T23" fmla="*/ 873 h 1360"/>
                <a:gd name="T24" fmla="*/ 1823 w 2533"/>
                <a:gd name="T25" fmla="*/ 786 h 1360"/>
                <a:gd name="T26" fmla="*/ 1938 w 2533"/>
                <a:gd name="T27" fmla="*/ 676 h 1360"/>
                <a:gd name="T28" fmla="*/ 2029 w 2533"/>
                <a:gd name="T29" fmla="*/ 545 h 1360"/>
                <a:gd name="T30" fmla="*/ 2092 w 2533"/>
                <a:gd name="T31" fmla="*/ 398 h 1360"/>
                <a:gd name="T32" fmla="*/ 2126 w 2533"/>
                <a:gd name="T33" fmla="*/ 236 h 1360"/>
                <a:gd name="T34" fmla="*/ 2533 w 2533"/>
                <a:gd name="T35" fmla="*/ 152 h 1360"/>
                <a:gd name="T36" fmla="*/ 2515 w 2533"/>
                <a:gd name="T37" fmla="*/ 356 h 1360"/>
                <a:gd name="T38" fmla="*/ 2463 w 2533"/>
                <a:gd name="T39" fmla="*/ 551 h 1360"/>
                <a:gd name="T40" fmla="*/ 2384 w 2533"/>
                <a:gd name="T41" fmla="*/ 732 h 1360"/>
                <a:gd name="T42" fmla="*/ 2276 w 2533"/>
                <a:gd name="T43" fmla="*/ 895 h 1360"/>
                <a:gd name="T44" fmla="*/ 2144 w 2533"/>
                <a:gd name="T45" fmla="*/ 1039 h 1360"/>
                <a:gd name="T46" fmla="*/ 1991 w 2533"/>
                <a:gd name="T47" fmla="*/ 1160 h 1360"/>
                <a:gd name="T48" fmla="*/ 1820 w 2533"/>
                <a:gd name="T49" fmla="*/ 1254 h 1360"/>
                <a:gd name="T50" fmla="*/ 1631 w 2533"/>
                <a:gd name="T51" fmla="*/ 1320 h 1360"/>
                <a:gd name="T52" fmla="*/ 1433 w 2533"/>
                <a:gd name="T53" fmla="*/ 1356 h 1360"/>
                <a:gd name="T54" fmla="*/ 1318 w 2533"/>
                <a:gd name="T55" fmla="*/ 1359 h 1360"/>
                <a:gd name="T56" fmla="*/ 1220 w 2533"/>
                <a:gd name="T57" fmla="*/ 1354 h 1360"/>
                <a:gd name="T58" fmla="*/ 1032 w 2533"/>
                <a:gd name="T59" fmla="*/ 1322 h 1360"/>
                <a:gd name="T60" fmla="*/ 854 w 2533"/>
                <a:gd name="T61" fmla="*/ 1261 h 1360"/>
                <a:gd name="T62" fmla="*/ 690 w 2533"/>
                <a:gd name="T63" fmla="*/ 1178 h 1360"/>
                <a:gd name="T64" fmla="*/ 543 w 2533"/>
                <a:gd name="T65" fmla="*/ 1070 h 1360"/>
                <a:gd name="T66" fmla="*/ 418 w 2533"/>
                <a:gd name="T67" fmla="*/ 945 h 1360"/>
                <a:gd name="T68" fmla="*/ 237 w 2533"/>
                <a:gd name="T69" fmla="*/ 717 h 1360"/>
                <a:gd name="T70" fmla="*/ 72 w 2533"/>
                <a:gd name="T71" fmla="*/ 484 h 1360"/>
                <a:gd name="T72" fmla="*/ 244 w 2533"/>
                <a:gd name="T73" fmla="*/ 0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3" h="1360">
                  <a:moveTo>
                    <a:pt x="244" y="0"/>
                  </a:moveTo>
                  <a:lnTo>
                    <a:pt x="337" y="139"/>
                  </a:lnTo>
                  <a:lnTo>
                    <a:pt x="430" y="278"/>
                  </a:lnTo>
                  <a:lnTo>
                    <a:pt x="524" y="415"/>
                  </a:lnTo>
                  <a:lnTo>
                    <a:pt x="618" y="548"/>
                  </a:lnTo>
                  <a:lnTo>
                    <a:pt x="714" y="673"/>
                  </a:lnTo>
                  <a:lnTo>
                    <a:pt x="714" y="673"/>
                  </a:lnTo>
                  <a:lnTo>
                    <a:pt x="764" y="727"/>
                  </a:lnTo>
                  <a:lnTo>
                    <a:pt x="820" y="777"/>
                  </a:lnTo>
                  <a:lnTo>
                    <a:pt x="880" y="823"/>
                  </a:lnTo>
                  <a:lnTo>
                    <a:pt x="945" y="861"/>
                  </a:lnTo>
                  <a:lnTo>
                    <a:pt x="1014" y="895"/>
                  </a:lnTo>
                  <a:lnTo>
                    <a:pt x="1085" y="921"/>
                  </a:lnTo>
                  <a:lnTo>
                    <a:pt x="1160" y="941"/>
                  </a:lnTo>
                  <a:lnTo>
                    <a:pt x="1238" y="954"/>
                  </a:lnTo>
                  <a:lnTo>
                    <a:pt x="1318" y="958"/>
                  </a:lnTo>
                  <a:lnTo>
                    <a:pt x="1318" y="958"/>
                  </a:lnTo>
                  <a:lnTo>
                    <a:pt x="1328" y="958"/>
                  </a:lnTo>
                  <a:lnTo>
                    <a:pt x="1362" y="957"/>
                  </a:lnTo>
                  <a:lnTo>
                    <a:pt x="1374" y="957"/>
                  </a:lnTo>
                  <a:lnTo>
                    <a:pt x="1458" y="948"/>
                  </a:lnTo>
                  <a:lnTo>
                    <a:pt x="1537" y="930"/>
                  </a:lnTo>
                  <a:lnTo>
                    <a:pt x="1615" y="905"/>
                  </a:lnTo>
                  <a:lnTo>
                    <a:pt x="1689" y="873"/>
                  </a:lnTo>
                  <a:lnTo>
                    <a:pt x="1758" y="833"/>
                  </a:lnTo>
                  <a:lnTo>
                    <a:pt x="1823" y="786"/>
                  </a:lnTo>
                  <a:lnTo>
                    <a:pt x="1883" y="733"/>
                  </a:lnTo>
                  <a:lnTo>
                    <a:pt x="1938" y="676"/>
                  </a:lnTo>
                  <a:lnTo>
                    <a:pt x="1986" y="612"/>
                  </a:lnTo>
                  <a:lnTo>
                    <a:pt x="2029" y="545"/>
                  </a:lnTo>
                  <a:lnTo>
                    <a:pt x="2064" y="473"/>
                  </a:lnTo>
                  <a:lnTo>
                    <a:pt x="2092" y="398"/>
                  </a:lnTo>
                  <a:lnTo>
                    <a:pt x="2113" y="318"/>
                  </a:lnTo>
                  <a:lnTo>
                    <a:pt x="2126" y="236"/>
                  </a:lnTo>
                  <a:lnTo>
                    <a:pt x="2131" y="152"/>
                  </a:lnTo>
                  <a:lnTo>
                    <a:pt x="2533" y="152"/>
                  </a:lnTo>
                  <a:lnTo>
                    <a:pt x="2528" y="255"/>
                  </a:lnTo>
                  <a:lnTo>
                    <a:pt x="2515" y="356"/>
                  </a:lnTo>
                  <a:lnTo>
                    <a:pt x="2493" y="455"/>
                  </a:lnTo>
                  <a:lnTo>
                    <a:pt x="2463" y="551"/>
                  </a:lnTo>
                  <a:lnTo>
                    <a:pt x="2428" y="643"/>
                  </a:lnTo>
                  <a:lnTo>
                    <a:pt x="2384" y="732"/>
                  </a:lnTo>
                  <a:lnTo>
                    <a:pt x="2334" y="815"/>
                  </a:lnTo>
                  <a:lnTo>
                    <a:pt x="2276" y="895"/>
                  </a:lnTo>
                  <a:lnTo>
                    <a:pt x="2213" y="970"/>
                  </a:lnTo>
                  <a:lnTo>
                    <a:pt x="2144" y="1039"/>
                  </a:lnTo>
                  <a:lnTo>
                    <a:pt x="2070" y="1102"/>
                  </a:lnTo>
                  <a:lnTo>
                    <a:pt x="1991" y="1160"/>
                  </a:lnTo>
                  <a:lnTo>
                    <a:pt x="1907" y="1210"/>
                  </a:lnTo>
                  <a:lnTo>
                    <a:pt x="1820" y="1254"/>
                  </a:lnTo>
                  <a:lnTo>
                    <a:pt x="1727" y="1291"/>
                  </a:lnTo>
                  <a:lnTo>
                    <a:pt x="1631" y="1320"/>
                  </a:lnTo>
                  <a:lnTo>
                    <a:pt x="1533" y="1342"/>
                  </a:lnTo>
                  <a:lnTo>
                    <a:pt x="1433" y="1356"/>
                  </a:lnTo>
                  <a:lnTo>
                    <a:pt x="1328" y="1360"/>
                  </a:lnTo>
                  <a:lnTo>
                    <a:pt x="1318" y="1359"/>
                  </a:lnTo>
                  <a:lnTo>
                    <a:pt x="1318" y="1359"/>
                  </a:lnTo>
                  <a:lnTo>
                    <a:pt x="1220" y="1354"/>
                  </a:lnTo>
                  <a:lnTo>
                    <a:pt x="1125" y="1342"/>
                  </a:lnTo>
                  <a:lnTo>
                    <a:pt x="1032" y="1322"/>
                  </a:lnTo>
                  <a:lnTo>
                    <a:pt x="941" y="1295"/>
                  </a:lnTo>
                  <a:lnTo>
                    <a:pt x="854" y="1261"/>
                  </a:lnTo>
                  <a:lnTo>
                    <a:pt x="770" y="1223"/>
                  </a:lnTo>
                  <a:lnTo>
                    <a:pt x="690" y="1178"/>
                  </a:lnTo>
                  <a:lnTo>
                    <a:pt x="614" y="1126"/>
                  </a:lnTo>
                  <a:lnTo>
                    <a:pt x="543" y="1070"/>
                  </a:lnTo>
                  <a:lnTo>
                    <a:pt x="478" y="1010"/>
                  </a:lnTo>
                  <a:lnTo>
                    <a:pt x="418" y="945"/>
                  </a:lnTo>
                  <a:lnTo>
                    <a:pt x="326" y="832"/>
                  </a:lnTo>
                  <a:lnTo>
                    <a:pt x="237" y="717"/>
                  </a:lnTo>
                  <a:lnTo>
                    <a:pt x="151" y="601"/>
                  </a:lnTo>
                  <a:lnTo>
                    <a:pt x="72" y="484"/>
                  </a:lnTo>
                  <a:lnTo>
                    <a:pt x="0" y="367"/>
                  </a:lnTo>
                  <a:lnTo>
                    <a:pt x="244" y="0"/>
                  </a:lnTo>
                  <a:close/>
                </a:path>
              </a:pathLst>
            </a:custGeom>
            <a:solidFill>
              <a:srgbClr val="F6941E"/>
            </a:solidFill>
            <a:ln w="0">
              <a:no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1" name="Freeform 74"/>
            <p:cNvSpPr>
              <a:spLocks noEditPoints="1"/>
            </p:cNvSpPr>
            <p:nvPr/>
          </p:nvSpPr>
          <p:spPr bwMode="auto">
            <a:xfrm>
              <a:off x="5997228" y="3807053"/>
              <a:ext cx="86034" cy="344137"/>
            </a:xfrm>
            <a:custGeom>
              <a:avLst/>
              <a:gdLst>
                <a:gd name="T0" fmla="*/ 9 w 70"/>
                <a:gd name="T1" fmla="*/ 249 h 289"/>
                <a:gd name="T2" fmla="*/ 38 w 70"/>
                <a:gd name="T3" fmla="*/ 259 h 289"/>
                <a:gd name="T4" fmla="*/ 29 w 70"/>
                <a:gd name="T5" fmla="*/ 289 h 289"/>
                <a:gd name="T6" fmla="*/ 0 w 70"/>
                <a:gd name="T7" fmla="*/ 278 h 289"/>
                <a:gd name="T8" fmla="*/ 9 w 70"/>
                <a:gd name="T9" fmla="*/ 249 h 289"/>
                <a:gd name="T10" fmla="*/ 22 w 70"/>
                <a:gd name="T11" fmla="*/ 189 h 289"/>
                <a:gd name="T12" fmla="*/ 53 w 70"/>
                <a:gd name="T13" fmla="*/ 194 h 289"/>
                <a:gd name="T14" fmla="*/ 45 w 70"/>
                <a:gd name="T15" fmla="*/ 225 h 289"/>
                <a:gd name="T16" fmla="*/ 15 w 70"/>
                <a:gd name="T17" fmla="*/ 219 h 289"/>
                <a:gd name="T18" fmla="*/ 22 w 70"/>
                <a:gd name="T19" fmla="*/ 189 h 289"/>
                <a:gd name="T20" fmla="*/ 31 w 70"/>
                <a:gd name="T21" fmla="*/ 125 h 289"/>
                <a:gd name="T22" fmla="*/ 62 w 70"/>
                <a:gd name="T23" fmla="*/ 130 h 289"/>
                <a:gd name="T24" fmla="*/ 59 w 70"/>
                <a:gd name="T25" fmla="*/ 162 h 289"/>
                <a:gd name="T26" fmla="*/ 28 w 70"/>
                <a:gd name="T27" fmla="*/ 158 h 289"/>
                <a:gd name="T28" fmla="*/ 31 w 70"/>
                <a:gd name="T29" fmla="*/ 125 h 289"/>
                <a:gd name="T30" fmla="*/ 37 w 70"/>
                <a:gd name="T31" fmla="*/ 63 h 289"/>
                <a:gd name="T32" fmla="*/ 68 w 70"/>
                <a:gd name="T33" fmla="*/ 65 h 289"/>
                <a:gd name="T34" fmla="*/ 68 w 70"/>
                <a:gd name="T35" fmla="*/ 81 h 289"/>
                <a:gd name="T36" fmla="*/ 66 w 70"/>
                <a:gd name="T37" fmla="*/ 97 h 289"/>
                <a:gd name="T38" fmla="*/ 35 w 70"/>
                <a:gd name="T39" fmla="*/ 94 h 289"/>
                <a:gd name="T40" fmla="*/ 35 w 70"/>
                <a:gd name="T41" fmla="*/ 81 h 289"/>
                <a:gd name="T42" fmla="*/ 37 w 70"/>
                <a:gd name="T43" fmla="*/ 63 h 289"/>
                <a:gd name="T44" fmla="*/ 38 w 70"/>
                <a:gd name="T45" fmla="*/ 0 h 289"/>
                <a:gd name="T46" fmla="*/ 70 w 70"/>
                <a:gd name="T47" fmla="*/ 0 h 289"/>
                <a:gd name="T48" fmla="*/ 70 w 70"/>
                <a:gd name="T49" fmla="*/ 33 h 289"/>
                <a:gd name="T50" fmla="*/ 38 w 70"/>
                <a:gd name="T51" fmla="*/ 33 h 289"/>
                <a:gd name="T52" fmla="*/ 38 w 70"/>
                <a:gd name="T53"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289">
                  <a:moveTo>
                    <a:pt x="9" y="249"/>
                  </a:moveTo>
                  <a:lnTo>
                    <a:pt x="38" y="259"/>
                  </a:lnTo>
                  <a:lnTo>
                    <a:pt x="29" y="289"/>
                  </a:lnTo>
                  <a:lnTo>
                    <a:pt x="0" y="278"/>
                  </a:lnTo>
                  <a:lnTo>
                    <a:pt x="9" y="249"/>
                  </a:lnTo>
                  <a:close/>
                  <a:moveTo>
                    <a:pt x="22" y="189"/>
                  </a:moveTo>
                  <a:lnTo>
                    <a:pt x="53" y="194"/>
                  </a:lnTo>
                  <a:lnTo>
                    <a:pt x="45" y="225"/>
                  </a:lnTo>
                  <a:lnTo>
                    <a:pt x="15" y="219"/>
                  </a:lnTo>
                  <a:lnTo>
                    <a:pt x="22" y="189"/>
                  </a:lnTo>
                  <a:close/>
                  <a:moveTo>
                    <a:pt x="31" y="125"/>
                  </a:moveTo>
                  <a:lnTo>
                    <a:pt x="62" y="130"/>
                  </a:lnTo>
                  <a:lnTo>
                    <a:pt x="59" y="162"/>
                  </a:lnTo>
                  <a:lnTo>
                    <a:pt x="28" y="158"/>
                  </a:lnTo>
                  <a:lnTo>
                    <a:pt x="31" y="125"/>
                  </a:lnTo>
                  <a:close/>
                  <a:moveTo>
                    <a:pt x="37" y="63"/>
                  </a:moveTo>
                  <a:lnTo>
                    <a:pt x="68" y="65"/>
                  </a:lnTo>
                  <a:lnTo>
                    <a:pt x="68" y="81"/>
                  </a:lnTo>
                  <a:lnTo>
                    <a:pt x="66" y="97"/>
                  </a:lnTo>
                  <a:lnTo>
                    <a:pt x="35" y="94"/>
                  </a:lnTo>
                  <a:lnTo>
                    <a:pt x="35" y="81"/>
                  </a:lnTo>
                  <a:lnTo>
                    <a:pt x="37" y="63"/>
                  </a:lnTo>
                  <a:close/>
                  <a:moveTo>
                    <a:pt x="38" y="0"/>
                  </a:moveTo>
                  <a:lnTo>
                    <a:pt x="70" y="0"/>
                  </a:lnTo>
                  <a:lnTo>
                    <a:pt x="70" y="33"/>
                  </a:lnTo>
                  <a:lnTo>
                    <a:pt x="38" y="33"/>
                  </a:lnTo>
                  <a:lnTo>
                    <a:pt x="38" y="0"/>
                  </a:lnTo>
                  <a:close/>
                </a:path>
              </a:pathLst>
            </a:custGeom>
            <a:solidFill>
              <a:srgbClr val="4206F8"/>
            </a:solidFill>
            <a:ln w="0">
              <a:solidFill>
                <a:srgbClr val="4206F8"/>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2" name="Freeform 75"/>
            <p:cNvSpPr>
              <a:spLocks/>
            </p:cNvSpPr>
            <p:nvPr/>
          </p:nvSpPr>
          <p:spPr bwMode="auto">
            <a:xfrm>
              <a:off x="5504921" y="3465305"/>
              <a:ext cx="860344" cy="795820"/>
            </a:xfrm>
            <a:custGeom>
              <a:avLst/>
              <a:gdLst>
                <a:gd name="T0" fmla="*/ 626 w 721"/>
                <a:gd name="T1" fmla="*/ 0 h 667"/>
                <a:gd name="T2" fmla="*/ 651 w 721"/>
                <a:gd name="T3" fmla="*/ 2 h 667"/>
                <a:gd name="T4" fmla="*/ 679 w 721"/>
                <a:gd name="T5" fmla="*/ 9 h 667"/>
                <a:gd name="T6" fmla="*/ 709 w 721"/>
                <a:gd name="T7" fmla="*/ 24 h 667"/>
                <a:gd name="T8" fmla="*/ 715 w 721"/>
                <a:gd name="T9" fmla="*/ 31 h 667"/>
                <a:gd name="T10" fmla="*/ 719 w 721"/>
                <a:gd name="T11" fmla="*/ 44 h 667"/>
                <a:gd name="T12" fmla="*/ 721 w 721"/>
                <a:gd name="T13" fmla="*/ 61 h 667"/>
                <a:gd name="T14" fmla="*/ 721 w 721"/>
                <a:gd name="T15" fmla="*/ 77 h 667"/>
                <a:gd name="T16" fmla="*/ 719 w 721"/>
                <a:gd name="T17" fmla="*/ 93 h 667"/>
                <a:gd name="T18" fmla="*/ 718 w 721"/>
                <a:gd name="T19" fmla="*/ 108 h 667"/>
                <a:gd name="T20" fmla="*/ 716 w 721"/>
                <a:gd name="T21" fmla="*/ 116 h 667"/>
                <a:gd name="T22" fmla="*/ 716 w 721"/>
                <a:gd name="T23" fmla="*/ 121 h 667"/>
                <a:gd name="T24" fmla="*/ 563 w 721"/>
                <a:gd name="T25" fmla="*/ 667 h 667"/>
                <a:gd name="T26" fmla="*/ 559 w 721"/>
                <a:gd name="T27" fmla="*/ 665 h 667"/>
                <a:gd name="T28" fmla="*/ 545 w 721"/>
                <a:gd name="T29" fmla="*/ 664 h 667"/>
                <a:gd name="T30" fmla="*/ 525 w 721"/>
                <a:gd name="T31" fmla="*/ 661 h 667"/>
                <a:gd name="T32" fmla="*/ 498 w 721"/>
                <a:gd name="T33" fmla="*/ 657 h 667"/>
                <a:gd name="T34" fmla="*/ 466 w 721"/>
                <a:gd name="T35" fmla="*/ 651 h 667"/>
                <a:gd name="T36" fmla="*/ 430 w 721"/>
                <a:gd name="T37" fmla="*/ 645 h 667"/>
                <a:gd name="T38" fmla="*/ 392 w 721"/>
                <a:gd name="T39" fmla="*/ 637 h 667"/>
                <a:gd name="T40" fmla="*/ 352 w 721"/>
                <a:gd name="T41" fmla="*/ 630 h 667"/>
                <a:gd name="T42" fmla="*/ 314 w 721"/>
                <a:gd name="T43" fmla="*/ 621 h 667"/>
                <a:gd name="T44" fmla="*/ 276 w 721"/>
                <a:gd name="T45" fmla="*/ 612 h 667"/>
                <a:gd name="T46" fmla="*/ 239 w 721"/>
                <a:gd name="T47" fmla="*/ 604 h 667"/>
                <a:gd name="T48" fmla="*/ 208 w 721"/>
                <a:gd name="T49" fmla="*/ 595 h 667"/>
                <a:gd name="T50" fmla="*/ 180 w 721"/>
                <a:gd name="T51" fmla="*/ 584 h 667"/>
                <a:gd name="T52" fmla="*/ 159 w 721"/>
                <a:gd name="T53" fmla="*/ 574 h 667"/>
                <a:gd name="T54" fmla="*/ 115 w 721"/>
                <a:gd name="T55" fmla="*/ 548 h 667"/>
                <a:gd name="T56" fmla="*/ 81 w 721"/>
                <a:gd name="T57" fmla="*/ 523 h 667"/>
                <a:gd name="T58" fmla="*/ 53 w 721"/>
                <a:gd name="T59" fmla="*/ 501 h 667"/>
                <a:gd name="T60" fmla="*/ 33 w 721"/>
                <a:gd name="T61" fmla="*/ 480 h 667"/>
                <a:gd name="T62" fmla="*/ 20 w 721"/>
                <a:gd name="T63" fmla="*/ 462 h 667"/>
                <a:gd name="T64" fmla="*/ 9 w 721"/>
                <a:gd name="T65" fmla="*/ 448 h 667"/>
                <a:gd name="T66" fmla="*/ 3 w 721"/>
                <a:gd name="T67" fmla="*/ 436 h 667"/>
                <a:gd name="T68" fmla="*/ 0 w 721"/>
                <a:gd name="T69" fmla="*/ 430 h 667"/>
                <a:gd name="T70" fmla="*/ 0 w 721"/>
                <a:gd name="T71" fmla="*/ 427 h 667"/>
                <a:gd name="T72" fmla="*/ 59 w 721"/>
                <a:gd name="T73" fmla="*/ 75 h 667"/>
                <a:gd name="T74" fmla="*/ 64 w 721"/>
                <a:gd name="T75" fmla="*/ 77 h 667"/>
                <a:gd name="T76" fmla="*/ 76 w 721"/>
                <a:gd name="T77" fmla="*/ 80 h 667"/>
                <a:gd name="T78" fmla="*/ 95 w 721"/>
                <a:gd name="T79" fmla="*/ 86 h 667"/>
                <a:gd name="T80" fmla="*/ 121 w 721"/>
                <a:gd name="T81" fmla="*/ 91 h 667"/>
                <a:gd name="T82" fmla="*/ 152 w 721"/>
                <a:gd name="T83" fmla="*/ 100 h 667"/>
                <a:gd name="T84" fmla="*/ 187 w 721"/>
                <a:gd name="T85" fmla="*/ 109 h 667"/>
                <a:gd name="T86" fmla="*/ 226 w 721"/>
                <a:gd name="T87" fmla="*/ 118 h 667"/>
                <a:gd name="T88" fmla="*/ 267 w 721"/>
                <a:gd name="T89" fmla="*/ 128 h 667"/>
                <a:gd name="T90" fmla="*/ 289 w 721"/>
                <a:gd name="T91" fmla="*/ 130 h 667"/>
                <a:gd name="T92" fmla="*/ 310 w 721"/>
                <a:gd name="T93" fmla="*/ 128 h 667"/>
                <a:gd name="T94" fmla="*/ 327 w 721"/>
                <a:gd name="T95" fmla="*/ 124 h 667"/>
                <a:gd name="T96" fmla="*/ 342 w 721"/>
                <a:gd name="T97" fmla="*/ 118 h 667"/>
                <a:gd name="T98" fmla="*/ 386 w 721"/>
                <a:gd name="T99" fmla="*/ 100 h 667"/>
                <a:gd name="T100" fmla="*/ 430 w 721"/>
                <a:gd name="T101" fmla="*/ 83 h 667"/>
                <a:gd name="T102" fmla="*/ 472 w 721"/>
                <a:gd name="T103" fmla="*/ 64 h 667"/>
                <a:gd name="T104" fmla="*/ 511 w 721"/>
                <a:gd name="T105" fmla="*/ 44 h 667"/>
                <a:gd name="T106" fmla="*/ 547 w 721"/>
                <a:gd name="T107" fmla="*/ 27 h 667"/>
                <a:gd name="T108" fmla="*/ 576 w 721"/>
                <a:gd name="T109" fmla="*/ 13 h 667"/>
                <a:gd name="T110" fmla="*/ 601 w 721"/>
                <a:gd name="T111" fmla="*/ 5 h 667"/>
                <a:gd name="T112" fmla="*/ 626 w 721"/>
                <a:gd name="T113"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1" h="667">
                  <a:moveTo>
                    <a:pt x="626" y="0"/>
                  </a:moveTo>
                  <a:lnTo>
                    <a:pt x="651" y="2"/>
                  </a:lnTo>
                  <a:lnTo>
                    <a:pt x="679" y="9"/>
                  </a:lnTo>
                  <a:lnTo>
                    <a:pt x="709" y="24"/>
                  </a:lnTo>
                  <a:lnTo>
                    <a:pt x="715" y="31"/>
                  </a:lnTo>
                  <a:lnTo>
                    <a:pt x="719" y="44"/>
                  </a:lnTo>
                  <a:lnTo>
                    <a:pt x="721" y="61"/>
                  </a:lnTo>
                  <a:lnTo>
                    <a:pt x="721" y="77"/>
                  </a:lnTo>
                  <a:lnTo>
                    <a:pt x="719" y="93"/>
                  </a:lnTo>
                  <a:lnTo>
                    <a:pt x="718" y="108"/>
                  </a:lnTo>
                  <a:lnTo>
                    <a:pt x="716" y="116"/>
                  </a:lnTo>
                  <a:lnTo>
                    <a:pt x="716" y="121"/>
                  </a:lnTo>
                  <a:lnTo>
                    <a:pt x="563" y="667"/>
                  </a:lnTo>
                  <a:lnTo>
                    <a:pt x="559" y="665"/>
                  </a:lnTo>
                  <a:lnTo>
                    <a:pt x="545" y="664"/>
                  </a:lnTo>
                  <a:lnTo>
                    <a:pt x="525" y="661"/>
                  </a:lnTo>
                  <a:lnTo>
                    <a:pt x="498" y="657"/>
                  </a:lnTo>
                  <a:lnTo>
                    <a:pt x="466" y="651"/>
                  </a:lnTo>
                  <a:lnTo>
                    <a:pt x="430" y="645"/>
                  </a:lnTo>
                  <a:lnTo>
                    <a:pt x="392" y="637"/>
                  </a:lnTo>
                  <a:lnTo>
                    <a:pt x="352" y="630"/>
                  </a:lnTo>
                  <a:lnTo>
                    <a:pt x="314" y="621"/>
                  </a:lnTo>
                  <a:lnTo>
                    <a:pt x="276" y="612"/>
                  </a:lnTo>
                  <a:lnTo>
                    <a:pt x="239" y="604"/>
                  </a:lnTo>
                  <a:lnTo>
                    <a:pt x="208" y="595"/>
                  </a:lnTo>
                  <a:lnTo>
                    <a:pt x="180" y="584"/>
                  </a:lnTo>
                  <a:lnTo>
                    <a:pt x="159" y="574"/>
                  </a:lnTo>
                  <a:lnTo>
                    <a:pt x="115" y="548"/>
                  </a:lnTo>
                  <a:lnTo>
                    <a:pt x="81" y="523"/>
                  </a:lnTo>
                  <a:lnTo>
                    <a:pt x="53" y="501"/>
                  </a:lnTo>
                  <a:lnTo>
                    <a:pt x="33" y="480"/>
                  </a:lnTo>
                  <a:lnTo>
                    <a:pt x="20" y="462"/>
                  </a:lnTo>
                  <a:lnTo>
                    <a:pt x="9" y="448"/>
                  </a:lnTo>
                  <a:lnTo>
                    <a:pt x="3" y="436"/>
                  </a:lnTo>
                  <a:lnTo>
                    <a:pt x="0" y="430"/>
                  </a:lnTo>
                  <a:lnTo>
                    <a:pt x="0" y="427"/>
                  </a:lnTo>
                  <a:lnTo>
                    <a:pt x="59" y="75"/>
                  </a:lnTo>
                  <a:lnTo>
                    <a:pt x="64" y="77"/>
                  </a:lnTo>
                  <a:lnTo>
                    <a:pt x="76" y="80"/>
                  </a:lnTo>
                  <a:lnTo>
                    <a:pt x="95" y="86"/>
                  </a:lnTo>
                  <a:lnTo>
                    <a:pt x="121" y="91"/>
                  </a:lnTo>
                  <a:lnTo>
                    <a:pt x="152" y="100"/>
                  </a:lnTo>
                  <a:lnTo>
                    <a:pt x="187" y="109"/>
                  </a:lnTo>
                  <a:lnTo>
                    <a:pt x="226" y="118"/>
                  </a:lnTo>
                  <a:lnTo>
                    <a:pt x="267" y="128"/>
                  </a:lnTo>
                  <a:lnTo>
                    <a:pt x="289" y="130"/>
                  </a:lnTo>
                  <a:lnTo>
                    <a:pt x="310" y="128"/>
                  </a:lnTo>
                  <a:lnTo>
                    <a:pt x="327" y="124"/>
                  </a:lnTo>
                  <a:lnTo>
                    <a:pt x="342" y="118"/>
                  </a:lnTo>
                  <a:lnTo>
                    <a:pt x="386" y="100"/>
                  </a:lnTo>
                  <a:lnTo>
                    <a:pt x="430" y="83"/>
                  </a:lnTo>
                  <a:lnTo>
                    <a:pt x="472" y="64"/>
                  </a:lnTo>
                  <a:lnTo>
                    <a:pt x="511" y="44"/>
                  </a:lnTo>
                  <a:lnTo>
                    <a:pt x="547" y="27"/>
                  </a:lnTo>
                  <a:lnTo>
                    <a:pt x="576" y="13"/>
                  </a:lnTo>
                  <a:lnTo>
                    <a:pt x="601" y="5"/>
                  </a:lnTo>
                  <a:lnTo>
                    <a:pt x="626" y="0"/>
                  </a:lnTo>
                  <a:close/>
                </a:path>
              </a:pathLst>
            </a:custGeom>
            <a:solidFill>
              <a:srgbClr val="CD9F5E"/>
            </a:solidFill>
            <a:ln w="0">
              <a:solidFill>
                <a:srgbClr val="CD9F5E"/>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3" name="Freeform 76"/>
            <p:cNvSpPr>
              <a:spLocks/>
            </p:cNvSpPr>
            <p:nvPr/>
          </p:nvSpPr>
          <p:spPr bwMode="auto">
            <a:xfrm>
              <a:off x="5239648" y="3482035"/>
              <a:ext cx="451681" cy="683496"/>
            </a:xfrm>
            <a:custGeom>
              <a:avLst/>
              <a:gdLst>
                <a:gd name="T0" fmla="*/ 161 w 379"/>
                <a:gd name="T1" fmla="*/ 0 h 572"/>
                <a:gd name="T2" fmla="*/ 379 w 379"/>
                <a:gd name="T3" fmla="*/ 69 h 572"/>
                <a:gd name="T4" fmla="*/ 217 w 379"/>
                <a:gd name="T5" fmla="*/ 572 h 572"/>
                <a:gd name="T6" fmla="*/ 0 w 379"/>
                <a:gd name="T7" fmla="*/ 503 h 572"/>
                <a:gd name="T8" fmla="*/ 161 w 379"/>
                <a:gd name="T9" fmla="*/ 0 h 572"/>
              </a:gdLst>
              <a:ahLst/>
              <a:cxnLst>
                <a:cxn ang="0">
                  <a:pos x="T0" y="T1"/>
                </a:cxn>
                <a:cxn ang="0">
                  <a:pos x="T2" y="T3"/>
                </a:cxn>
                <a:cxn ang="0">
                  <a:pos x="T4" y="T5"/>
                </a:cxn>
                <a:cxn ang="0">
                  <a:pos x="T6" y="T7"/>
                </a:cxn>
                <a:cxn ang="0">
                  <a:pos x="T8" y="T9"/>
                </a:cxn>
              </a:cxnLst>
              <a:rect l="0" t="0" r="r" b="b"/>
              <a:pathLst>
                <a:path w="379" h="572">
                  <a:moveTo>
                    <a:pt x="161" y="0"/>
                  </a:moveTo>
                  <a:lnTo>
                    <a:pt x="379" y="69"/>
                  </a:lnTo>
                  <a:lnTo>
                    <a:pt x="217" y="572"/>
                  </a:lnTo>
                  <a:lnTo>
                    <a:pt x="0" y="503"/>
                  </a:lnTo>
                  <a:lnTo>
                    <a:pt x="161" y="0"/>
                  </a:lnTo>
                  <a:close/>
                </a:path>
              </a:pathLst>
            </a:custGeom>
            <a:solidFill>
              <a:srgbClr val="D2C8BE"/>
            </a:solidFill>
            <a:ln w="0">
              <a:solidFill>
                <a:srgbClr val="D2C8BE"/>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4" name="Freeform 77"/>
            <p:cNvSpPr>
              <a:spLocks/>
            </p:cNvSpPr>
            <p:nvPr/>
          </p:nvSpPr>
          <p:spPr bwMode="auto">
            <a:xfrm>
              <a:off x="5361530" y="3916986"/>
              <a:ext cx="102764" cy="105153"/>
            </a:xfrm>
            <a:custGeom>
              <a:avLst/>
              <a:gdLst>
                <a:gd name="T0" fmla="*/ 39 w 87"/>
                <a:gd name="T1" fmla="*/ 0 h 87"/>
                <a:gd name="T2" fmla="*/ 57 w 87"/>
                <a:gd name="T3" fmla="*/ 3 h 87"/>
                <a:gd name="T4" fmla="*/ 72 w 87"/>
                <a:gd name="T5" fmla="*/ 10 h 87"/>
                <a:gd name="T6" fmla="*/ 82 w 87"/>
                <a:gd name="T7" fmla="*/ 23 h 87"/>
                <a:gd name="T8" fmla="*/ 87 w 87"/>
                <a:gd name="T9" fmla="*/ 40 h 87"/>
                <a:gd name="T10" fmla="*/ 85 w 87"/>
                <a:gd name="T11" fmla="*/ 57 h 87"/>
                <a:gd name="T12" fmla="*/ 76 w 87"/>
                <a:gd name="T13" fmla="*/ 72 h 87"/>
                <a:gd name="T14" fmla="*/ 63 w 87"/>
                <a:gd name="T15" fmla="*/ 82 h 87"/>
                <a:gd name="T16" fmla="*/ 47 w 87"/>
                <a:gd name="T17" fmla="*/ 87 h 87"/>
                <a:gd name="T18" fmla="*/ 31 w 87"/>
                <a:gd name="T19" fmla="*/ 85 h 87"/>
                <a:gd name="T20" fmla="*/ 14 w 87"/>
                <a:gd name="T21" fmla="*/ 76 h 87"/>
                <a:gd name="T22" fmla="*/ 4 w 87"/>
                <a:gd name="T23" fmla="*/ 63 h 87"/>
                <a:gd name="T24" fmla="*/ 0 w 87"/>
                <a:gd name="T25" fmla="*/ 47 h 87"/>
                <a:gd name="T26" fmla="*/ 3 w 87"/>
                <a:gd name="T27" fmla="*/ 31 h 87"/>
                <a:gd name="T28" fmla="*/ 10 w 87"/>
                <a:gd name="T29" fmla="*/ 15 h 87"/>
                <a:gd name="T30" fmla="*/ 23 w 87"/>
                <a:gd name="T31" fmla="*/ 4 h 87"/>
                <a:gd name="T32" fmla="*/ 39 w 87"/>
                <a:gd name="T3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87">
                  <a:moveTo>
                    <a:pt x="39" y="0"/>
                  </a:moveTo>
                  <a:lnTo>
                    <a:pt x="57" y="3"/>
                  </a:lnTo>
                  <a:lnTo>
                    <a:pt x="72" y="10"/>
                  </a:lnTo>
                  <a:lnTo>
                    <a:pt x="82" y="23"/>
                  </a:lnTo>
                  <a:lnTo>
                    <a:pt x="87" y="40"/>
                  </a:lnTo>
                  <a:lnTo>
                    <a:pt x="85" y="57"/>
                  </a:lnTo>
                  <a:lnTo>
                    <a:pt x="76" y="72"/>
                  </a:lnTo>
                  <a:lnTo>
                    <a:pt x="63" y="82"/>
                  </a:lnTo>
                  <a:lnTo>
                    <a:pt x="47" y="87"/>
                  </a:lnTo>
                  <a:lnTo>
                    <a:pt x="31" y="85"/>
                  </a:lnTo>
                  <a:lnTo>
                    <a:pt x="14" y="76"/>
                  </a:lnTo>
                  <a:lnTo>
                    <a:pt x="4" y="63"/>
                  </a:lnTo>
                  <a:lnTo>
                    <a:pt x="0" y="47"/>
                  </a:lnTo>
                  <a:lnTo>
                    <a:pt x="3" y="31"/>
                  </a:lnTo>
                  <a:lnTo>
                    <a:pt x="10" y="15"/>
                  </a:lnTo>
                  <a:lnTo>
                    <a:pt x="23" y="4"/>
                  </a:lnTo>
                  <a:lnTo>
                    <a:pt x="39"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5" name="Freeform 78"/>
            <p:cNvSpPr>
              <a:spLocks/>
            </p:cNvSpPr>
            <p:nvPr/>
          </p:nvSpPr>
          <p:spPr bwMode="auto">
            <a:xfrm>
              <a:off x="5884906" y="3465305"/>
              <a:ext cx="1168633" cy="795820"/>
            </a:xfrm>
            <a:custGeom>
              <a:avLst/>
              <a:gdLst>
                <a:gd name="T0" fmla="*/ 377 w 979"/>
                <a:gd name="T1" fmla="*/ 5 h 667"/>
                <a:gd name="T2" fmla="*/ 432 w 979"/>
                <a:gd name="T3" fmla="*/ 27 h 667"/>
                <a:gd name="T4" fmla="*/ 507 w 979"/>
                <a:gd name="T5" fmla="*/ 64 h 667"/>
                <a:gd name="T6" fmla="*/ 592 w 979"/>
                <a:gd name="T7" fmla="*/ 100 h 667"/>
                <a:gd name="T8" fmla="*/ 652 w 979"/>
                <a:gd name="T9" fmla="*/ 124 h 667"/>
                <a:gd name="T10" fmla="*/ 689 w 979"/>
                <a:gd name="T11" fmla="*/ 130 h 667"/>
                <a:gd name="T12" fmla="*/ 753 w 979"/>
                <a:gd name="T13" fmla="*/ 118 h 667"/>
                <a:gd name="T14" fmla="*/ 826 w 979"/>
                <a:gd name="T15" fmla="*/ 100 h 667"/>
                <a:gd name="T16" fmla="*/ 884 w 979"/>
                <a:gd name="T17" fmla="*/ 86 h 667"/>
                <a:gd name="T18" fmla="*/ 915 w 979"/>
                <a:gd name="T19" fmla="*/ 77 h 667"/>
                <a:gd name="T20" fmla="*/ 979 w 979"/>
                <a:gd name="T21" fmla="*/ 427 h 667"/>
                <a:gd name="T22" fmla="*/ 971 w 979"/>
                <a:gd name="T23" fmla="*/ 437 h 667"/>
                <a:gd name="T24" fmla="*/ 947 w 979"/>
                <a:gd name="T25" fmla="*/ 465 h 667"/>
                <a:gd name="T26" fmla="*/ 912 w 979"/>
                <a:gd name="T27" fmla="*/ 502 h 667"/>
                <a:gd name="T28" fmla="*/ 862 w 979"/>
                <a:gd name="T29" fmla="*/ 540 h 667"/>
                <a:gd name="T30" fmla="*/ 803 w 979"/>
                <a:gd name="T31" fmla="*/ 571 h 667"/>
                <a:gd name="T32" fmla="*/ 745 w 979"/>
                <a:gd name="T33" fmla="*/ 590 h 667"/>
                <a:gd name="T34" fmla="*/ 683 w 979"/>
                <a:gd name="T35" fmla="*/ 605 h 667"/>
                <a:gd name="T36" fmla="*/ 611 w 979"/>
                <a:gd name="T37" fmla="*/ 623 h 667"/>
                <a:gd name="T38" fmla="*/ 541 w 979"/>
                <a:gd name="T39" fmla="*/ 639 h 667"/>
                <a:gd name="T40" fmla="*/ 477 w 979"/>
                <a:gd name="T41" fmla="*/ 654 h 667"/>
                <a:gd name="T42" fmla="*/ 433 w 979"/>
                <a:gd name="T43" fmla="*/ 662 h 667"/>
                <a:gd name="T44" fmla="*/ 415 w 979"/>
                <a:gd name="T45" fmla="*/ 667 h 667"/>
                <a:gd name="T46" fmla="*/ 321 w 979"/>
                <a:gd name="T47" fmla="*/ 161 h 667"/>
                <a:gd name="T48" fmla="*/ 296 w 979"/>
                <a:gd name="T49" fmla="*/ 174 h 667"/>
                <a:gd name="T50" fmla="*/ 250 w 979"/>
                <a:gd name="T51" fmla="*/ 194 h 667"/>
                <a:gd name="T52" fmla="*/ 194 w 979"/>
                <a:gd name="T53" fmla="*/ 221 h 667"/>
                <a:gd name="T54" fmla="*/ 133 w 979"/>
                <a:gd name="T55" fmla="*/ 247 h 667"/>
                <a:gd name="T56" fmla="*/ 87 w 979"/>
                <a:gd name="T57" fmla="*/ 255 h 667"/>
                <a:gd name="T58" fmla="*/ 50 w 979"/>
                <a:gd name="T59" fmla="*/ 242 h 667"/>
                <a:gd name="T60" fmla="*/ 25 w 979"/>
                <a:gd name="T61" fmla="*/ 218 h 667"/>
                <a:gd name="T62" fmla="*/ 9 w 979"/>
                <a:gd name="T63" fmla="*/ 192 h 667"/>
                <a:gd name="T64" fmla="*/ 2 w 979"/>
                <a:gd name="T65" fmla="*/ 174 h 667"/>
                <a:gd name="T66" fmla="*/ 3 w 979"/>
                <a:gd name="T67" fmla="*/ 169 h 667"/>
                <a:gd name="T68" fmla="*/ 27 w 979"/>
                <a:gd name="T69" fmla="*/ 156 h 667"/>
                <a:gd name="T70" fmla="*/ 68 w 979"/>
                <a:gd name="T71" fmla="*/ 134 h 667"/>
                <a:gd name="T72" fmla="*/ 121 w 979"/>
                <a:gd name="T73" fmla="*/ 106 h 667"/>
                <a:gd name="T74" fmla="*/ 175 w 979"/>
                <a:gd name="T75" fmla="*/ 77 h 667"/>
                <a:gd name="T76" fmla="*/ 227 w 979"/>
                <a:gd name="T77" fmla="*/ 47 h 667"/>
                <a:gd name="T78" fmla="*/ 270 w 979"/>
                <a:gd name="T79" fmla="*/ 24 h 667"/>
                <a:gd name="T80" fmla="*/ 327 w 979"/>
                <a:gd name="T81" fmla="*/ 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9" h="667">
                  <a:moveTo>
                    <a:pt x="354" y="0"/>
                  </a:moveTo>
                  <a:lnTo>
                    <a:pt x="377" y="5"/>
                  </a:lnTo>
                  <a:lnTo>
                    <a:pt x="402" y="13"/>
                  </a:lnTo>
                  <a:lnTo>
                    <a:pt x="432" y="27"/>
                  </a:lnTo>
                  <a:lnTo>
                    <a:pt x="467" y="44"/>
                  </a:lnTo>
                  <a:lnTo>
                    <a:pt x="507" y="64"/>
                  </a:lnTo>
                  <a:lnTo>
                    <a:pt x="549" y="83"/>
                  </a:lnTo>
                  <a:lnTo>
                    <a:pt x="592" y="100"/>
                  </a:lnTo>
                  <a:lnTo>
                    <a:pt x="636" y="118"/>
                  </a:lnTo>
                  <a:lnTo>
                    <a:pt x="652" y="124"/>
                  </a:lnTo>
                  <a:lnTo>
                    <a:pt x="669" y="128"/>
                  </a:lnTo>
                  <a:lnTo>
                    <a:pt x="689" y="130"/>
                  </a:lnTo>
                  <a:lnTo>
                    <a:pt x="711" y="128"/>
                  </a:lnTo>
                  <a:lnTo>
                    <a:pt x="753" y="118"/>
                  </a:lnTo>
                  <a:lnTo>
                    <a:pt x="791" y="109"/>
                  </a:lnTo>
                  <a:lnTo>
                    <a:pt x="826" y="100"/>
                  </a:lnTo>
                  <a:lnTo>
                    <a:pt x="857" y="91"/>
                  </a:lnTo>
                  <a:lnTo>
                    <a:pt x="884" y="86"/>
                  </a:lnTo>
                  <a:lnTo>
                    <a:pt x="903" y="80"/>
                  </a:lnTo>
                  <a:lnTo>
                    <a:pt x="915" y="77"/>
                  </a:lnTo>
                  <a:lnTo>
                    <a:pt x="919" y="75"/>
                  </a:lnTo>
                  <a:lnTo>
                    <a:pt x="979" y="427"/>
                  </a:lnTo>
                  <a:lnTo>
                    <a:pt x="976" y="430"/>
                  </a:lnTo>
                  <a:lnTo>
                    <a:pt x="971" y="437"/>
                  </a:lnTo>
                  <a:lnTo>
                    <a:pt x="960" y="449"/>
                  </a:lnTo>
                  <a:lnTo>
                    <a:pt x="947" y="465"/>
                  </a:lnTo>
                  <a:lnTo>
                    <a:pt x="931" y="483"/>
                  </a:lnTo>
                  <a:lnTo>
                    <a:pt x="912" y="502"/>
                  </a:lnTo>
                  <a:lnTo>
                    <a:pt x="888" y="521"/>
                  </a:lnTo>
                  <a:lnTo>
                    <a:pt x="862" y="540"/>
                  </a:lnTo>
                  <a:lnTo>
                    <a:pt x="834" y="557"/>
                  </a:lnTo>
                  <a:lnTo>
                    <a:pt x="803" y="571"/>
                  </a:lnTo>
                  <a:lnTo>
                    <a:pt x="770" y="583"/>
                  </a:lnTo>
                  <a:lnTo>
                    <a:pt x="745" y="590"/>
                  </a:lnTo>
                  <a:lnTo>
                    <a:pt x="716" y="598"/>
                  </a:lnTo>
                  <a:lnTo>
                    <a:pt x="683" y="605"/>
                  </a:lnTo>
                  <a:lnTo>
                    <a:pt x="648" y="614"/>
                  </a:lnTo>
                  <a:lnTo>
                    <a:pt x="611" y="623"/>
                  </a:lnTo>
                  <a:lnTo>
                    <a:pt x="576" y="630"/>
                  </a:lnTo>
                  <a:lnTo>
                    <a:pt x="541" y="639"/>
                  </a:lnTo>
                  <a:lnTo>
                    <a:pt x="507" y="646"/>
                  </a:lnTo>
                  <a:lnTo>
                    <a:pt x="477" y="654"/>
                  </a:lnTo>
                  <a:lnTo>
                    <a:pt x="452" y="658"/>
                  </a:lnTo>
                  <a:lnTo>
                    <a:pt x="433" y="662"/>
                  </a:lnTo>
                  <a:lnTo>
                    <a:pt x="420" y="665"/>
                  </a:lnTo>
                  <a:lnTo>
                    <a:pt x="415" y="667"/>
                  </a:lnTo>
                  <a:lnTo>
                    <a:pt x="324" y="159"/>
                  </a:lnTo>
                  <a:lnTo>
                    <a:pt x="321" y="161"/>
                  </a:lnTo>
                  <a:lnTo>
                    <a:pt x="311" y="165"/>
                  </a:lnTo>
                  <a:lnTo>
                    <a:pt x="296" y="174"/>
                  </a:lnTo>
                  <a:lnTo>
                    <a:pt x="275" y="184"/>
                  </a:lnTo>
                  <a:lnTo>
                    <a:pt x="250" y="194"/>
                  </a:lnTo>
                  <a:lnTo>
                    <a:pt x="224" y="208"/>
                  </a:lnTo>
                  <a:lnTo>
                    <a:pt x="194" y="221"/>
                  </a:lnTo>
                  <a:lnTo>
                    <a:pt x="164" y="234"/>
                  </a:lnTo>
                  <a:lnTo>
                    <a:pt x="133" y="247"/>
                  </a:lnTo>
                  <a:lnTo>
                    <a:pt x="108" y="255"/>
                  </a:lnTo>
                  <a:lnTo>
                    <a:pt x="87" y="255"/>
                  </a:lnTo>
                  <a:lnTo>
                    <a:pt x="68" y="250"/>
                  </a:lnTo>
                  <a:lnTo>
                    <a:pt x="50" y="242"/>
                  </a:lnTo>
                  <a:lnTo>
                    <a:pt x="37" y="230"/>
                  </a:lnTo>
                  <a:lnTo>
                    <a:pt x="25" y="218"/>
                  </a:lnTo>
                  <a:lnTo>
                    <a:pt x="16" y="205"/>
                  </a:lnTo>
                  <a:lnTo>
                    <a:pt x="9" y="192"/>
                  </a:lnTo>
                  <a:lnTo>
                    <a:pt x="4" y="181"/>
                  </a:lnTo>
                  <a:lnTo>
                    <a:pt x="2" y="174"/>
                  </a:lnTo>
                  <a:lnTo>
                    <a:pt x="0" y="171"/>
                  </a:lnTo>
                  <a:lnTo>
                    <a:pt x="3" y="169"/>
                  </a:lnTo>
                  <a:lnTo>
                    <a:pt x="13" y="165"/>
                  </a:lnTo>
                  <a:lnTo>
                    <a:pt x="27" y="156"/>
                  </a:lnTo>
                  <a:lnTo>
                    <a:pt x="46" y="147"/>
                  </a:lnTo>
                  <a:lnTo>
                    <a:pt x="68" y="134"/>
                  </a:lnTo>
                  <a:lnTo>
                    <a:pt x="93" y="121"/>
                  </a:lnTo>
                  <a:lnTo>
                    <a:pt x="121" y="106"/>
                  </a:lnTo>
                  <a:lnTo>
                    <a:pt x="147" y="91"/>
                  </a:lnTo>
                  <a:lnTo>
                    <a:pt x="175" y="77"/>
                  </a:lnTo>
                  <a:lnTo>
                    <a:pt x="202" y="62"/>
                  </a:lnTo>
                  <a:lnTo>
                    <a:pt x="227" y="47"/>
                  </a:lnTo>
                  <a:lnTo>
                    <a:pt x="250" y="36"/>
                  </a:lnTo>
                  <a:lnTo>
                    <a:pt x="270" y="24"/>
                  </a:lnTo>
                  <a:lnTo>
                    <a:pt x="299" y="9"/>
                  </a:lnTo>
                  <a:lnTo>
                    <a:pt x="327" y="2"/>
                  </a:lnTo>
                  <a:lnTo>
                    <a:pt x="354" y="0"/>
                  </a:lnTo>
                  <a:close/>
                </a:path>
              </a:pathLst>
            </a:custGeom>
            <a:solidFill>
              <a:srgbClr val="4D3713"/>
            </a:solidFill>
            <a:ln w="0">
              <a:solidFill>
                <a:srgbClr val="4D3713"/>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6" name="Freeform 79"/>
            <p:cNvSpPr>
              <a:spLocks/>
            </p:cNvSpPr>
            <p:nvPr/>
          </p:nvSpPr>
          <p:spPr bwMode="auto">
            <a:xfrm>
              <a:off x="5674600" y="3654103"/>
              <a:ext cx="1209261" cy="900973"/>
            </a:xfrm>
            <a:custGeom>
              <a:avLst/>
              <a:gdLst>
                <a:gd name="T0" fmla="*/ 501 w 1012"/>
                <a:gd name="T1" fmla="*/ 0 h 754"/>
                <a:gd name="T2" fmla="*/ 979 w 1012"/>
                <a:gd name="T3" fmla="*/ 350 h 754"/>
                <a:gd name="T4" fmla="*/ 995 w 1012"/>
                <a:gd name="T5" fmla="*/ 365 h 754"/>
                <a:gd name="T6" fmla="*/ 1007 w 1012"/>
                <a:gd name="T7" fmla="*/ 384 h 754"/>
                <a:gd name="T8" fmla="*/ 1012 w 1012"/>
                <a:gd name="T9" fmla="*/ 406 h 754"/>
                <a:gd name="T10" fmla="*/ 1010 w 1012"/>
                <a:gd name="T11" fmla="*/ 428 h 754"/>
                <a:gd name="T12" fmla="*/ 1001 w 1012"/>
                <a:gd name="T13" fmla="*/ 449 h 754"/>
                <a:gd name="T14" fmla="*/ 994 w 1012"/>
                <a:gd name="T15" fmla="*/ 459 h 754"/>
                <a:gd name="T16" fmla="*/ 978 w 1012"/>
                <a:gd name="T17" fmla="*/ 473 h 754"/>
                <a:gd name="T18" fmla="*/ 960 w 1012"/>
                <a:gd name="T19" fmla="*/ 480 h 754"/>
                <a:gd name="T20" fmla="*/ 939 w 1012"/>
                <a:gd name="T21" fmla="*/ 483 h 754"/>
                <a:gd name="T22" fmla="*/ 920 w 1012"/>
                <a:gd name="T23" fmla="*/ 480 h 754"/>
                <a:gd name="T24" fmla="*/ 920 w 1012"/>
                <a:gd name="T25" fmla="*/ 480 h 754"/>
                <a:gd name="T26" fmla="*/ 938 w 1012"/>
                <a:gd name="T27" fmla="*/ 495 h 754"/>
                <a:gd name="T28" fmla="*/ 948 w 1012"/>
                <a:gd name="T29" fmla="*/ 514 h 754"/>
                <a:gd name="T30" fmla="*/ 954 w 1012"/>
                <a:gd name="T31" fmla="*/ 536 h 754"/>
                <a:gd name="T32" fmla="*/ 951 w 1012"/>
                <a:gd name="T33" fmla="*/ 558 h 754"/>
                <a:gd name="T34" fmla="*/ 942 w 1012"/>
                <a:gd name="T35" fmla="*/ 579 h 754"/>
                <a:gd name="T36" fmla="*/ 939 w 1012"/>
                <a:gd name="T37" fmla="*/ 583 h 754"/>
                <a:gd name="T38" fmla="*/ 935 w 1012"/>
                <a:gd name="T39" fmla="*/ 589 h 754"/>
                <a:gd name="T40" fmla="*/ 920 w 1012"/>
                <a:gd name="T41" fmla="*/ 601 h 754"/>
                <a:gd name="T42" fmla="*/ 901 w 1012"/>
                <a:gd name="T43" fmla="*/ 609 h 754"/>
                <a:gd name="T44" fmla="*/ 882 w 1012"/>
                <a:gd name="T45" fmla="*/ 612 h 754"/>
                <a:gd name="T46" fmla="*/ 863 w 1012"/>
                <a:gd name="T47" fmla="*/ 609 h 754"/>
                <a:gd name="T48" fmla="*/ 844 w 1012"/>
                <a:gd name="T49" fmla="*/ 601 h 754"/>
                <a:gd name="T50" fmla="*/ 801 w 1012"/>
                <a:gd name="T51" fmla="*/ 574 h 754"/>
                <a:gd name="T52" fmla="*/ 814 w 1012"/>
                <a:gd name="T53" fmla="*/ 590 h 754"/>
                <a:gd name="T54" fmla="*/ 823 w 1012"/>
                <a:gd name="T55" fmla="*/ 608 h 754"/>
                <a:gd name="T56" fmla="*/ 826 w 1012"/>
                <a:gd name="T57" fmla="*/ 627 h 754"/>
                <a:gd name="T58" fmla="*/ 823 w 1012"/>
                <a:gd name="T59" fmla="*/ 648 h 754"/>
                <a:gd name="T60" fmla="*/ 814 w 1012"/>
                <a:gd name="T61" fmla="*/ 667 h 754"/>
                <a:gd name="T62" fmla="*/ 811 w 1012"/>
                <a:gd name="T63" fmla="*/ 671 h 754"/>
                <a:gd name="T64" fmla="*/ 807 w 1012"/>
                <a:gd name="T65" fmla="*/ 676 h 754"/>
                <a:gd name="T66" fmla="*/ 792 w 1012"/>
                <a:gd name="T67" fmla="*/ 689 h 754"/>
                <a:gd name="T68" fmla="*/ 773 w 1012"/>
                <a:gd name="T69" fmla="*/ 698 h 754"/>
                <a:gd name="T70" fmla="*/ 754 w 1012"/>
                <a:gd name="T71" fmla="*/ 699 h 754"/>
                <a:gd name="T72" fmla="*/ 735 w 1012"/>
                <a:gd name="T73" fmla="*/ 696 h 754"/>
                <a:gd name="T74" fmla="*/ 716 w 1012"/>
                <a:gd name="T75" fmla="*/ 689 h 754"/>
                <a:gd name="T76" fmla="*/ 642 w 1012"/>
                <a:gd name="T77" fmla="*/ 643 h 754"/>
                <a:gd name="T78" fmla="*/ 651 w 1012"/>
                <a:gd name="T79" fmla="*/ 661 h 754"/>
                <a:gd name="T80" fmla="*/ 654 w 1012"/>
                <a:gd name="T81" fmla="*/ 682 h 754"/>
                <a:gd name="T82" fmla="*/ 651 w 1012"/>
                <a:gd name="T83" fmla="*/ 702 h 754"/>
                <a:gd name="T84" fmla="*/ 643 w 1012"/>
                <a:gd name="T85" fmla="*/ 721 h 754"/>
                <a:gd name="T86" fmla="*/ 635 w 1012"/>
                <a:gd name="T87" fmla="*/ 730 h 754"/>
                <a:gd name="T88" fmla="*/ 620 w 1012"/>
                <a:gd name="T89" fmla="*/ 743 h 754"/>
                <a:gd name="T90" fmla="*/ 602 w 1012"/>
                <a:gd name="T91" fmla="*/ 751 h 754"/>
                <a:gd name="T92" fmla="*/ 582 w 1012"/>
                <a:gd name="T93" fmla="*/ 754 h 754"/>
                <a:gd name="T94" fmla="*/ 562 w 1012"/>
                <a:gd name="T95" fmla="*/ 751 h 754"/>
                <a:gd name="T96" fmla="*/ 543 w 1012"/>
                <a:gd name="T97" fmla="*/ 742 h 754"/>
                <a:gd name="T98" fmla="*/ 0 w 1012"/>
                <a:gd name="T99" fmla="*/ 405 h 754"/>
                <a:gd name="T100" fmla="*/ 341 w 1012"/>
                <a:gd name="T101" fmla="*/ 141 h 754"/>
                <a:gd name="T102" fmla="*/ 334 w 1012"/>
                <a:gd name="T103" fmla="*/ 105 h 754"/>
                <a:gd name="T104" fmla="*/ 501 w 1012"/>
                <a:gd name="T105"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2" h="754">
                  <a:moveTo>
                    <a:pt x="501" y="0"/>
                  </a:moveTo>
                  <a:lnTo>
                    <a:pt x="979" y="350"/>
                  </a:lnTo>
                  <a:lnTo>
                    <a:pt x="995" y="365"/>
                  </a:lnTo>
                  <a:lnTo>
                    <a:pt x="1007" y="384"/>
                  </a:lnTo>
                  <a:lnTo>
                    <a:pt x="1012" y="406"/>
                  </a:lnTo>
                  <a:lnTo>
                    <a:pt x="1010" y="428"/>
                  </a:lnTo>
                  <a:lnTo>
                    <a:pt x="1001" y="449"/>
                  </a:lnTo>
                  <a:lnTo>
                    <a:pt x="994" y="459"/>
                  </a:lnTo>
                  <a:lnTo>
                    <a:pt x="978" y="473"/>
                  </a:lnTo>
                  <a:lnTo>
                    <a:pt x="960" y="480"/>
                  </a:lnTo>
                  <a:lnTo>
                    <a:pt x="939" y="483"/>
                  </a:lnTo>
                  <a:lnTo>
                    <a:pt x="920" y="480"/>
                  </a:lnTo>
                  <a:lnTo>
                    <a:pt x="920" y="480"/>
                  </a:lnTo>
                  <a:lnTo>
                    <a:pt x="938" y="495"/>
                  </a:lnTo>
                  <a:lnTo>
                    <a:pt x="948" y="514"/>
                  </a:lnTo>
                  <a:lnTo>
                    <a:pt x="954" y="536"/>
                  </a:lnTo>
                  <a:lnTo>
                    <a:pt x="951" y="558"/>
                  </a:lnTo>
                  <a:lnTo>
                    <a:pt x="942" y="579"/>
                  </a:lnTo>
                  <a:lnTo>
                    <a:pt x="939" y="583"/>
                  </a:lnTo>
                  <a:lnTo>
                    <a:pt x="935" y="589"/>
                  </a:lnTo>
                  <a:lnTo>
                    <a:pt x="920" y="601"/>
                  </a:lnTo>
                  <a:lnTo>
                    <a:pt x="901" y="609"/>
                  </a:lnTo>
                  <a:lnTo>
                    <a:pt x="882" y="612"/>
                  </a:lnTo>
                  <a:lnTo>
                    <a:pt x="863" y="609"/>
                  </a:lnTo>
                  <a:lnTo>
                    <a:pt x="844" y="601"/>
                  </a:lnTo>
                  <a:lnTo>
                    <a:pt x="801" y="574"/>
                  </a:lnTo>
                  <a:lnTo>
                    <a:pt x="814" y="590"/>
                  </a:lnTo>
                  <a:lnTo>
                    <a:pt x="823" y="608"/>
                  </a:lnTo>
                  <a:lnTo>
                    <a:pt x="826" y="627"/>
                  </a:lnTo>
                  <a:lnTo>
                    <a:pt x="823" y="648"/>
                  </a:lnTo>
                  <a:lnTo>
                    <a:pt x="814" y="667"/>
                  </a:lnTo>
                  <a:lnTo>
                    <a:pt x="811" y="671"/>
                  </a:lnTo>
                  <a:lnTo>
                    <a:pt x="807" y="676"/>
                  </a:lnTo>
                  <a:lnTo>
                    <a:pt x="792" y="689"/>
                  </a:lnTo>
                  <a:lnTo>
                    <a:pt x="773" y="698"/>
                  </a:lnTo>
                  <a:lnTo>
                    <a:pt x="754" y="699"/>
                  </a:lnTo>
                  <a:lnTo>
                    <a:pt x="735" y="696"/>
                  </a:lnTo>
                  <a:lnTo>
                    <a:pt x="716" y="689"/>
                  </a:lnTo>
                  <a:lnTo>
                    <a:pt x="642" y="643"/>
                  </a:lnTo>
                  <a:lnTo>
                    <a:pt x="651" y="661"/>
                  </a:lnTo>
                  <a:lnTo>
                    <a:pt x="654" y="682"/>
                  </a:lnTo>
                  <a:lnTo>
                    <a:pt x="651" y="702"/>
                  </a:lnTo>
                  <a:lnTo>
                    <a:pt x="643" y="721"/>
                  </a:lnTo>
                  <a:lnTo>
                    <a:pt x="635" y="730"/>
                  </a:lnTo>
                  <a:lnTo>
                    <a:pt x="620" y="743"/>
                  </a:lnTo>
                  <a:lnTo>
                    <a:pt x="602" y="751"/>
                  </a:lnTo>
                  <a:lnTo>
                    <a:pt x="582" y="754"/>
                  </a:lnTo>
                  <a:lnTo>
                    <a:pt x="562" y="751"/>
                  </a:lnTo>
                  <a:lnTo>
                    <a:pt x="543" y="742"/>
                  </a:lnTo>
                  <a:lnTo>
                    <a:pt x="0" y="405"/>
                  </a:lnTo>
                  <a:lnTo>
                    <a:pt x="341" y="141"/>
                  </a:lnTo>
                  <a:lnTo>
                    <a:pt x="334" y="105"/>
                  </a:lnTo>
                  <a:lnTo>
                    <a:pt x="501" y="0"/>
                  </a:lnTo>
                  <a:close/>
                </a:path>
              </a:pathLst>
            </a:custGeom>
            <a:solidFill>
              <a:srgbClr val="CD9F5E"/>
            </a:solidFill>
            <a:ln w="0">
              <a:solidFill>
                <a:srgbClr val="CD9F5E"/>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7" name="Freeform 80"/>
            <p:cNvSpPr>
              <a:spLocks/>
            </p:cNvSpPr>
            <p:nvPr/>
          </p:nvSpPr>
          <p:spPr bwMode="auto">
            <a:xfrm>
              <a:off x="6886251" y="3482035"/>
              <a:ext cx="449290" cy="683496"/>
            </a:xfrm>
            <a:custGeom>
              <a:avLst/>
              <a:gdLst>
                <a:gd name="T0" fmla="*/ 217 w 377"/>
                <a:gd name="T1" fmla="*/ 0 h 572"/>
                <a:gd name="T2" fmla="*/ 377 w 377"/>
                <a:gd name="T3" fmla="*/ 503 h 572"/>
                <a:gd name="T4" fmla="*/ 161 w 377"/>
                <a:gd name="T5" fmla="*/ 572 h 572"/>
                <a:gd name="T6" fmla="*/ 0 w 377"/>
                <a:gd name="T7" fmla="*/ 69 h 572"/>
                <a:gd name="T8" fmla="*/ 217 w 377"/>
                <a:gd name="T9" fmla="*/ 0 h 572"/>
              </a:gdLst>
              <a:ahLst/>
              <a:cxnLst>
                <a:cxn ang="0">
                  <a:pos x="T0" y="T1"/>
                </a:cxn>
                <a:cxn ang="0">
                  <a:pos x="T2" y="T3"/>
                </a:cxn>
                <a:cxn ang="0">
                  <a:pos x="T4" y="T5"/>
                </a:cxn>
                <a:cxn ang="0">
                  <a:pos x="T6" y="T7"/>
                </a:cxn>
                <a:cxn ang="0">
                  <a:pos x="T8" y="T9"/>
                </a:cxn>
              </a:cxnLst>
              <a:rect l="0" t="0" r="r" b="b"/>
              <a:pathLst>
                <a:path w="377" h="572">
                  <a:moveTo>
                    <a:pt x="217" y="0"/>
                  </a:moveTo>
                  <a:lnTo>
                    <a:pt x="377" y="503"/>
                  </a:lnTo>
                  <a:lnTo>
                    <a:pt x="161" y="572"/>
                  </a:lnTo>
                  <a:lnTo>
                    <a:pt x="0" y="69"/>
                  </a:lnTo>
                  <a:lnTo>
                    <a:pt x="217" y="0"/>
                  </a:lnTo>
                  <a:close/>
                </a:path>
              </a:pathLst>
            </a:custGeom>
            <a:solidFill>
              <a:srgbClr val="857E79"/>
            </a:solidFill>
            <a:ln w="0">
              <a:solidFill>
                <a:srgbClr val="857E79"/>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8" name="Freeform 81"/>
            <p:cNvSpPr>
              <a:spLocks/>
            </p:cNvSpPr>
            <p:nvPr/>
          </p:nvSpPr>
          <p:spPr bwMode="auto">
            <a:xfrm>
              <a:off x="7110896" y="3916986"/>
              <a:ext cx="102764" cy="105153"/>
            </a:xfrm>
            <a:custGeom>
              <a:avLst/>
              <a:gdLst>
                <a:gd name="T0" fmla="*/ 47 w 86"/>
                <a:gd name="T1" fmla="*/ 0 h 87"/>
                <a:gd name="T2" fmla="*/ 63 w 86"/>
                <a:gd name="T3" fmla="*/ 4 h 87"/>
                <a:gd name="T4" fmla="*/ 76 w 86"/>
                <a:gd name="T5" fmla="*/ 15 h 87"/>
                <a:gd name="T6" fmla="*/ 85 w 86"/>
                <a:gd name="T7" fmla="*/ 31 h 87"/>
                <a:gd name="T8" fmla="*/ 86 w 86"/>
                <a:gd name="T9" fmla="*/ 47 h 87"/>
                <a:gd name="T10" fmla="*/ 82 w 86"/>
                <a:gd name="T11" fmla="*/ 63 h 87"/>
                <a:gd name="T12" fmla="*/ 72 w 86"/>
                <a:gd name="T13" fmla="*/ 76 h 87"/>
                <a:gd name="T14" fmla="*/ 57 w 86"/>
                <a:gd name="T15" fmla="*/ 85 h 87"/>
                <a:gd name="T16" fmla="*/ 39 w 86"/>
                <a:gd name="T17" fmla="*/ 87 h 87"/>
                <a:gd name="T18" fmla="*/ 23 w 86"/>
                <a:gd name="T19" fmla="*/ 82 h 87"/>
                <a:gd name="T20" fmla="*/ 10 w 86"/>
                <a:gd name="T21" fmla="*/ 72 h 87"/>
                <a:gd name="T22" fmla="*/ 2 w 86"/>
                <a:gd name="T23" fmla="*/ 57 h 87"/>
                <a:gd name="T24" fmla="*/ 0 w 86"/>
                <a:gd name="T25" fmla="*/ 40 h 87"/>
                <a:gd name="T26" fmla="*/ 4 w 86"/>
                <a:gd name="T27" fmla="*/ 23 h 87"/>
                <a:gd name="T28" fmla="*/ 14 w 86"/>
                <a:gd name="T29" fmla="*/ 10 h 87"/>
                <a:gd name="T30" fmla="*/ 30 w 86"/>
                <a:gd name="T31" fmla="*/ 3 h 87"/>
                <a:gd name="T32" fmla="*/ 47 w 86"/>
                <a:gd name="T3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87">
                  <a:moveTo>
                    <a:pt x="47" y="0"/>
                  </a:moveTo>
                  <a:lnTo>
                    <a:pt x="63" y="4"/>
                  </a:lnTo>
                  <a:lnTo>
                    <a:pt x="76" y="15"/>
                  </a:lnTo>
                  <a:lnTo>
                    <a:pt x="85" y="31"/>
                  </a:lnTo>
                  <a:lnTo>
                    <a:pt x="86" y="47"/>
                  </a:lnTo>
                  <a:lnTo>
                    <a:pt x="82" y="63"/>
                  </a:lnTo>
                  <a:lnTo>
                    <a:pt x="72" y="76"/>
                  </a:lnTo>
                  <a:lnTo>
                    <a:pt x="57" y="85"/>
                  </a:lnTo>
                  <a:lnTo>
                    <a:pt x="39" y="87"/>
                  </a:lnTo>
                  <a:lnTo>
                    <a:pt x="23" y="82"/>
                  </a:lnTo>
                  <a:lnTo>
                    <a:pt x="10" y="72"/>
                  </a:lnTo>
                  <a:lnTo>
                    <a:pt x="2" y="57"/>
                  </a:lnTo>
                  <a:lnTo>
                    <a:pt x="0" y="40"/>
                  </a:lnTo>
                  <a:lnTo>
                    <a:pt x="4" y="23"/>
                  </a:lnTo>
                  <a:lnTo>
                    <a:pt x="14" y="10"/>
                  </a:lnTo>
                  <a:lnTo>
                    <a:pt x="30" y="3"/>
                  </a:lnTo>
                  <a:lnTo>
                    <a:pt x="47"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39" name="Freeform 82"/>
            <p:cNvSpPr>
              <a:spLocks/>
            </p:cNvSpPr>
            <p:nvPr/>
          </p:nvSpPr>
          <p:spPr bwMode="auto">
            <a:xfrm>
              <a:off x="5997228" y="3819003"/>
              <a:ext cx="886632" cy="736073"/>
            </a:xfrm>
            <a:custGeom>
              <a:avLst/>
              <a:gdLst>
                <a:gd name="T0" fmla="*/ 417 w 741"/>
                <a:gd name="T1" fmla="*/ 0 h 617"/>
                <a:gd name="T2" fmla="*/ 708 w 741"/>
                <a:gd name="T3" fmla="*/ 213 h 617"/>
                <a:gd name="T4" fmla="*/ 724 w 741"/>
                <a:gd name="T5" fmla="*/ 228 h 617"/>
                <a:gd name="T6" fmla="*/ 736 w 741"/>
                <a:gd name="T7" fmla="*/ 247 h 617"/>
                <a:gd name="T8" fmla="*/ 741 w 741"/>
                <a:gd name="T9" fmla="*/ 269 h 617"/>
                <a:gd name="T10" fmla="*/ 739 w 741"/>
                <a:gd name="T11" fmla="*/ 291 h 617"/>
                <a:gd name="T12" fmla="*/ 730 w 741"/>
                <a:gd name="T13" fmla="*/ 312 h 617"/>
                <a:gd name="T14" fmla="*/ 723 w 741"/>
                <a:gd name="T15" fmla="*/ 322 h 617"/>
                <a:gd name="T16" fmla="*/ 707 w 741"/>
                <a:gd name="T17" fmla="*/ 336 h 617"/>
                <a:gd name="T18" fmla="*/ 689 w 741"/>
                <a:gd name="T19" fmla="*/ 343 h 617"/>
                <a:gd name="T20" fmla="*/ 668 w 741"/>
                <a:gd name="T21" fmla="*/ 346 h 617"/>
                <a:gd name="T22" fmla="*/ 649 w 741"/>
                <a:gd name="T23" fmla="*/ 343 h 617"/>
                <a:gd name="T24" fmla="*/ 649 w 741"/>
                <a:gd name="T25" fmla="*/ 343 h 617"/>
                <a:gd name="T26" fmla="*/ 667 w 741"/>
                <a:gd name="T27" fmla="*/ 358 h 617"/>
                <a:gd name="T28" fmla="*/ 677 w 741"/>
                <a:gd name="T29" fmla="*/ 377 h 617"/>
                <a:gd name="T30" fmla="*/ 683 w 741"/>
                <a:gd name="T31" fmla="*/ 399 h 617"/>
                <a:gd name="T32" fmla="*/ 680 w 741"/>
                <a:gd name="T33" fmla="*/ 421 h 617"/>
                <a:gd name="T34" fmla="*/ 671 w 741"/>
                <a:gd name="T35" fmla="*/ 442 h 617"/>
                <a:gd name="T36" fmla="*/ 668 w 741"/>
                <a:gd name="T37" fmla="*/ 446 h 617"/>
                <a:gd name="T38" fmla="*/ 664 w 741"/>
                <a:gd name="T39" fmla="*/ 452 h 617"/>
                <a:gd name="T40" fmla="*/ 649 w 741"/>
                <a:gd name="T41" fmla="*/ 464 h 617"/>
                <a:gd name="T42" fmla="*/ 630 w 741"/>
                <a:gd name="T43" fmla="*/ 472 h 617"/>
                <a:gd name="T44" fmla="*/ 611 w 741"/>
                <a:gd name="T45" fmla="*/ 475 h 617"/>
                <a:gd name="T46" fmla="*/ 592 w 741"/>
                <a:gd name="T47" fmla="*/ 472 h 617"/>
                <a:gd name="T48" fmla="*/ 573 w 741"/>
                <a:gd name="T49" fmla="*/ 464 h 617"/>
                <a:gd name="T50" fmla="*/ 530 w 741"/>
                <a:gd name="T51" fmla="*/ 437 h 617"/>
                <a:gd name="T52" fmla="*/ 543 w 741"/>
                <a:gd name="T53" fmla="*/ 453 h 617"/>
                <a:gd name="T54" fmla="*/ 552 w 741"/>
                <a:gd name="T55" fmla="*/ 471 h 617"/>
                <a:gd name="T56" fmla="*/ 555 w 741"/>
                <a:gd name="T57" fmla="*/ 490 h 617"/>
                <a:gd name="T58" fmla="*/ 552 w 741"/>
                <a:gd name="T59" fmla="*/ 511 h 617"/>
                <a:gd name="T60" fmla="*/ 543 w 741"/>
                <a:gd name="T61" fmla="*/ 530 h 617"/>
                <a:gd name="T62" fmla="*/ 540 w 741"/>
                <a:gd name="T63" fmla="*/ 534 h 617"/>
                <a:gd name="T64" fmla="*/ 536 w 741"/>
                <a:gd name="T65" fmla="*/ 539 h 617"/>
                <a:gd name="T66" fmla="*/ 521 w 741"/>
                <a:gd name="T67" fmla="*/ 552 h 617"/>
                <a:gd name="T68" fmla="*/ 502 w 741"/>
                <a:gd name="T69" fmla="*/ 561 h 617"/>
                <a:gd name="T70" fmla="*/ 483 w 741"/>
                <a:gd name="T71" fmla="*/ 562 h 617"/>
                <a:gd name="T72" fmla="*/ 464 w 741"/>
                <a:gd name="T73" fmla="*/ 559 h 617"/>
                <a:gd name="T74" fmla="*/ 445 w 741"/>
                <a:gd name="T75" fmla="*/ 552 h 617"/>
                <a:gd name="T76" fmla="*/ 371 w 741"/>
                <a:gd name="T77" fmla="*/ 506 h 617"/>
                <a:gd name="T78" fmla="*/ 380 w 741"/>
                <a:gd name="T79" fmla="*/ 524 h 617"/>
                <a:gd name="T80" fmla="*/ 383 w 741"/>
                <a:gd name="T81" fmla="*/ 545 h 617"/>
                <a:gd name="T82" fmla="*/ 380 w 741"/>
                <a:gd name="T83" fmla="*/ 565 h 617"/>
                <a:gd name="T84" fmla="*/ 372 w 741"/>
                <a:gd name="T85" fmla="*/ 584 h 617"/>
                <a:gd name="T86" fmla="*/ 364 w 741"/>
                <a:gd name="T87" fmla="*/ 593 h 617"/>
                <a:gd name="T88" fmla="*/ 349 w 741"/>
                <a:gd name="T89" fmla="*/ 606 h 617"/>
                <a:gd name="T90" fmla="*/ 331 w 741"/>
                <a:gd name="T91" fmla="*/ 614 h 617"/>
                <a:gd name="T92" fmla="*/ 311 w 741"/>
                <a:gd name="T93" fmla="*/ 617 h 617"/>
                <a:gd name="T94" fmla="*/ 291 w 741"/>
                <a:gd name="T95" fmla="*/ 614 h 617"/>
                <a:gd name="T96" fmla="*/ 272 w 741"/>
                <a:gd name="T97" fmla="*/ 605 h 617"/>
                <a:gd name="T98" fmla="*/ 0 w 741"/>
                <a:gd name="T99" fmla="*/ 437 h 617"/>
                <a:gd name="T100" fmla="*/ 417 w 741"/>
                <a:gd name="T10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1" h="617">
                  <a:moveTo>
                    <a:pt x="417" y="0"/>
                  </a:moveTo>
                  <a:lnTo>
                    <a:pt x="708" y="213"/>
                  </a:lnTo>
                  <a:lnTo>
                    <a:pt x="724" y="228"/>
                  </a:lnTo>
                  <a:lnTo>
                    <a:pt x="736" y="247"/>
                  </a:lnTo>
                  <a:lnTo>
                    <a:pt x="741" y="269"/>
                  </a:lnTo>
                  <a:lnTo>
                    <a:pt x="739" y="291"/>
                  </a:lnTo>
                  <a:lnTo>
                    <a:pt x="730" y="312"/>
                  </a:lnTo>
                  <a:lnTo>
                    <a:pt x="723" y="322"/>
                  </a:lnTo>
                  <a:lnTo>
                    <a:pt x="707" y="336"/>
                  </a:lnTo>
                  <a:lnTo>
                    <a:pt x="689" y="343"/>
                  </a:lnTo>
                  <a:lnTo>
                    <a:pt x="668" y="346"/>
                  </a:lnTo>
                  <a:lnTo>
                    <a:pt x="649" y="343"/>
                  </a:lnTo>
                  <a:lnTo>
                    <a:pt x="649" y="343"/>
                  </a:lnTo>
                  <a:lnTo>
                    <a:pt x="667" y="358"/>
                  </a:lnTo>
                  <a:lnTo>
                    <a:pt x="677" y="377"/>
                  </a:lnTo>
                  <a:lnTo>
                    <a:pt x="683" y="399"/>
                  </a:lnTo>
                  <a:lnTo>
                    <a:pt x="680" y="421"/>
                  </a:lnTo>
                  <a:lnTo>
                    <a:pt x="671" y="442"/>
                  </a:lnTo>
                  <a:lnTo>
                    <a:pt x="668" y="446"/>
                  </a:lnTo>
                  <a:lnTo>
                    <a:pt x="664" y="452"/>
                  </a:lnTo>
                  <a:lnTo>
                    <a:pt x="649" y="464"/>
                  </a:lnTo>
                  <a:lnTo>
                    <a:pt x="630" y="472"/>
                  </a:lnTo>
                  <a:lnTo>
                    <a:pt x="611" y="475"/>
                  </a:lnTo>
                  <a:lnTo>
                    <a:pt x="592" y="472"/>
                  </a:lnTo>
                  <a:lnTo>
                    <a:pt x="573" y="464"/>
                  </a:lnTo>
                  <a:lnTo>
                    <a:pt x="530" y="437"/>
                  </a:lnTo>
                  <a:lnTo>
                    <a:pt x="543" y="453"/>
                  </a:lnTo>
                  <a:lnTo>
                    <a:pt x="552" y="471"/>
                  </a:lnTo>
                  <a:lnTo>
                    <a:pt x="555" y="490"/>
                  </a:lnTo>
                  <a:lnTo>
                    <a:pt x="552" y="511"/>
                  </a:lnTo>
                  <a:lnTo>
                    <a:pt x="543" y="530"/>
                  </a:lnTo>
                  <a:lnTo>
                    <a:pt x="540" y="534"/>
                  </a:lnTo>
                  <a:lnTo>
                    <a:pt x="536" y="539"/>
                  </a:lnTo>
                  <a:lnTo>
                    <a:pt x="521" y="552"/>
                  </a:lnTo>
                  <a:lnTo>
                    <a:pt x="502" y="561"/>
                  </a:lnTo>
                  <a:lnTo>
                    <a:pt x="483" y="562"/>
                  </a:lnTo>
                  <a:lnTo>
                    <a:pt x="464" y="559"/>
                  </a:lnTo>
                  <a:lnTo>
                    <a:pt x="445" y="552"/>
                  </a:lnTo>
                  <a:lnTo>
                    <a:pt x="371" y="506"/>
                  </a:lnTo>
                  <a:lnTo>
                    <a:pt x="380" y="524"/>
                  </a:lnTo>
                  <a:lnTo>
                    <a:pt x="383" y="545"/>
                  </a:lnTo>
                  <a:lnTo>
                    <a:pt x="380" y="565"/>
                  </a:lnTo>
                  <a:lnTo>
                    <a:pt x="372" y="584"/>
                  </a:lnTo>
                  <a:lnTo>
                    <a:pt x="364" y="593"/>
                  </a:lnTo>
                  <a:lnTo>
                    <a:pt x="349" y="606"/>
                  </a:lnTo>
                  <a:lnTo>
                    <a:pt x="331" y="614"/>
                  </a:lnTo>
                  <a:lnTo>
                    <a:pt x="311" y="617"/>
                  </a:lnTo>
                  <a:lnTo>
                    <a:pt x="291" y="614"/>
                  </a:lnTo>
                  <a:lnTo>
                    <a:pt x="272" y="605"/>
                  </a:lnTo>
                  <a:lnTo>
                    <a:pt x="0" y="437"/>
                  </a:lnTo>
                  <a:lnTo>
                    <a:pt x="417" y="0"/>
                  </a:lnTo>
                  <a:close/>
                </a:path>
              </a:pathLst>
            </a:custGeom>
            <a:solidFill>
              <a:srgbClr val="BF8848"/>
            </a:solidFill>
            <a:ln w="0">
              <a:solidFill>
                <a:srgbClr val="BF8848"/>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0" name="Freeform 83"/>
            <p:cNvSpPr>
              <a:spLocks/>
            </p:cNvSpPr>
            <p:nvPr/>
          </p:nvSpPr>
          <p:spPr bwMode="auto">
            <a:xfrm>
              <a:off x="5851449" y="4043648"/>
              <a:ext cx="212697" cy="394325"/>
            </a:xfrm>
            <a:custGeom>
              <a:avLst/>
              <a:gdLst>
                <a:gd name="T0" fmla="*/ 99 w 178"/>
                <a:gd name="T1" fmla="*/ 0 h 330"/>
                <a:gd name="T2" fmla="*/ 121 w 178"/>
                <a:gd name="T3" fmla="*/ 2 h 330"/>
                <a:gd name="T4" fmla="*/ 143 w 178"/>
                <a:gd name="T5" fmla="*/ 9 h 330"/>
                <a:gd name="T6" fmla="*/ 159 w 178"/>
                <a:gd name="T7" fmla="*/ 24 h 330"/>
                <a:gd name="T8" fmla="*/ 171 w 178"/>
                <a:gd name="T9" fmla="*/ 42 h 330"/>
                <a:gd name="T10" fmla="*/ 178 w 178"/>
                <a:gd name="T11" fmla="*/ 64 h 330"/>
                <a:gd name="T12" fmla="*/ 177 w 178"/>
                <a:gd name="T13" fmla="*/ 86 h 330"/>
                <a:gd name="T14" fmla="*/ 141 w 178"/>
                <a:gd name="T15" fmla="*/ 274 h 330"/>
                <a:gd name="T16" fmla="*/ 133 w 178"/>
                <a:gd name="T17" fmla="*/ 295 h 330"/>
                <a:gd name="T18" fmla="*/ 119 w 178"/>
                <a:gd name="T19" fmla="*/ 312 h 330"/>
                <a:gd name="T20" fmla="*/ 100 w 178"/>
                <a:gd name="T21" fmla="*/ 324 h 330"/>
                <a:gd name="T22" fmla="*/ 80 w 178"/>
                <a:gd name="T23" fmla="*/ 330 h 330"/>
                <a:gd name="T24" fmla="*/ 56 w 178"/>
                <a:gd name="T25" fmla="*/ 330 h 330"/>
                <a:gd name="T26" fmla="*/ 50 w 178"/>
                <a:gd name="T27" fmla="*/ 327 h 330"/>
                <a:gd name="T28" fmla="*/ 44 w 178"/>
                <a:gd name="T29" fmla="*/ 326 h 330"/>
                <a:gd name="T30" fmla="*/ 28 w 178"/>
                <a:gd name="T31" fmla="*/ 315 h 330"/>
                <a:gd name="T32" fmla="*/ 13 w 178"/>
                <a:gd name="T33" fmla="*/ 302 h 330"/>
                <a:gd name="T34" fmla="*/ 4 w 178"/>
                <a:gd name="T35" fmla="*/ 284 h 330"/>
                <a:gd name="T36" fmla="*/ 0 w 178"/>
                <a:gd name="T37" fmla="*/ 265 h 330"/>
                <a:gd name="T38" fmla="*/ 2 w 178"/>
                <a:gd name="T39" fmla="*/ 245 h 330"/>
                <a:gd name="T40" fmla="*/ 35 w 178"/>
                <a:gd name="T41" fmla="*/ 56 h 330"/>
                <a:gd name="T42" fmla="*/ 44 w 178"/>
                <a:gd name="T43" fmla="*/ 36 h 330"/>
                <a:gd name="T44" fmla="*/ 59 w 178"/>
                <a:gd name="T45" fmla="*/ 18 h 330"/>
                <a:gd name="T46" fmla="*/ 77 w 178"/>
                <a:gd name="T47" fmla="*/ 6 h 330"/>
                <a:gd name="T48" fmla="*/ 99 w 178"/>
                <a:gd name="T4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330">
                  <a:moveTo>
                    <a:pt x="99" y="0"/>
                  </a:moveTo>
                  <a:lnTo>
                    <a:pt x="121" y="2"/>
                  </a:lnTo>
                  <a:lnTo>
                    <a:pt x="143" y="9"/>
                  </a:lnTo>
                  <a:lnTo>
                    <a:pt x="159" y="24"/>
                  </a:lnTo>
                  <a:lnTo>
                    <a:pt x="171" y="42"/>
                  </a:lnTo>
                  <a:lnTo>
                    <a:pt x="178" y="64"/>
                  </a:lnTo>
                  <a:lnTo>
                    <a:pt x="177" y="86"/>
                  </a:lnTo>
                  <a:lnTo>
                    <a:pt x="141" y="274"/>
                  </a:lnTo>
                  <a:lnTo>
                    <a:pt x="133" y="295"/>
                  </a:lnTo>
                  <a:lnTo>
                    <a:pt x="119" y="312"/>
                  </a:lnTo>
                  <a:lnTo>
                    <a:pt x="100" y="324"/>
                  </a:lnTo>
                  <a:lnTo>
                    <a:pt x="80" y="330"/>
                  </a:lnTo>
                  <a:lnTo>
                    <a:pt x="56" y="330"/>
                  </a:lnTo>
                  <a:lnTo>
                    <a:pt x="50" y="327"/>
                  </a:lnTo>
                  <a:lnTo>
                    <a:pt x="44" y="326"/>
                  </a:lnTo>
                  <a:lnTo>
                    <a:pt x="28" y="315"/>
                  </a:lnTo>
                  <a:lnTo>
                    <a:pt x="13" y="302"/>
                  </a:lnTo>
                  <a:lnTo>
                    <a:pt x="4" y="284"/>
                  </a:lnTo>
                  <a:lnTo>
                    <a:pt x="0" y="265"/>
                  </a:lnTo>
                  <a:lnTo>
                    <a:pt x="2" y="245"/>
                  </a:lnTo>
                  <a:lnTo>
                    <a:pt x="35" y="56"/>
                  </a:lnTo>
                  <a:lnTo>
                    <a:pt x="44" y="36"/>
                  </a:lnTo>
                  <a:lnTo>
                    <a:pt x="59" y="18"/>
                  </a:lnTo>
                  <a:lnTo>
                    <a:pt x="77" y="6"/>
                  </a:lnTo>
                  <a:lnTo>
                    <a:pt x="99" y="0"/>
                  </a:lnTo>
                  <a:close/>
                </a:path>
              </a:pathLst>
            </a:custGeom>
            <a:solidFill>
              <a:srgbClr val="4D3713"/>
            </a:solidFill>
            <a:ln w="0">
              <a:solidFill>
                <a:srgbClr val="4D3713"/>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1" name="Freeform 84"/>
            <p:cNvSpPr>
              <a:spLocks/>
            </p:cNvSpPr>
            <p:nvPr/>
          </p:nvSpPr>
          <p:spPr bwMode="auto">
            <a:xfrm>
              <a:off x="6004398" y="4132072"/>
              <a:ext cx="205526" cy="377596"/>
            </a:xfrm>
            <a:custGeom>
              <a:avLst/>
              <a:gdLst>
                <a:gd name="T0" fmla="*/ 94 w 171"/>
                <a:gd name="T1" fmla="*/ 0 h 317"/>
                <a:gd name="T2" fmla="*/ 116 w 171"/>
                <a:gd name="T3" fmla="*/ 0 h 317"/>
                <a:gd name="T4" fmla="*/ 137 w 171"/>
                <a:gd name="T5" fmla="*/ 9 h 317"/>
                <a:gd name="T6" fmla="*/ 154 w 171"/>
                <a:gd name="T7" fmla="*/ 23 h 317"/>
                <a:gd name="T8" fmla="*/ 165 w 171"/>
                <a:gd name="T9" fmla="*/ 40 h 317"/>
                <a:gd name="T10" fmla="*/ 171 w 171"/>
                <a:gd name="T11" fmla="*/ 61 h 317"/>
                <a:gd name="T12" fmla="*/ 171 w 171"/>
                <a:gd name="T13" fmla="*/ 83 h 317"/>
                <a:gd name="T14" fmla="*/ 137 w 171"/>
                <a:gd name="T15" fmla="*/ 262 h 317"/>
                <a:gd name="T16" fmla="*/ 128 w 171"/>
                <a:gd name="T17" fmla="*/ 283 h 317"/>
                <a:gd name="T18" fmla="*/ 115 w 171"/>
                <a:gd name="T19" fmla="*/ 301 h 317"/>
                <a:gd name="T20" fmla="*/ 97 w 171"/>
                <a:gd name="T21" fmla="*/ 311 h 317"/>
                <a:gd name="T22" fmla="*/ 76 w 171"/>
                <a:gd name="T23" fmla="*/ 317 h 317"/>
                <a:gd name="T24" fmla="*/ 54 w 171"/>
                <a:gd name="T25" fmla="*/ 317 h 317"/>
                <a:gd name="T26" fmla="*/ 44 w 171"/>
                <a:gd name="T27" fmla="*/ 312 h 317"/>
                <a:gd name="T28" fmla="*/ 26 w 171"/>
                <a:gd name="T29" fmla="*/ 304 h 317"/>
                <a:gd name="T30" fmla="*/ 13 w 171"/>
                <a:gd name="T31" fmla="*/ 290 h 317"/>
                <a:gd name="T32" fmla="*/ 4 w 171"/>
                <a:gd name="T33" fmla="*/ 273 h 317"/>
                <a:gd name="T34" fmla="*/ 0 w 171"/>
                <a:gd name="T35" fmla="*/ 255 h 317"/>
                <a:gd name="T36" fmla="*/ 1 w 171"/>
                <a:gd name="T37" fmla="*/ 234 h 317"/>
                <a:gd name="T38" fmla="*/ 35 w 171"/>
                <a:gd name="T39" fmla="*/ 55 h 317"/>
                <a:gd name="T40" fmla="*/ 42 w 171"/>
                <a:gd name="T41" fmla="*/ 34 h 317"/>
                <a:gd name="T42" fmla="*/ 57 w 171"/>
                <a:gd name="T43" fmla="*/ 17 h 317"/>
                <a:gd name="T44" fmla="*/ 75 w 171"/>
                <a:gd name="T45" fmla="*/ 6 h 317"/>
                <a:gd name="T46" fmla="*/ 94 w 171"/>
                <a:gd name="T4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317">
                  <a:moveTo>
                    <a:pt x="94" y="0"/>
                  </a:moveTo>
                  <a:lnTo>
                    <a:pt x="116" y="0"/>
                  </a:lnTo>
                  <a:lnTo>
                    <a:pt x="137" y="9"/>
                  </a:lnTo>
                  <a:lnTo>
                    <a:pt x="154" y="23"/>
                  </a:lnTo>
                  <a:lnTo>
                    <a:pt x="165" y="40"/>
                  </a:lnTo>
                  <a:lnTo>
                    <a:pt x="171" y="61"/>
                  </a:lnTo>
                  <a:lnTo>
                    <a:pt x="171" y="83"/>
                  </a:lnTo>
                  <a:lnTo>
                    <a:pt x="137" y="262"/>
                  </a:lnTo>
                  <a:lnTo>
                    <a:pt x="128" y="283"/>
                  </a:lnTo>
                  <a:lnTo>
                    <a:pt x="115" y="301"/>
                  </a:lnTo>
                  <a:lnTo>
                    <a:pt x="97" y="311"/>
                  </a:lnTo>
                  <a:lnTo>
                    <a:pt x="76" y="317"/>
                  </a:lnTo>
                  <a:lnTo>
                    <a:pt x="54" y="317"/>
                  </a:lnTo>
                  <a:lnTo>
                    <a:pt x="44" y="312"/>
                  </a:lnTo>
                  <a:lnTo>
                    <a:pt x="26" y="304"/>
                  </a:lnTo>
                  <a:lnTo>
                    <a:pt x="13" y="290"/>
                  </a:lnTo>
                  <a:lnTo>
                    <a:pt x="4" y="273"/>
                  </a:lnTo>
                  <a:lnTo>
                    <a:pt x="0" y="255"/>
                  </a:lnTo>
                  <a:lnTo>
                    <a:pt x="1" y="234"/>
                  </a:lnTo>
                  <a:lnTo>
                    <a:pt x="35" y="55"/>
                  </a:lnTo>
                  <a:lnTo>
                    <a:pt x="42" y="34"/>
                  </a:lnTo>
                  <a:lnTo>
                    <a:pt x="57" y="17"/>
                  </a:lnTo>
                  <a:lnTo>
                    <a:pt x="75" y="6"/>
                  </a:lnTo>
                  <a:lnTo>
                    <a:pt x="94" y="0"/>
                  </a:lnTo>
                  <a:close/>
                </a:path>
              </a:pathLst>
            </a:custGeom>
            <a:solidFill>
              <a:srgbClr val="4D3713"/>
            </a:solidFill>
            <a:ln w="0">
              <a:solidFill>
                <a:srgbClr val="4D3713"/>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2" name="Freeform 85"/>
            <p:cNvSpPr>
              <a:spLocks/>
            </p:cNvSpPr>
            <p:nvPr/>
          </p:nvSpPr>
          <p:spPr bwMode="auto">
            <a:xfrm>
              <a:off x="6143009" y="4218108"/>
              <a:ext cx="184019" cy="341748"/>
            </a:xfrm>
            <a:custGeom>
              <a:avLst/>
              <a:gdLst>
                <a:gd name="T0" fmla="*/ 85 w 154"/>
                <a:gd name="T1" fmla="*/ 0 h 285"/>
                <a:gd name="T2" fmla="*/ 104 w 154"/>
                <a:gd name="T3" fmla="*/ 0 h 285"/>
                <a:gd name="T4" fmla="*/ 123 w 154"/>
                <a:gd name="T5" fmla="*/ 7 h 285"/>
                <a:gd name="T6" fmla="*/ 138 w 154"/>
                <a:gd name="T7" fmla="*/ 20 h 285"/>
                <a:gd name="T8" fmla="*/ 148 w 154"/>
                <a:gd name="T9" fmla="*/ 35 h 285"/>
                <a:gd name="T10" fmla="*/ 154 w 154"/>
                <a:gd name="T11" fmla="*/ 54 h 285"/>
                <a:gd name="T12" fmla="*/ 153 w 154"/>
                <a:gd name="T13" fmla="*/ 73 h 285"/>
                <a:gd name="T14" fmla="*/ 122 w 154"/>
                <a:gd name="T15" fmla="*/ 237 h 285"/>
                <a:gd name="T16" fmla="*/ 116 w 154"/>
                <a:gd name="T17" fmla="*/ 256 h 285"/>
                <a:gd name="T18" fmla="*/ 103 w 154"/>
                <a:gd name="T19" fmla="*/ 270 h 285"/>
                <a:gd name="T20" fmla="*/ 88 w 154"/>
                <a:gd name="T21" fmla="*/ 281 h 285"/>
                <a:gd name="T22" fmla="*/ 69 w 154"/>
                <a:gd name="T23" fmla="*/ 285 h 285"/>
                <a:gd name="T24" fmla="*/ 48 w 154"/>
                <a:gd name="T25" fmla="*/ 285 h 285"/>
                <a:gd name="T26" fmla="*/ 39 w 154"/>
                <a:gd name="T27" fmla="*/ 282 h 285"/>
                <a:gd name="T28" fmla="*/ 20 w 154"/>
                <a:gd name="T29" fmla="*/ 270 h 285"/>
                <a:gd name="T30" fmla="*/ 7 w 154"/>
                <a:gd name="T31" fmla="*/ 254 h 285"/>
                <a:gd name="T32" fmla="*/ 0 w 154"/>
                <a:gd name="T33" fmla="*/ 234 h 285"/>
                <a:gd name="T34" fmla="*/ 1 w 154"/>
                <a:gd name="T35" fmla="*/ 211 h 285"/>
                <a:gd name="T36" fmla="*/ 30 w 154"/>
                <a:gd name="T37" fmla="*/ 48 h 285"/>
                <a:gd name="T38" fmla="*/ 38 w 154"/>
                <a:gd name="T39" fmla="*/ 30 h 285"/>
                <a:gd name="T40" fmla="*/ 50 w 154"/>
                <a:gd name="T41" fmla="*/ 14 h 285"/>
                <a:gd name="T42" fmla="*/ 66 w 154"/>
                <a:gd name="T43" fmla="*/ 4 h 285"/>
                <a:gd name="T44" fmla="*/ 85 w 154"/>
                <a:gd name="T45"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4" h="285">
                  <a:moveTo>
                    <a:pt x="85" y="0"/>
                  </a:moveTo>
                  <a:lnTo>
                    <a:pt x="104" y="0"/>
                  </a:lnTo>
                  <a:lnTo>
                    <a:pt x="123" y="7"/>
                  </a:lnTo>
                  <a:lnTo>
                    <a:pt x="138" y="20"/>
                  </a:lnTo>
                  <a:lnTo>
                    <a:pt x="148" y="35"/>
                  </a:lnTo>
                  <a:lnTo>
                    <a:pt x="154" y="54"/>
                  </a:lnTo>
                  <a:lnTo>
                    <a:pt x="153" y="73"/>
                  </a:lnTo>
                  <a:lnTo>
                    <a:pt x="122" y="237"/>
                  </a:lnTo>
                  <a:lnTo>
                    <a:pt x="116" y="256"/>
                  </a:lnTo>
                  <a:lnTo>
                    <a:pt x="103" y="270"/>
                  </a:lnTo>
                  <a:lnTo>
                    <a:pt x="88" y="281"/>
                  </a:lnTo>
                  <a:lnTo>
                    <a:pt x="69" y="285"/>
                  </a:lnTo>
                  <a:lnTo>
                    <a:pt x="48" y="285"/>
                  </a:lnTo>
                  <a:lnTo>
                    <a:pt x="39" y="282"/>
                  </a:lnTo>
                  <a:lnTo>
                    <a:pt x="20" y="270"/>
                  </a:lnTo>
                  <a:lnTo>
                    <a:pt x="7" y="254"/>
                  </a:lnTo>
                  <a:lnTo>
                    <a:pt x="0" y="234"/>
                  </a:lnTo>
                  <a:lnTo>
                    <a:pt x="1" y="211"/>
                  </a:lnTo>
                  <a:lnTo>
                    <a:pt x="30" y="48"/>
                  </a:lnTo>
                  <a:lnTo>
                    <a:pt x="38" y="30"/>
                  </a:lnTo>
                  <a:lnTo>
                    <a:pt x="50" y="14"/>
                  </a:lnTo>
                  <a:lnTo>
                    <a:pt x="66" y="4"/>
                  </a:lnTo>
                  <a:lnTo>
                    <a:pt x="85" y="0"/>
                  </a:lnTo>
                  <a:close/>
                </a:path>
              </a:pathLst>
            </a:custGeom>
            <a:solidFill>
              <a:srgbClr val="4D3713"/>
            </a:solidFill>
            <a:ln w="0">
              <a:solidFill>
                <a:srgbClr val="4D3713"/>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3" name="Freeform 86"/>
            <p:cNvSpPr>
              <a:spLocks/>
            </p:cNvSpPr>
            <p:nvPr/>
          </p:nvSpPr>
          <p:spPr bwMode="auto">
            <a:xfrm>
              <a:off x="5717617" y="4012580"/>
              <a:ext cx="181628" cy="344137"/>
            </a:xfrm>
            <a:custGeom>
              <a:avLst/>
              <a:gdLst>
                <a:gd name="T0" fmla="*/ 84 w 153"/>
                <a:gd name="T1" fmla="*/ 0 h 287"/>
                <a:gd name="T2" fmla="*/ 105 w 153"/>
                <a:gd name="T3" fmla="*/ 2 h 287"/>
                <a:gd name="T4" fmla="*/ 122 w 153"/>
                <a:gd name="T5" fmla="*/ 8 h 287"/>
                <a:gd name="T6" fmla="*/ 139 w 153"/>
                <a:gd name="T7" fmla="*/ 21 h 287"/>
                <a:gd name="T8" fmla="*/ 149 w 153"/>
                <a:gd name="T9" fmla="*/ 37 h 287"/>
                <a:gd name="T10" fmla="*/ 153 w 153"/>
                <a:gd name="T11" fmla="*/ 55 h 287"/>
                <a:gd name="T12" fmla="*/ 153 w 153"/>
                <a:gd name="T13" fmla="*/ 75 h 287"/>
                <a:gd name="T14" fmla="*/ 122 w 153"/>
                <a:gd name="T15" fmla="*/ 237 h 287"/>
                <a:gd name="T16" fmla="*/ 115 w 153"/>
                <a:gd name="T17" fmla="*/ 256 h 287"/>
                <a:gd name="T18" fmla="*/ 103 w 153"/>
                <a:gd name="T19" fmla="*/ 271 h 287"/>
                <a:gd name="T20" fmla="*/ 87 w 153"/>
                <a:gd name="T21" fmla="*/ 281 h 287"/>
                <a:gd name="T22" fmla="*/ 68 w 153"/>
                <a:gd name="T23" fmla="*/ 287 h 287"/>
                <a:gd name="T24" fmla="*/ 49 w 153"/>
                <a:gd name="T25" fmla="*/ 286 h 287"/>
                <a:gd name="T26" fmla="*/ 38 w 153"/>
                <a:gd name="T27" fmla="*/ 283 h 287"/>
                <a:gd name="T28" fmla="*/ 19 w 153"/>
                <a:gd name="T29" fmla="*/ 271 h 287"/>
                <a:gd name="T30" fmla="*/ 6 w 153"/>
                <a:gd name="T31" fmla="*/ 255 h 287"/>
                <a:gd name="T32" fmla="*/ 0 w 153"/>
                <a:gd name="T33" fmla="*/ 234 h 287"/>
                <a:gd name="T34" fmla="*/ 0 w 153"/>
                <a:gd name="T35" fmla="*/ 212 h 287"/>
                <a:gd name="T36" fmla="*/ 31 w 153"/>
                <a:gd name="T37" fmla="*/ 49 h 287"/>
                <a:gd name="T38" fmla="*/ 38 w 153"/>
                <a:gd name="T39" fmla="*/ 31 h 287"/>
                <a:gd name="T40" fmla="*/ 50 w 153"/>
                <a:gd name="T41" fmla="*/ 17 h 287"/>
                <a:gd name="T42" fmla="*/ 66 w 153"/>
                <a:gd name="T43" fmla="*/ 5 h 287"/>
                <a:gd name="T44" fmla="*/ 84 w 153"/>
                <a:gd name="T4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287">
                  <a:moveTo>
                    <a:pt x="84" y="0"/>
                  </a:moveTo>
                  <a:lnTo>
                    <a:pt x="105" y="2"/>
                  </a:lnTo>
                  <a:lnTo>
                    <a:pt x="122" y="8"/>
                  </a:lnTo>
                  <a:lnTo>
                    <a:pt x="139" y="21"/>
                  </a:lnTo>
                  <a:lnTo>
                    <a:pt x="149" y="37"/>
                  </a:lnTo>
                  <a:lnTo>
                    <a:pt x="153" y="55"/>
                  </a:lnTo>
                  <a:lnTo>
                    <a:pt x="153" y="75"/>
                  </a:lnTo>
                  <a:lnTo>
                    <a:pt x="122" y="237"/>
                  </a:lnTo>
                  <a:lnTo>
                    <a:pt x="115" y="256"/>
                  </a:lnTo>
                  <a:lnTo>
                    <a:pt x="103" y="271"/>
                  </a:lnTo>
                  <a:lnTo>
                    <a:pt x="87" y="281"/>
                  </a:lnTo>
                  <a:lnTo>
                    <a:pt x="68" y="287"/>
                  </a:lnTo>
                  <a:lnTo>
                    <a:pt x="49" y="286"/>
                  </a:lnTo>
                  <a:lnTo>
                    <a:pt x="38" y="283"/>
                  </a:lnTo>
                  <a:lnTo>
                    <a:pt x="19" y="271"/>
                  </a:lnTo>
                  <a:lnTo>
                    <a:pt x="6" y="255"/>
                  </a:lnTo>
                  <a:lnTo>
                    <a:pt x="0" y="234"/>
                  </a:lnTo>
                  <a:lnTo>
                    <a:pt x="0" y="212"/>
                  </a:lnTo>
                  <a:lnTo>
                    <a:pt x="31" y="49"/>
                  </a:lnTo>
                  <a:lnTo>
                    <a:pt x="38" y="31"/>
                  </a:lnTo>
                  <a:lnTo>
                    <a:pt x="50" y="17"/>
                  </a:lnTo>
                  <a:lnTo>
                    <a:pt x="66" y="5"/>
                  </a:lnTo>
                  <a:lnTo>
                    <a:pt x="84" y="0"/>
                  </a:lnTo>
                  <a:close/>
                </a:path>
              </a:pathLst>
            </a:custGeom>
            <a:solidFill>
              <a:srgbClr val="4D3713"/>
            </a:solidFill>
            <a:ln w="0">
              <a:solidFill>
                <a:srgbClr val="4D3713"/>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4" name="Freeform 87"/>
            <p:cNvSpPr>
              <a:spLocks noEditPoints="1"/>
            </p:cNvSpPr>
            <p:nvPr/>
          </p:nvSpPr>
          <p:spPr bwMode="auto">
            <a:xfrm>
              <a:off x="5459513" y="2798539"/>
              <a:ext cx="272442" cy="265273"/>
            </a:xfrm>
            <a:custGeom>
              <a:avLst/>
              <a:gdLst>
                <a:gd name="T0" fmla="*/ 208 w 228"/>
                <a:gd name="T1" fmla="*/ 179 h 223"/>
                <a:gd name="T2" fmla="*/ 228 w 228"/>
                <a:gd name="T3" fmla="*/ 204 h 223"/>
                <a:gd name="T4" fmla="*/ 203 w 228"/>
                <a:gd name="T5" fmla="*/ 223 h 223"/>
                <a:gd name="T6" fmla="*/ 183 w 228"/>
                <a:gd name="T7" fmla="*/ 198 h 223"/>
                <a:gd name="T8" fmla="*/ 208 w 228"/>
                <a:gd name="T9" fmla="*/ 179 h 223"/>
                <a:gd name="T10" fmla="*/ 165 w 228"/>
                <a:gd name="T11" fmla="*/ 129 h 223"/>
                <a:gd name="T12" fmla="*/ 181 w 228"/>
                <a:gd name="T13" fmla="*/ 146 h 223"/>
                <a:gd name="T14" fmla="*/ 187 w 228"/>
                <a:gd name="T15" fmla="*/ 154 h 223"/>
                <a:gd name="T16" fmla="*/ 162 w 228"/>
                <a:gd name="T17" fmla="*/ 173 h 223"/>
                <a:gd name="T18" fmla="*/ 159 w 228"/>
                <a:gd name="T19" fmla="*/ 168 h 223"/>
                <a:gd name="T20" fmla="*/ 142 w 228"/>
                <a:gd name="T21" fmla="*/ 151 h 223"/>
                <a:gd name="T22" fmla="*/ 165 w 228"/>
                <a:gd name="T23" fmla="*/ 129 h 223"/>
                <a:gd name="T24" fmla="*/ 118 w 228"/>
                <a:gd name="T25" fmla="*/ 83 h 223"/>
                <a:gd name="T26" fmla="*/ 133 w 228"/>
                <a:gd name="T27" fmla="*/ 95 h 223"/>
                <a:gd name="T28" fmla="*/ 143 w 228"/>
                <a:gd name="T29" fmla="*/ 105 h 223"/>
                <a:gd name="T30" fmla="*/ 119 w 228"/>
                <a:gd name="T31" fmla="*/ 127 h 223"/>
                <a:gd name="T32" fmla="*/ 111 w 228"/>
                <a:gd name="T33" fmla="*/ 117 h 223"/>
                <a:gd name="T34" fmla="*/ 97 w 228"/>
                <a:gd name="T35" fmla="*/ 106 h 223"/>
                <a:gd name="T36" fmla="*/ 118 w 228"/>
                <a:gd name="T37" fmla="*/ 83 h 223"/>
                <a:gd name="T38" fmla="*/ 69 w 228"/>
                <a:gd name="T39" fmla="*/ 39 h 223"/>
                <a:gd name="T40" fmla="*/ 78 w 228"/>
                <a:gd name="T41" fmla="*/ 46 h 223"/>
                <a:gd name="T42" fmla="*/ 94 w 228"/>
                <a:gd name="T43" fmla="*/ 61 h 223"/>
                <a:gd name="T44" fmla="*/ 74 w 228"/>
                <a:gd name="T45" fmla="*/ 84 h 223"/>
                <a:gd name="T46" fmla="*/ 56 w 228"/>
                <a:gd name="T47" fmla="*/ 68 h 223"/>
                <a:gd name="T48" fmla="*/ 52 w 228"/>
                <a:gd name="T49" fmla="*/ 65 h 223"/>
                <a:gd name="T50" fmla="*/ 69 w 228"/>
                <a:gd name="T51" fmla="*/ 39 h 223"/>
                <a:gd name="T52" fmla="*/ 18 w 228"/>
                <a:gd name="T53" fmla="*/ 0 h 223"/>
                <a:gd name="T54" fmla="*/ 43 w 228"/>
                <a:gd name="T55" fmla="*/ 20 h 223"/>
                <a:gd name="T56" fmla="*/ 25 w 228"/>
                <a:gd name="T57" fmla="*/ 46 h 223"/>
                <a:gd name="T58" fmla="*/ 0 w 228"/>
                <a:gd name="T59" fmla="*/ 27 h 223"/>
                <a:gd name="T60" fmla="*/ 18 w 228"/>
                <a:gd name="T6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8" h="223">
                  <a:moveTo>
                    <a:pt x="208" y="179"/>
                  </a:moveTo>
                  <a:lnTo>
                    <a:pt x="228" y="204"/>
                  </a:lnTo>
                  <a:lnTo>
                    <a:pt x="203" y="223"/>
                  </a:lnTo>
                  <a:lnTo>
                    <a:pt x="183" y="198"/>
                  </a:lnTo>
                  <a:lnTo>
                    <a:pt x="208" y="179"/>
                  </a:lnTo>
                  <a:close/>
                  <a:moveTo>
                    <a:pt x="165" y="129"/>
                  </a:moveTo>
                  <a:lnTo>
                    <a:pt x="181" y="146"/>
                  </a:lnTo>
                  <a:lnTo>
                    <a:pt x="187" y="154"/>
                  </a:lnTo>
                  <a:lnTo>
                    <a:pt x="162" y="173"/>
                  </a:lnTo>
                  <a:lnTo>
                    <a:pt x="159" y="168"/>
                  </a:lnTo>
                  <a:lnTo>
                    <a:pt x="142" y="151"/>
                  </a:lnTo>
                  <a:lnTo>
                    <a:pt x="165" y="129"/>
                  </a:lnTo>
                  <a:close/>
                  <a:moveTo>
                    <a:pt x="118" y="83"/>
                  </a:moveTo>
                  <a:lnTo>
                    <a:pt x="133" y="95"/>
                  </a:lnTo>
                  <a:lnTo>
                    <a:pt x="143" y="105"/>
                  </a:lnTo>
                  <a:lnTo>
                    <a:pt x="119" y="127"/>
                  </a:lnTo>
                  <a:lnTo>
                    <a:pt x="111" y="117"/>
                  </a:lnTo>
                  <a:lnTo>
                    <a:pt x="97" y="106"/>
                  </a:lnTo>
                  <a:lnTo>
                    <a:pt x="118" y="83"/>
                  </a:lnTo>
                  <a:close/>
                  <a:moveTo>
                    <a:pt x="69" y="39"/>
                  </a:moveTo>
                  <a:lnTo>
                    <a:pt x="78" y="46"/>
                  </a:lnTo>
                  <a:lnTo>
                    <a:pt x="94" y="61"/>
                  </a:lnTo>
                  <a:lnTo>
                    <a:pt x="74" y="84"/>
                  </a:lnTo>
                  <a:lnTo>
                    <a:pt x="56" y="68"/>
                  </a:lnTo>
                  <a:lnTo>
                    <a:pt x="52" y="65"/>
                  </a:lnTo>
                  <a:lnTo>
                    <a:pt x="69" y="39"/>
                  </a:lnTo>
                  <a:close/>
                  <a:moveTo>
                    <a:pt x="18" y="0"/>
                  </a:moveTo>
                  <a:lnTo>
                    <a:pt x="43" y="20"/>
                  </a:lnTo>
                  <a:lnTo>
                    <a:pt x="25" y="46"/>
                  </a:lnTo>
                  <a:lnTo>
                    <a:pt x="0" y="27"/>
                  </a:lnTo>
                  <a:lnTo>
                    <a:pt x="18"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5" name="Freeform 88"/>
            <p:cNvSpPr>
              <a:spLocks/>
            </p:cNvSpPr>
            <p:nvPr/>
          </p:nvSpPr>
          <p:spPr bwMode="auto">
            <a:xfrm>
              <a:off x="3898946" y="2583451"/>
              <a:ext cx="1582077" cy="470800"/>
            </a:xfrm>
            <a:custGeom>
              <a:avLst/>
              <a:gdLst>
                <a:gd name="T0" fmla="*/ 801 w 1324"/>
                <a:gd name="T1" fmla="*/ 0 h 394"/>
                <a:gd name="T2" fmla="*/ 935 w 1324"/>
                <a:gd name="T3" fmla="*/ 15 h 394"/>
                <a:gd name="T4" fmla="*/ 987 w 1324"/>
                <a:gd name="T5" fmla="*/ 26 h 394"/>
                <a:gd name="T6" fmla="*/ 1073 w 1324"/>
                <a:gd name="T7" fmla="*/ 51 h 394"/>
                <a:gd name="T8" fmla="*/ 1159 w 1324"/>
                <a:gd name="T9" fmla="*/ 84 h 394"/>
                <a:gd name="T10" fmla="*/ 1241 w 1324"/>
                <a:gd name="T11" fmla="*/ 127 h 394"/>
                <a:gd name="T12" fmla="*/ 1287 w 1324"/>
                <a:gd name="T13" fmla="*/ 154 h 394"/>
                <a:gd name="T14" fmla="*/ 1306 w 1324"/>
                <a:gd name="T15" fmla="*/ 206 h 394"/>
                <a:gd name="T16" fmla="*/ 1263 w 1324"/>
                <a:gd name="T17" fmla="*/ 178 h 394"/>
                <a:gd name="T18" fmla="*/ 1187 w 1324"/>
                <a:gd name="T19" fmla="*/ 134 h 394"/>
                <a:gd name="T20" fmla="*/ 1103 w 1324"/>
                <a:gd name="T21" fmla="*/ 96 h 394"/>
                <a:gd name="T22" fmla="*/ 1016 w 1324"/>
                <a:gd name="T23" fmla="*/ 66 h 394"/>
                <a:gd name="T24" fmla="*/ 935 w 1324"/>
                <a:gd name="T25" fmla="*/ 47 h 394"/>
                <a:gd name="T26" fmla="*/ 847 w 1324"/>
                <a:gd name="T27" fmla="*/ 35 h 394"/>
                <a:gd name="T28" fmla="*/ 757 w 1324"/>
                <a:gd name="T29" fmla="*/ 32 h 394"/>
                <a:gd name="T30" fmla="*/ 668 w 1324"/>
                <a:gd name="T31" fmla="*/ 37 h 394"/>
                <a:gd name="T32" fmla="*/ 580 w 1324"/>
                <a:gd name="T33" fmla="*/ 50 h 394"/>
                <a:gd name="T34" fmla="*/ 543 w 1324"/>
                <a:gd name="T35" fmla="*/ 59 h 394"/>
                <a:gd name="T36" fmla="*/ 458 w 1324"/>
                <a:gd name="T37" fmla="*/ 84 h 394"/>
                <a:gd name="T38" fmla="*/ 374 w 1324"/>
                <a:gd name="T39" fmla="*/ 116 h 394"/>
                <a:gd name="T40" fmla="*/ 256 w 1324"/>
                <a:gd name="T41" fmla="*/ 181 h 394"/>
                <a:gd name="T42" fmla="*/ 224 w 1324"/>
                <a:gd name="T43" fmla="*/ 203 h 394"/>
                <a:gd name="T44" fmla="*/ 152 w 1324"/>
                <a:gd name="T45" fmla="*/ 260 h 394"/>
                <a:gd name="T46" fmla="*/ 85 w 1324"/>
                <a:gd name="T47" fmla="*/ 324 h 394"/>
                <a:gd name="T48" fmla="*/ 25 w 1324"/>
                <a:gd name="T49" fmla="*/ 394 h 394"/>
                <a:gd name="T50" fmla="*/ 29 w 1324"/>
                <a:gd name="T51" fmla="*/ 335 h 394"/>
                <a:gd name="T52" fmla="*/ 94 w 1324"/>
                <a:gd name="T53" fmla="*/ 268 h 394"/>
                <a:gd name="T54" fmla="*/ 163 w 1324"/>
                <a:gd name="T55" fmla="*/ 207 h 394"/>
                <a:gd name="T56" fmla="*/ 205 w 1324"/>
                <a:gd name="T57" fmla="*/ 177 h 394"/>
                <a:gd name="T58" fmla="*/ 281 w 1324"/>
                <a:gd name="T59" fmla="*/ 128 h 394"/>
                <a:gd name="T60" fmla="*/ 402 w 1324"/>
                <a:gd name="T61" fmla="*/ 69 h 394"/>
                <a:gd name="T62" fmla="*/ 486 w 1324"/>
                <a:gd name="T63" fmla="*/ 40 h 394"/>
                <a:gd name="T64" fmla="*/ 573 w 1324"/>
                <a:gd name="T65" fmla="*/ 19 h 394"/>
                <a:gd name="T66" fmla="*/ 624 w 1324"/>
                <a:gd name="T67" fmla="*/ 10 h 394"/>
                <a:gd name="T68" fmla="*/ 713 w 1324"/>
                <a:gd name="T69" fmla="*/ 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4" h="394">
                  <a:moveTo>
                    <a:pt x="757" y="0"/>
                  </a:moveTo>
                  <a:lnTo>
                    <a:pt x="801" y="0"/>
                  </a:lnTo>
                  <a:lnTo>
                    <a:pt x="847" y="3"/>
                  </a:lnTo>
                  <a:lnTo>
                    <a:pt x="935" y="15"/>
                  </a:lnTo>
                  <a:lnTo>
                    <a:pt x="942" y="16"/>
                  </a:lnTo>
                  <a:lnTo>
                    <a:pt x="987" y="26"/>
                  </a:lnTo>
                  <a:lnTo>
                    <a:pt x="1029" y="37"/>
                  </a:lnTo>
                  <a:lnTo>
                    <a:pt x="1073" y="51"/>
                  </a:lnTo>
                  <a:lnTo>
                    <a:pt x="1116" y="66"/>
                  </a:lnTo>
                  <a:lnTo>
                    <a:pt x="1159" y="84"/>
                  </a:lnTo>
                  <a:lnTo>
                    <a:pt x="1200" y="104"/>
                  </a:lnTo>
                  <a:lnTo>
                    <a:pt x="1241" y="127"/>
                  </a:lnTo>
                  <a:lnTo>
                    <a:pt x="1283" y="152"/>
                  </a:lnTo>
                  <a:lnTo>
                    <a:pt x="1287" y="154"/>
                  </a:lnTo>
                  <a:lnTo>
                    <a:pt x="1324" y="179"/>
                  </a:lnTo>
                  <a:lnTo>
                    <a:pt x="1306" y="206"/>
                  </a:lnTo>
                  <a:lnTo>
                    <a:pt x="1263" y="178"/>
                  </a:lnTo>
                  <a:lnTo>
                    <a:pt x="1263" y="178"/>
                  </a:lnTo>
                  <a:lnTo>
                    <a:pt x="1228" y="156"/>
                  </a:lnTo>
                  <a:lnTo>
                    <a:pt x="1187" y="134"/>
                  </a:lnTo>
                  <a:lnTo>
                    <a:pt x="1146" y="113"/>
                  </a:lnTo>
                  <a:lnTo>
                    <a:pt x="1103" y="96"/>
                  </a:lnTo>
                  <a:lnTo>
                    <a:pt x="1060" y="81"/>
                  </a:lnTo>
                  <a:lnTo>
                    <a:pt x="1016" y="66"/>
                  </a:lnTo>
                  <a:lnTo>
                    <a:pt x="973" y="56"/>
                  </a:lnTo>
                  <a:lnTo>
                    <a:pt x="935" y="47"/>
                  </a:lnTo>
                  <a:lnTo>
                    <a:pt x="935" y="47"/>
                  </a:lnTo>
                  <a:lnTo>
                    <a:pt x="847" y="35"/>
                  </a:lnTo>
                  <a:lnTo>
                    <a:pt x="801" y="32"/>
                  </a:lnTo>
                  <a:lnTo>
                    <a:pt x="757" y="32"/>
                  </a:lnTo>
                  <a:lnTo>
                    <a:pt x="713" y="34"/>
                  </a:lnTo>
                  <a:lnTo>
                    <a:pt x="668" y="37"/>
                  </a:lnTo>
                  <a:lnTo>
                    <a:pt x="624" y="43"/>
                  </a:lnTo>
                  <a:lnTo>
                    <a:pt x="580" y="50"/>
                  </a:lnTo>
                  <a:lnTo>
                    <a:pt x="580" y="50"/>
                  </a:lnTo>
                  <a:lnTo>
                    <a:pt x="543" y="59"/>
                  </a:lnTo>
                  <a:lnTo>
                    <a:pt x="499" y="69"/>
                  </a:lnTo>
                  <a:lnTo>
                    <a:pt x="458" y="84"/>
                  </a:lnTo>
                  <a:lnTo>
                    <a:pt x="415" y="99"/>
                  </a:lnTo>
                  <a:lnTo>
                    <a:pt x="374" y="116"/>
                  </a:lnTo>
                  <a:lnTo>
                    <a:pt x="294" y="157"/>
                  </a:lnTo>
                  <a:lnTo>
                    <a:pt x="256" y="181"/>
                  </a:lnTo>
                  <a:lnTo>
                    <a:pt x="224" y="203"/>
                  </a:lnTo>
                  <a:lnTo>
                    <a:pt x="224" y="203"/>
                  </a:lnTo>
                  <a:lnTo>
                    <a:pt x="187" y="231"/>
                  </a:lnTo>
                  <a:lnTo>
                    <a:pt x="152" y="260"/>
                  </a:lnTo>
                  <a:lnTo>
                    <a:pt x="118" y="291"/>
                  </a:lnTo>
                  <a:lnTo>
                    <a:pt x="85" y="324"/>
                  </a:lnTo>
                  <a:lnTo>
                    <a:pt x="53" y="359"/>
                  </a:lnTo>
                  <a:lnTo>
                    <a:pt x="25" y="394"/>
                  </a:lnTo>
                  <a:lnTo>
                    <a:pt x="0" y="375"/>
                  </a:lnTo>
                  <a:lnTo>
                    <a:pt x="29" y="335"/>
                  </a:lnTo>
                  <a:lnTo>
                    <a:pt x="62" y="300"/>
                  </a:lnTo>
                  <a:lnTo>
                    <a:pt x="94" y="268"/>
                  </a:lnTo>
                  <a:lnTo>
                    <a:pt x="128" y="237"/>
                  </a:lnTo>
                  <a:lnTo>
                    <a:pt x="163" y="207"/>
                  </a:lnTo>
                  <a:lnTo>
                    <a:pt x="200" y="179"/>
                  </a:lnTo>
                  <a:lnTo>
                    <a:pt x="205" y="177"/>
                  </a:lnTo>
                  <a:lnTo>
                    <a:pt x="243" y="152"/>
                  </a:lnTo>
                  <a:lnTo>
                    <a:pt x="281" y="128"/>
                  </a:lnTo>
                  <a:lnTo>
                    <a:pt x="361" y="87"/>
                  </a:lnTo>
                  <a:lnTo>
                    <a:pt x="402" y="69"/>
                  </a:lnTo>
                  <a:lnTo>
                    <a:pt x="445" y="54"/>
                  </a:lnTo>
                  <a:lnTo>
                    <a:pt x="486" y="40"/>
                  </a:lnTo>
                  <a:lnTo>
                    <a:pt x="530" y="29"/>
                  </a:lnTo>
                  <a:lnTo>
                    <a:pt x="573" y="19"/>
                  </a:lnTo>
                  <a:lnTo>
                    <a:pt x="580" y="18"/>
                  </a:lnTo>
                  <a:lnTo>
                    <a:pt x="624" y="10"/>
                  </a:lnTo>
                  <a:lnTo>
                    <a:pt x="668" y="4"/>
                  </a:lnTo>
                  <a:lnTo>
                    <a:pt x="713" y="1"/>
                  </a:lnTo>
                  <a:lnTo>
                    <a:pt x="757"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6" name="Freeform 89"/>
            <p:cNvSpPr>
              <a:spLocks/>
            </p:cNvSpPr>
            <p:nvPr/>
          </p:nvSpPr>
          <p:spPr bwMode="auto">
            <a:xfrm>
              <a:off x="3875047" y="2944318"/>
              <a:ext cx="136222" cy="133831"/>
            </a:xfrm>
            <a:custGeom>
              <a:avLst/>
              <a:gdLst>
                <a:gd name="T0" fmla="*/ 28 w 115"/>
                <a:gd name="T1" fmla="*/ 0 h 111"/>
                <a:gd name="T2" fmla="*/ 38 w 115"/>
                <a:gd name="T3" fmla="*/ 75 h 111"/>
                <a:gd name="T4" fmla="*/ 115 w 115"/>
                <a:gd name="T5" fmla="*/ 64 h 111"/>
                <a:gd name="T6" fmla="*/ 87 w 115"/>
                <a:gd name="T7" fmla="*/ 101 h 111"/>
                <a:gd name="T8" fmla="*/ 11 w 115"/>
                <a:gd name="T9" fmla="*/ 111 h 111"/>
                <a:gd name="T10" fmla="*/ 0 w 115"/>
                <a:gd name="T11" fmla="*/ 36 h 111"/>
                <a:gd name="T12" fmla="*/ 28 w 115"/>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115" h="111">
                  <a:moveTo>
                    <a:pt x="28" y="0"/>
                  </a:moveTo>
                  <a:lnTo>
                    <a:pt x="38" y="75"/>
                  </a:lnTo>
                  <a:lnTo>
                    <a:pt x="115" y="64"/>
                  </a:lnTo>
                  <a:lnTo>
                    <a:pt x="87" y="101"/>
                  </a:lnTo>
                  <a:lnTo>
                    <a:pt x="11" y="111"/>
                  </a:lnTo>
                  <a:lnTo>
                    <a:pt x="0" y="36"/>
                  </a:lnTo>
                  <a:lnTo>
                    <a:pt x="28"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7" name="Freeform 90"/>
            <p:cNvSpPr>
              <a:spLocks noEditPoints="1"/>
            </p:cNvSpPr>
            <p:nvPr/>
          </p:nvSpPr>
          <p:spPr bwMode="auto">
            <a:xfrm>
              <a:off x="3901335" y="4550296"/>
              <a:ext cx="272442" cy="262883"/>
            </a:xfrm>
            <a:custGeom>
              <a:avLst/>
              <a:gdLst>
                <a:gd name="T0" fmla="*/ 202 w 227"/>
                <a:gd name="T1" fmla="*/ 175 h 221"/>
                <a:gd name="T2" fmla="*/ 227 w 227"/>
                <a:gd name="T3" fmla="*/ 196 h 221"/>
                <a:gd name="T4" fmla="*/ 209 w 227"/>
                <a:gd name="T5" fmla="*/ 221 h 221"/>
                <a:gd name="T6" fmla="*/ 184 w 227"/>
                <a:gd name="T7" fmla="*/ 200 h 221"/>
                <a:gd name="T8" fmla="*/ 202 w 227"/>
                <a:gd name="T9" fmla="*/ 175 h 221"/>
                <a:gd name="T10" fmla="*/ 153 w 227"/>
                <a:gd name="T11" fmla="*/ 136 h 221"/>
                <a:gd name="T12" fmla="*/ 171 w 227"/>
                <a:gd name="T13" fmla="*/ 152 h 221"/>
                <a:gd name="T14" fmla="*/ 176 w 227"/>
                <a:gd name="T15" fmla="*/ 156 h 221"/>
                <a:gd name="T16" fmla="*/ 159 w 227"/>
                <a:gd name="T17" fmla="*/ 181 h 221"/>
                <a:gd name="T18" fmla="*/ 149 w 227"/>
                <a:gd name="T19" fmla="*/ 174 h 221"/>
                <a:gd name="T20" fmla="*/ 132 w 227"/>
                <a:gd name="T21" fmla="*/ 159 h 221"/>
                <a:gd name="T22" fmla="*/ 153 w 227"/>
                <a:gd name="T23" fmla="*/ 136 h 221"/>
                <a:gd name="T24" fmla="*/ 107 w 227"/>
                <a:gd name="T25" fmla="*/ 93 h 221"/>
                <a:gd name="T26" fmla="*/ 118 w 227"/>
                <a:gd name="T27" fmla="*/ 105 h 221"/>
                <a:gd name="T28" fmla="*/ 129 w 227"/>
                <a:gd name="T29" fmla="*/ 115 h 221"/>
                <a:gd name="T30" fmla="*/ 109 w 227"/>
                <a:gd name="T31" fmla="*/ 139 h 221"/>
                <a:gd name="T32" fmla="*/ 95 w 227"/>
                <a:gd name="T33" fmla="*/ 127 h 221"/>
                <a:gd name="T34" fmla="*/ 84 w 227"/>
                <a:gd name="T35" fmla="*/ 115 h 221"/>
                <a:gd name="T36" fmla="*/ 107 w 227"/>
                <a:gd name="T37" fmla="*/ 93 h 221"/>
                <a:gd name="T38" fmla="*/ 65 w 227"/>
                <a:gd name="T39" fmla="*/ 49 h 221"/>
                <a:gd name="T40" fmla="*/ 68 w 227"/>
                <a:gd name="T41" fmla="*/ 53 h 221"/>
                <a:gd name="T42" fmla="*/ 85 w 227"/>
                <a:gd name="T43" fmla="*/ 71 h 221"/>
                <a:gd name="T44" fmla="*/ 62 w 227"/>
                <a:gd name="T45" fmla="*/ 93 h 221"/>
                <a:gd name="T46" fmla="*/ 45 w 227"/>
                <a:gd name="T47" fmla="*/ 75 h 221"/>
                <a:gd name="T48" fmla="*/ 40 w 227"/>
                <a:gd name="T49" fmla="*/ 68 h 221"/>
                <a:gd name="T50" fmla="*/ 65 w 227"/>
                <a:gd name="T51" fmla="*/ 49 h 221"/>
                <a:gd name="T52" fmla="*/ 25 w 227"/>
                <a:gd name="T53" fmla="*/ 0 h 221"/>
                <a:gd name="T54" fmla="*/ 44 w 227"/>
                <a:gd name="T55" fmla="*/ 24 h 221"/>
                <a:gd name="T56" fmla="*/ 19 w 227"/>
                <a:gd name="T57" fmla="*/ 43 h 221"/>
                <a:gd name="T58" fmla="*/ 0 w 227"/>
                <a:gd name="T59" fmla="*/ 19 h 221"/>
                <a:gd name="T60" fmla="*/ 25 w 227"/>
                <a:gd name="T6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7" h="221">
                  <a:moveTo>
                    <a:pt x="202" y="175"/>
                  </a:moveTo>
                  <a:lnTo>
                    <a:pt x="227" y="196"/>
                  </a:lnTo>
                  <a:lnTo>
                    <a:pt x="209" y="221"/>
                  </a:lnTo>
                  <a:lnTo>
                    <a:pt x="184" y="200"/>
                  </a:lnTo>
                  <a:lnTo>
                    <a:pt x="202" y="175"/>
                  </a:lnTo>
                  <a:close/>
                  <a:moveTo>
                    <a:pt x="153" y="136"/>
                  </a:moveTo>
                  <a:lnTo>
                    <a:pt x="171" y="152"/>
                  </a:lnTo>
                  <a:lnTo>
                    <a:pt x="176" y="156"/>
                  </a:lnTo>
                  <a:lnTo>
                    <a:pt x="159" y="181"/>
                  </a:lnTo>
                  <a:lnTo>
                    <a:pt x="149" y="174"/>
                  </a:lnTo>
                  <a:lnTo>
                    <a:pt x="132" y="159"/>
                  </a:lnTo>
                  <a:lnTo>
                    <a:pt x="153" y="136"/>
                  </a:lnTo>
                  <a:close/>
                  <a:moveTo>
                    <a:pt x="107" y="93"/>
                  </a:moveTo>
                  <a:lnTo>
                    <a:pt x="118" y="105"/>
                  </a:lnTo>
                  <a:lnTo>
                    <a:pt x="129" y="115"/>
                  </a:lnTo>
                  <a:lnTo>
                    <a:pt x="109" y="139"/>
                  </a:lnTo>
                  <a:lnTo>
                    <a:pt x="95" y="127"/>
                  </a:lnTo>
                  <a:lnTo>
                    <a:pt x="84" y="115"/>
                  </a:lnTo>
                  <a:lnTo>
                    <a:pt x="107" y="93"/>
                  </a:lnTo>
                  <a:close/>
                  <a:moveTo>
                    <a:pt x="65" y="49"/>
                  </a:moveTo>
                  <a:lnTo>
                    <a:pt x="68" y="53"/>
                  </a:lnTo>
                  <a:lnTo>
                    <a:pt x="85" y="71"/>
                  </a:lnTo>
                  <a:lnTo>
                    <a:pt x="62" y="93"/>
                  </a:lnTo>
                  <a:lnTo>
                    <a:pt x="45" y="75"/>
                  </a:lnTo>
                  <a:lnTo>
                    <a:pt x="40" y="68"/>
                  </a:lnTo>
                  <a:lnTo>
                    <a:pt x="65" y="49"/>
                  </a:lnTo>
                  <a:close/>
                  <a:moveTo>
                    <a:pt x="25" y="0"/>
                  </a:moveTo>
                  <a:lnTo>
                    <a:pt x="44" y="24"/>
                  </a:lnTo>
                  <a:lnTo>
                    <a:pt x="19" y="43"/>
                  </a:lnTo>
                  <a:lnTo>
                    <a:pt x="0" y="19"/>
                  </a:lnTo>
                  <a:lnTo>
                    <a:pt x="25"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8" name="Freeform 91"/>
            <p:cNvSpPr>
              <a:spLocks/>
            </p:cNvSpPr>
            <p:nvPr/>
          </p:nvSpPr>
          <p:spPr bwMode="auto">
            <a:xfrm>
              <a:off x="4152269" y="4557465"/>
              <a:ext cx="1584467" cy="470800"/>
            </a:xfrm>
            <a:custGeom>
              <a:avLst/>
              <a:gdLst>
                <a:gd name="T0" fmla="*/ 1325 w 1325"/>
                <a:gd name="T1" fmla="*/ 19 h 395"/>
                <a:gd name="T2" fmla="*/ 1262 w 1325"/>
                <a:gd name="T3" fmla="*/ 93 h 395"/>
                <a:gd name="T4" fmla="*/ 1196 w 1325"/>
                <a:gd name="T5" fmla="*/ 158 h 395"/>
                <a:gd name="T6" fmla="*/ 1124 w 1325"/>
                <a:gd name="T7" fmla="*/ 214 h 395"/>
                <a:gd name="T8" fmla="*/ 1043 w 1325"/>
                <a:gd name="T9" fmla="*/ 266 h 395"/>
                <a:gd name="T10" fmla="*/ 922 w 1325"/>
                <a:gd name="T11" fmla="*/ 325 h 395"/>
                <a:gd name="T12" fmla="*/ 838 w 1325"/>
                <a:gd name="T13" fmla="*/ 353 h 395"/>
                <a:gd name="T14" fmla="*/ 751 w 1325"/>
                <a:gd name="T15" fmla="*/ 375 h 395"/>
                <a:gd name="T16" fmla="*/ 701 w 1325"/>
                <a:gd name="T17" fmla="*/ 384 h 395"/>
                <a:gd name="T18" fmla="*/ 611 w 1325"/>
                <a:gd name="T19" fmla="*/ 393 h 395"/>
                <a:gd name="T20" fmla="*/ 523 w 1325"/>
                <a:gd name="T21" fmla="*/ 395 h 395"/>
                <a:gd name="T22" fmla="*/ 389 w 1325"/>
                <a:gd name="T23" fmla="*/ 380 h 395"/>
                <a:gd name="T24" fmla="*/ 294 w 1325"/>
                <a:gd name="T25" fmla="*/ 358 h 395"/>
                <a:gd name="T26" fmla="*/ 208 w 1325"/>
                <a:gd name="T27" fmla="*/ 328 h 395"/>
                <a:gd name="T28" fmla="*/ 124 w 1325"/>
                <a:gd name="T29" fmla="*/ 290 h 395"/>
                <a:gd name="T30" fmla="*/ 41 w 1325"/>
                <a:gd name="T31" fmla="*/ 243 h 395"/>
                <a:gd name="T32" fmla="*/ 0 w 1325"/>
                <a:gd name="T33" fmla="*/ 215 h 395"/>
                <a:gd name="T34" fmla="*/ 60 w 1325"/>
                <a:gd name="T35" fmla="*/ 216 h 395"/>
                <a:gd name="T36" fmla="*/ 96 w 1325"/>
                <a:gd name="T37" fmla="*/ 239 h 395"/>
                <a:gd name="T38" fmla="*/ 178 w 1325"/>
                <a:gd name="T39" fmla="*/ 281 h 395"/>
                <a:gd name="T40" fmla="*/ 264 w 1325"/>
                <a:gd name="T41" fmla="*/ 314 h 395"/>
                <a:gd name="T42" fmla="*/ 392 w 1325"/>
                <a:gd name="T43" fmla="*/ 347 h 395"/>
                <a:gd name="T44" fmla="*/ 523 w 1325"/>
                <a:gd name="T45" fmla="*/ 362 h 395"/>
                <a:gd name="T46" fmla="*/ 611 w 1325"/>
                <a:gd name="T47" fmla="*/ 361 h 395"/>
                <a:gd name="T48" fmla="*/ 701 w 1325"/>
                <a:gd name="T49" fmla="*/ 352 h 395"/>
                <a:gd name="T50" fmla="*/ 744 w 1325"/>
                <a:gd name="T51" fmla="*/ 344 h 395"/>
                <a:gd name="T52" fmla="*/ 825 w 1325"/>
                <a:gd name="T53" fmla="*/ 324 h 395"/>
                <a:gd name="T54" fmla="*/ 909 w 1325"/>
                <a:gd name="T55" fmla="*/ 296 h 395"/>
                <a:gd name="T56" fmla="*/ 1029 w 1325"/>
                <a:gd name="T57" fmla="*/ 237 h 395"/>
                <a:gd name="T58" fmla="*/ 1100 w 1325"/>
                <a:gd name="T59" fmla="*/ 190 h 395"/>
                <a:gd name="T60" fmla="*/ 1172 w 1325"/>
                <a:gd name="T61" fmla="*/ 134 h 395"/>
                <a:gd name="T62" fmla="*/ 1238 w 1325"/>
                <a:gd name="T63" fmla="*/ 69 h 395"/>
                <a:gd name="T64" fmla="*/ 1300 w 1325"/>
                <a:gd name="T65"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5" h="395">
                  <a:moveTo>
                    <a:pt x="1300" y="0"/>
                  </a:moveTo>
                  <a:lnTo>
                    <a:pt x="1325" y="19"/>
                  </a:lnTo>
                  <a:lnTo>
                    <a:pt x="1294" y="58"/>
                  </a:lnTo>
                  <a:lnTo>
                    <a:pt x="1262" y="93"/>
                  </a:lnTo>
                  <a:lnTo>
                    <a:pt x="1230" y="125"/>
                  </a:lnTo>
                  <a:lnTo>
                    <a:pt x="1196" y="158"/>
                  </a:lnTo>
                  <a:lnTo>
                    <a:pt x="1160" y="187"/>
                  </a:lnTo>
                  <a:lnTo>
                    <a:pt x="1124" y="214"/>
                  </a:lnTo>
                  <a:lnTo>
                    <a:pt x="1119" y="216"/>
                  </a:lnTo>
                  <a:lnTo>
                    <a:pt x="1043" y="266"/>
                  </a:lnTo>
                  <a:lnTo>
                    <a:pt x="963" y="308"/>
                  </a:lnTo>
                  <a:lnTo>
                    <a:pt x="922" y="325"/>
                  </a:lnTo>
                  <a:lnTo>
                    <a:pt x="879" y="340"/>
                  </a:lnTo>
                  <a:lnTo>
                    <a:pt x="838" y="353"/>
                  </a:lnTo>
                  <a:lnTo>
                    <a:pt x="794" y="365"/>
                  </a:lnTo>
                  <a:lnTo>
                    <a:pt x="751" y="375"/>
                  </a:lnTo>
                  <a:lnTo>
                    <a:pt x="744" y="377"/>
                  </a:lnTo>
                  <a:lnTo>
                    <a:pt x="701" y="384"/>
                  </a:lnTo>
                  <a:lnTo>
                    <a:pt x="657" y="390"/>
                  </a:lnTo>
                  <a:lnTo>
                    <a:pt x="611" y="393"/>
                  </a:lnTo>
                  <a:lnTo>
                    <a:pt x="567" y="395"/>
                  </a:lnTo>
                  <a:lnTo>
                    <a:pt x="523" y="395"/>
                  </a:lnTo>
                  <a:lnTo>
                    <a:pt x="477" y="392"/>
                  </a:lnTo>
                  <a:lnTo>
                    <a:pt x="389" y="380"/>
                  </a:lnTo>
                  <a:lnTo>
                    <a:pt x="383" y="378"/>
                  </a:lnTo>
                  <a:lnTo>
                    <a:pt x="294" y="358"/>
                  </a:lnTo>
                  <a:lnTo>
                    <a:pt x="250" y="343"/>
                  </a:lnTo>
                  <a:lnTo>
                    <a:pt x="208" y="328"/>
                  </a:lnTo>
                  <a:lnTo>
                    <a:pt x="165" y="311"/>
                  </a:lnTo>
                  <a:lnTo>
                    <a:pt x="124" y="290"/>
                  </a:lnTo>
                  <a:lnTo>
                    <a:pt x="82" y="268"/>
                  </a:lnTo>
                  <a:lnTo>
                    <a:pt x="41" y="243"/>
                  </a:lnTo>
                  <a:lnTo>
                    <a:pt x="37" y="240"/>
                  </a:lnTo>
                  <a:lnTo>
                    <a:pt x="0" y="215"/>
                  </a:lnTo>
                  <a:lnTo>
                    <a:pt x="18" y="188"/>
                  </a:lnTo>
                  <a:lnTo>
                    <a:pt x="60" y="216"/>
                  </a:lnTo>
                  <a:lnTo>
                    <a:pt x="60" y="216"/>
                  </a:lnTo>
                  <a:lnTo>
                    <a:pt x="96" y="239"/>
                  </a:lnTo>
                  <a:lnTo>
                    <a:pt x="137" y="261"/>
                  </a:lnTo>
                  <a:lnTo>
                    <a:pt x="178" y="281"/>
                  </a:lnTo>
                  <a:lnTo>
                    <a:pt x="221" y="299"/>
                  </a:lnTo>
                  <a:lnTo>
                    <a:pt x="264" y="314"/>
                  </a:lnTo>
                  <a:lnTo>
                    <a:pt x="308" y="328"/>
                  </a:lnTo>
                  <a:lnTo>
                    <a:pt x="392" y="347"/>
                  </a:lnTo>
                  <a:lnTo>
                    <a:pt x="477" y="359"/>
                  </a:lnTo>
                  <a:lnTo>
                    <a:pt x="523" y="362"/>
                  </a:lnTo>
                  <a:lnTo>
                    <a:pt x="567" y="362"/>
                  </a:lnTo>
                  <a:lnTo>
                    <a:pt x="611" y="361"/>
                  </a:lnTo>
                  <a:lnTo>
                    <a:pt x="657" y="358"/>
                  </a:lnTo>
                  <a:lnTo>
                    <a:pt x="701" y="352"/>
                  </a:lnTo>
                  <a:lnTo>
                    <a:pt x="744" y="344"/>
                  </a:lnTo>
                  <a:lnTo>
                    <a:pt x="744" y="344"/>
                  </a:lnTo>
                  <a:lnTo>
                    <a:pt x="780" y="336"/>
                  </a:lnTo>
                  <a:lnTo>
                    <a:pt x="825" y="324"/>
                  </a:lnTo>
                  <a:lnTo>
                    <a:pt x="866" y="311"/>
                  </a:lnTo>
                  <a:lnTo>
                    <a:pt x="909" y="296"/>
                  </a:lnTo>
                  <a:lnTo>
                    <a:pt x="950" y="278"/>
                  </a:lnTo>
                  <a:lnTo>
                    <a:pt x="1029" y="237"/>
                  </a:lnTo>
                  <a:lnTo>
                    <a:pt x="1100" y="190"/>
                  </a:lnTo>
                  <a:lnTo>
                    <a:pt x="1100" y="190"/>
                  </a:lnTo>
                  <a:lnTo>
                    <a:pt x="1137" y="163"/>
                  </a:lnTo>
                  <a:lnTo>
                    <a:pt x="1172" y="134"/>
                  </a:lnTo>
                  <a:lnTo>
                    <a:pt x="1206" y="102"/>
                  </a:lnTo>
                  <a:lnTo>
                    <a:pt x="1238" y="69"/>
                  </a:lnTo>
                  <a:lnTo>
                    <a:pt x="1271" y="34"/>
                  </a:lnTo>
                  <a:lnTo>
                    <a:pt x="1300"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49" name="Freeform 92"/>
            <p:cNvSpPr>
              <a:spLocks/>
            </p:cNvSpPr>
            <p:nvPr/>
          </p:nvSpPr>
          <p:spPr bwMode="auto">
            <a:xfrm>
              <a:off x="5622024" y="4533567"/>
              <a:ext cx="136222" cy="133831"/>
            </a:xfrm>
            <a:custGeom>
              <a:avLst/>
              <a:gdLst>
                <a:gd name="T0" fmla="*/ 104 w 114"/>
                <a:gd name="T1" fmla="*/ 0 h 112"/>
                <a:gd name="T2" fmla="*/ 114 w 114"/>
                <a:gd name="T3" fmla="*/ 75 h 112"/>
                <a:gd name="T4" fmla="*/ 87 w 114"/>
                <a:gd name="T5" fmla="*/ 112 h 112"/>
                <a:gd name="T6" fmla="*/ 76 w 114"/>
                <a:gd name="T7" fmla="*/ 35 h 112"/>
                <a:gd name="T8" fmla="*/ 0 w 114"/>
                <a:gd name="T9" fmla="*/ 47 h 112"/>
                <a:gd name="T10" fmla="*/ 28 w 114"/>
                <a:gd name="T11" fmla="*/ 10 h 112"/>
                <a:gd name="T12" fmla="*/ 104 w 114"/>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4" h="112">
                  <a:moveTo>
                    <a:pt x="104" y="0"/>
                  </a:moveTo>
                  <a:lnTo>
                    <a:pt x="114" y="75"/>
                  </a:lnTo>
                  <a:lnTo>
                    <a:pt x="87" y="112"/>
                  </a:lnTo>
                  <a:lnTo>
                    <a:pt x="76" y="35"/>
                  </a:lnTo>
                  <a:lnTo>
                    <a:pt x="0" y="47"/>
                  </a:lnTo>
                  <a:lnTo>
                    <a:pt x="28" y="10"/>
                  </a:lnTo>
                  <a:lnTo>
                    <a:pt x="104"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50" name="Freeform 93"/>
            <p:cNvSpPr>
              <a:spLocks noEditPoints="1"/>
            </p:cNvSpPr>
            <p:nvPr/>
          </p:nvSpPr>
          <p:spPr bwMode="auto">
            <a:xfrm>
              <a:off x="6852793" y="2798539"/>
              <a:ext cx="272442" cy="265273"/>
            </a:xfrm>
            <a:custGeom>
              <a:avLst/>
              <a:gdLst>
                <a:gd name="T0" fmla="*/ 19 w 226"/>
                <a:gd name="T1" fmla="*/ 179 h 223"/>
                <a:gd name="T2" fmla="*/ 44 w 226"/>
                <a:gd name="T3" fmla="*/ 198 h 223"/>
                <a:gd name="T4" fmla="*/ 25 w 226"/>
                <a:gd name="T5" fmla="*/ 223 h 223"/>
                <a:gd name="T6" fmla="*/ 0 w 226"/>
                <a:gd name="T7" fmla="*/ 204 h 223"/>
                <a:gd name="T8" fmla="*/ 19 w 226"/>
                <a:gd name="T9" fmla="*/ 179 h 223"/>
                <a:gd name="T10" fmla="*/ 61 w 226"/>
                <a:gd name="T11" fmla="*/ 129 h 223"/>
                <a:gd name="T12" fmla="*/ 85 w 226"/>
                <a:gd name="T13" fmla="*/ 151 h 223"/>
                <a:gd name="T14" fmla="*/ 67 w 226"/>
                <a:gd name="T15" fmla="*/ 168 h 223"/>
                <a:gd name="T16" fmla="*/ 64 w 226"/>
                <a:gd name="T17" fmla="*/ 173 h 223"/>
                <a:gd name="T18" fmla="*/ 39 w 226"/>
                <a:gd name="T19" fmla="*/ 154 h 223"/>
                <a:gd name="T20" fmla="*/ 45 w 226"/>
                <a:gd name="T21" fmla="*/ 146 h 223"/>
                <a:gd name="T22" fmla="*/ 61 w 226"/>
                <a:gd name="T23" fmla="*/ 129 h 223"/>
                <a:gd name="T24" fmla="*/ 109 w 226"/>
                <a:gd name="T25" fmla="*/ 83 h 223"/>
                <a:gd name="T26" fmla="*/ 129 w 226"/>
                <a:gd name="T27" fmla="*/ 106 h 223"/>
                <a:gd name="T28" fmla="*/ 117 w 226"/>
                <a:gd name="T29" fmla="*/ 117 h 223"/>
                <a:gd name="T30" fmla="*/ 107 w 226"/>
                <a:gd name="T31" fmla="*/ 127 h 223"/>
                <a:gd name="T32" fmla="*/ 83 w 226"/>
                <a:gd name="T33" fmla="*/ 105 h 223"/>
                <a:gd name="T34" fmla="*/ 95 w 226"/>
                <a:gd name="T35" fmla="*/ 95 h 223"/>
                <a:gd name="T36" fmla="*/ 109 w 226"/>
                <a:gd name="T37" fmla="*/ 83 h 223"/>
                <a:gd name="T38" fmla="*/ 157 w 226"/>
                <a:gd name="T39" fmla="*/ 39 h 223"/>
                <a:gd name="T40" fmla="*/ 175 w 226"/>
                <a:gd name="T41" fmla="*/ 65 h 223"/>
                <a:gd name="T42" fmla="*/ 170 w 226"/>
                <a:gd name="T43" fmla="*/ 68 h 223"/>
                <a:gd name="T44" fmla="*/ 153 w 226"/>
                <a:gd name="T45" fmla="*/ 84 h 223"/>
                <a:gd name="T46" fmla="*/ 132 w 226"/>
                <a:gd name="T47" fmla="*/ 61 h 223"/>
                <a:gd name="T48" fmla="*/ 148 w 226"/>
                <a:gd name="T49" fmla="*/ 46 h 223"/>
                <a:gd name="T50" fmla="*/ 157 w 226"/>
                <a:gd name="T51" fmla="*/ 39 h 223"/>
                <a:gd name="T52" fmla="*/ 209 w 226"/>
                <a:gd name="T53" fmla="*/ 0 h 223"/>
                <a:gd name="T54" fmla="*/ 226 w 226"/>
                <a:gd name="T55" fmla="*/ 27 h 223"/>
                <a:gd name="T56" fmla="*/ 201 w 226"/>
                <a:gd name="T57" fmla="*/ 46 h 223"/>
                <a:gd name="T58" fmla="*/ 184 w 226"/>
                <a:gd name="T59" fmla="*/ 20 h 223"/>
                <a:gd name="T60" fmla="*/ 209 w 226"/>
                <a:gd name="T6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223">
                  <a:moveTo>
                    <a:pt x="19" y="179"/>
                  </a:moveTo>
                  <a:lnTo>
                    <a:pt x="44" y="198"/>
                  </a:lnTo>
                  <a:lnTo>
                    <a:pt x="25" y="223"/>
                  </a:lnTo>
                  <a:lnTo>
                    <a:pt x="0" y="204"/>
                  </a:lnTo>
                  <a:lnTo>
                    <a:pt x="19" y="179"/>
                  </a:lnTo>
                  <a:close/>
                  <a:moveTo>
                    <a:pt x="61" y="129"/>
                  </a:moveTo>
                  <a:lnTo>
                    <a:pt x="85" y="151"/>
                  </a:lnTo>
                  <a:lnTo>
                    <a:pt x="67" y="168"/>
                  </a:lnTo>
                  <a:lnTo>
                    <a:pt x="64" y="173"/>
                  </a:lnTo>
                  <a:lnTo>
                    <a:pt x="39" y="154"/>
                  </a:lnTo>
                  <a:lnTo>
                    <a:pt x="45" y="146"/>
                  </a:lnTo>
                  <a:lnTo>
                    <a:pt x="61" y="129"/>
                  </a:lnTo>
                  <a:close/>
                  <a:moveTo>
                    <a:pt x="109" y="83"/>
                  </a:moveTo>
                  <a:lnTo>
                    <a:pt x="129" y="106"/>
                  </a:lnTo>
                  <a:lnTo>
                    <a:pt x="117" y="117"/>
                  </a:lnTo>
                  <a:lnTo>
                    <a:pt x="107" y="127"/>
                  </a:lnTo>
                  <a:lnTo>
                    <a:pt x="83" y="105"/>
                  </a:lnTo>
                  <a:lnTo>
                    <a:pt x="95" y="95"/>
                  </a:lnTo>
                  <a:lnTo>
                    <a:pt x="109" y="83"/>
                  </a:lnTo>
                  <a:close/>
                  <a:moveTo>
                    <a:pt x="157" y="39"/>
                  </a:moveTo>
                  <a:lnTo>
                    <a:pt x="175" y="65"/>
                  </a:lnTo>
                  <a:lnTo>
                    <a:pt x="170" y="68"/>
                  </a:lnTo>
                  <a:lnTo>
                    <a:pt x="153" y="84"/>
                  </a:lnTo>
                  <a:lnTo>
                    <a:pt x="132" y="61"/>
                  </a:lnTo>
                  <a:lnTo>
                    <a:pt x="148" y="46"/>
                  </a:lnTo>
                  <a:lnTo>
                    <a:pt x="157" y="39"/>
                  </a:lnTo>
                  <a:close/>
                  <a:moveTo>
                    <a:pt x="209" y="0"/>
                  </a:moveTo>
                  <a:lnTo>
                    <a:pt x="226" y="27"/>
                  </a:lnTo>
                  <a:lnTo>
                    <a:pt x="201" y="46"/>
                  </a:lnTo>
                  <a:lnTo>
                    <a:pt x="184" y="20"/>
                  </a:lnTo>
                  <a:lnTo>
                    <a:pt x="209"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51" name="Freeform 94"/>
            <p:cNvSpPr>
              <a:spLocks/>
            </p:cNvSpPr>
            <p:nvPr/>
          </p:nvSpPr>
          <p:spPr bwMode="auto">
            <a:xfrm>
              <a:off x="7103727" y="2583451"/>
              <a:ext cx="1584467" cy="470800"/>
            </a:xfrm>
            <a:custGeom>
              <a:avLst/>
              <a:gdLst>
                <a:gd name="T0" fmla="*/ 567 w 1325"/>
                <a:gd name="T1" fmla="*/ 0 h 394"/>
                <a:gd name="T2" fmla="*/ 656 w 1325"/>
                <a:gd name="T3" fmla="*/ 4 h 394"/>
                <a:gd name="T4" fmla="*/ 743 w 1325"/>
                <a:gd name="T5" fmla="*/ 18 h 394"/>
                <a:gd name="T6" fmla="*/ 793 w 1325"/>
                <a:gd name="T7" fmla="*/ 29 h 394"/>
                <a:gd name="T8" fmla="*/ 879 w 1325"/>
                <a:gd name="T9" fmla="*/ 54 h 394"/>
                <a:gd name="T10" fmla="*/ 963 w 1325"/>
                <a:gd name="T11" fmla="*/ 87 h 394"/>
                <a:gd name="T12" fmla="*/ 1081 w 1325"/>
                <a:gd name="T13" fmla="*/ 152 h 394"/>
                <a:gd name="T14" fmla="*/ 1123 w 1325"/>
                <a:gd name="T15" fmla="*/ 179 h 394"/>
                <a:gd name="T16" fmla="*/ 1196 w 1325"/>
                <a:gd name="T17" fmla="*/ 237 h 394"/>
                <a:gd name="T18" fmla="*/ 1262 w 1325"/>
                <a:gd name="T19" fmla="*/ 300 h 394"/>
                <a:gd name="T20" fmla="*/ 1325 w 1325"/>
                <a:gd name="T21" fmla="*/ 375 h 394"/>
                <a:gd name="T22" fmla="*/ 1271 w 1325"/>
                <a:gd name="T23" fmla="*/ 359 h 394"/>
                <a:gd name="T24" fmla="*/ 1206 w 1325"/>
                <a:gd name="T25" fmla="*/ 291 h 394"/>
                <a:gd name="T26" fmla="*/ 1137 w 1325"/>
                <a:gd name="T27" fmla="*/ 231 h 394"/>
                <a:gd name="T28" fmla="*/ 1100 w 1325"/>
                <a:gd name="T29" fmla="*/ 203 h 394"/>
                <a:gd name="T30" fmla="*/ 1029 w 1325"/>
                <a:gd name="T31" fmla="*/ 157 h 394"/>
                <a:gd name="T32" fmla="*/ 908 w 1325"/>
                <a:gd name="T33" fmla="*/ 99 h 394"/>
                <a:gd name="T34" fmla="*/ 824 w 1325"/>
                <a:gd name="T35" fmla="*/ 69 h 394"/>
                <a:gd name="T36" fmla="*/ 743 w 1325"/>
                <a:gd name="T37" fmla="*/ 50 h 394"/>
                <a:gd name="T38" fmla="*/ 701 w 1325"/>
                <a:gd name="T39" fmla="*/ 43 h 394"/>
                <a:gd name="T40" fmla="*/ 611 w 1325"/>
                <a:gd name="T41" fmla="*/ 34 h 394"/>
                <a:gd name="T42" fmla="*/ 522 w 1325"/>
                <a:gd name="T43" fmla="*/ 32 h 394"/>
                <a:gd name="T44" fmla="*/ 391 w 1325"/>
                <a:gd name="T45" fmla="*/ 47 h 394"/>
                <a:gd name="T46" fmla="*/ 263 w 1325"/>
                <a:gd name="T47" fmla="*/ 81 h 394"/>
                <a:gd name="T48" fmla="*/ 178 w 1325"/>
                <a:gd name="T49" fmla="*/ 113 h 394"/>
                <a:gd name="T50" fmla="*/ 95 w 1325"/>
                <a:gd name="T51" fmla="*/ 156 h 394"/>
                <a:gd name="T52" fmla="*/ 60 w 1325"/>
                <a:gd name="T53" fmla="*/ 178 h 394"/>
                <a:gd name="T54" fmla="*/ 0 w 1325"/>
                <a:gd name="T55" fmla="*/ 179 h 394"/>
                <a:gd name="T56" fmla="*/ 41 w 1325"/>
                <a:gd name="T57" fmla="*/ 152 h 394"/>
                <a:gd name="T58" fmla="*/ 123 w 1325"/>
                <a:gd name="T59" fmla="*/ 104 h 394"/>
                <a:gd name="T60" fmla="*/ 207 w 1325"/>
                <a:gd name="T61" fmla="*/ 66 h 394"/>
                <a:gd name="T62" fmla="*/ 294 w 1325"/>
                <a:gd name="T63" fmla="*/ 37 h 394"/>
                <a:gd name="T64" fmla="*/ 388 w 1325"/>
                <a:gd name="T65" fmla="*/ 15 h 394"/>
                <a:gd name="T66" fmla="*/ 522 w 1325"/>
                <a:gd name="T6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5" h="394">
                  <a:moveTo>
                    <a:pt x="522" y="0"/>
                  </a:moveTo>
                  <a:lnTo>
                    <a:pt x="567" y="0"/>
                  </a:lnTo>
                  <a:lnTo>
                    <a:pt x="611" y="1"/>
                  </a:lnTo>
                  <a:lnTo>
                    <a:pt x="656" y="4"/>
                  </a:lnTo>
                  <a:lnTo>
                    <a:pt x="701" y="10"/>
                  </a:lnTo>
                  <a:lnTo>
                    <a:pt x="743" y="18"/>
                  </a:lnTo>
                  <a:lnTo>
                    <a:pt x="751" y="19"/>
                  </a:lnTo>
                  <a:lnTo>
                    <a:pt x="793" y="29"/>
                  </a:lnTo>
                  <a:lnTo>
                    <a:pt x="838" y="40"/>
                  </a:lnTo>
                  <a:lnTo>
                    <a:pt x="879" y="54"/>
                  </a:lnTo>
                  <a:lnTo>
                    <a:pt x="922" y="69"/>
                  </a:lnTo>
                  <a:lnTo>
                    <a:pt x="963" y="87"/>
                  </a:lnTo>
                  <a:lnTo>
                    <a:pt x="1042" y="128"/>
                  </a:lnTo>
                  <a:lnTo>
                    <a:pt x="1081" y="152"/>
                  </a:lnTo>
                  <a:lnTo>
                    <a:pt x="1119" y="177"/>
                  </a:lnTo>
                  <a:lnTo>
                    <a:pt x="1123" y="179"/>
                  </a:lnTo>
                  <a:lnTo>
                    <a:pt x="1160" y="207"/>
                  </a:lnTo>
                  <a:lnTo>
                    <a:pt x="1196" y="237"/>
                  </a:lnTo>
                  <a:lnTo>
                    <a:pt x="1229" y="268"/>
                  </a:lnTo>
                  <a:lnTo>
                    <a:pt x="1262" y="300"/>
                  </a:lnTo>
                  <a:lnTo>
                    <a:pt x="1294" y="335"/>
                  </a:lnTo>
                  <a:lnTo>
                    <a:pt x="1325" y="375"/>
                  </a:lnTo>
                  <a:lnTo>
                    <a:pt x="1300" y="394"/>
                  </a:lnTo>
                  <a:lnTo>
                    <a:pt x="1271" y="359"/>
                  </a:lnTo>
                  <a:lnTo>
                    <a:pt x="1238" y="324"/>
                  </a:lnTo>
                  <a:lnTo>
                    <a:pt x="1206" y="291"/>
                  </a:lnTo>
                  <a:lnTo>
                    <a:pt x="1172" y="260"/>
                  </a:lnTo>
                  <a:lnTo>
                    <a:pt x="1137" y="231"/>
                  </a:lnTo>
                  <a:lnTo>
                    <a:pt x="1100" y="203"/>
                  </a:lnTo>
                  <a:lnTo>
                    <a:pt x="1100" y="203"/>
                  </a:lnTo>
                  <a:lnTo>
                    <a:pt x="1067" y="181"/>
                  </a:lnTo>
                  <a:lnTo>
                    <a:pt x="1029" y="157"/>
                  </a:lnTo>
                  <a:lnTo>
                    <a:pt x="950" y="116"/>
                  </a:lnTo>
                  <a:lnTo>
                    <a:pt x="908" y="99"/>
                  </a:lnTo>
                  <a:lnTo>
                    <a:pt x="866" y="84"/>
                  </a:lnTo>
                  <a:lnTo>
                    <a:pt x="824" y="69"/>
                  </a:lnTo>
                  <a:lnTo>
                    <a:pt x="780" y="59"/>
                  </a:lnTo>
                  <a:lnTo>
                    <a:pt x="743" y="50"/>
                  </a:lnTo>
                  <a:lnTo>
                    <a:pt x="743" y="50"/>
                  </a:lnTo>
                  <a:lnTo>
                    <a:pt x="701" y="43"/>
                  </a:lnTo>
                  <a:lnTo>
                    <a:pt x="656" y="37"/>
                  </a:lnTo>
                  <a:lnTo>
                    <a:pt x="611" y="34"/>
                  </a:lnTo>
                  <a:lnTo>
                    <a:pt x="567" y="32"/>
                  </a:lnTo>
                  <a:lnTo>
                    <a:pt x="522" y="32"/>
                  </a:lnTo>
                  <a:lnTo>
                    <a:pt x="477" y="35"/>
                  </a:lnTo>
                  <a:lnTo>
                    <a:pt x="391" y="47"/>
                  </a:lnTo>
                  <a:lnTo>
                    <a:pt x="307" y="66"/>
                  </a:lnTo>
                  <a:lnTo>
                    <a:pt x="263" y="81"/>
                  </a:lnTo>
                  <a:lnTo>
                    <a:pt x="221" y="96"/>
                  </a:lnTo>
                  <a:lnTo>
                    <a:pt x="178" y="113"/>
                  </a:lnTo>
                  <a:lnTo>
                    <a:pt x="137" y="134"/>
                  </a:lnTo>
                  <a:lnTo>
                    <a:pt x="95" y="156"/>
                  </a:lnTo>
                  <a:lnTo>
                    <a:pt x="60" y="178"/>
                  </a:lnTo>
                  <a:lnTo>
                    <a:pt x="60" y="178"/>
                  </a:lnTo>
                  <a:lnTo>
                    <a:pt x="17" y="206"/>
                  </a:lnTo>
                  <a:lnTo>
                    <a:pt x="0" y="179"/>
                  </a:lnTo>
                  <a:lnTo>
                    <a:pt x="36" y="154"/>
                  </a:lnTo>
                  <a:lnTo>
                    <a:pt x="41" y="152"/>
                  </a:lnTo>
                  <a:lnTo>
                    <a:pt x="82" y="127"/>
                  </a:lnTo>
                  <a:lnTo>
                    <a:pt x="123" y="104"/>
                  </a:lnTo>
                  <a:lnTo>
                    <a:pt x="165" y="84"/>
                  </a:lnTo>
                  <a:lnTo>
                    <a:pt x="207" y="66"/>
                  </a:lnTo>
                  <a:lnTo>
                    <a:pt x="250" y="51"/>
                  </a:lnTo>
                  <a:lnTo>
                    <a:pt x="294" y="37"/>
                  </a:lnTo>
                  <a:lnTo>
                    <a:pt x="383" y="16"/>
                  </a:lnTo>
                  <a:lnTo>
                    <a:pt x="388" y="15"/>
                  </a:lnTo>
                  <a:lnTo>
                    <a:pt x="477" y="3"/>
                  </a:lnTo>
                  <a:lnTo>
                    <a:pt x="522"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52" name="Freeform 95"/>
            <p:cNvSpPr>
              <a:spLocks/>
            </p:cNvSpPr>
            <p:nvPr/>
          </p:nvSpPr>
          <p:spPr bwMode="auto">
            <a:xfrm>
              <a:off x="8573480" y="2944318"/>
              <a:ext cx="136222" cy="133831"/>
            </a:xfrm>
            <a:custGeom>
              <a:avLst/>
              <a:gdLst>
                <a:gd name="T0" fmla="*/ 87 w 115"/>
                <a:gd name="T1" fmla="*/ 0 h 111"/>
                <a:gd name="T2" fmla="*/ 115 w 115"/>
                <a:gd name="T3" fmla="*/ 36 h 111"/>
                <a:gd name="T4" fmla="*/ 103 w 115"/>
                <a:gd name="T5" fmla="*/ 111 h 111"/>
                <a:gd name="T6" fmla="*/ 28 w 115"/>
                <a:gd name="T7" fmla="*/ 101 h 111"/>
                <a:gd name="T8" fmla="*/ 0 w 115"/>
                <a:gd name="T9" fmla="*/ 64 h 111"/>
                <a:gd name="T10" fmla="*/ 77 w 115"/>
                <a:gd name="T11" fmla="*/ 75 h 111"/>
                <a:gd name="T12" fmla="*/ 87 w 115"/>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115" h="111">
                  <a:moveTo>
                    <a:pt x="87" y="0"/>
                  </a:moveTo>
                  <a:lnTo>
                    <a:pt x="115" y="36"/>
                  </a:lnTo>
                  <a:lnTo>
                    <a:pt x="103" y="111"/>
                  </a:lnTo>
                  <a:lnTo>
                    <a:pt x="28" y="101"/>
                  </a:lnTo>
                  <a:lnTo>
                    <a:pt x="0" y="64"/>
                  </a:lnTo>
                  <a:lnTo>
                    <a:pt x="77" y="75"/>
                  </a:lnTo>
                  <a:lnTo>
                    <a:pt x="87"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53" name="Freeform 96"/>
            <p:cNvSpPr>
              <a:spLocks noEditPoints="1"/>
            </p:cNvSpPr>
            <p:nvPr/>
          </p:nvSpPr>
          <p:spPr bwMode="auto">
            <a:xfrm>
              <a:off x="8410971" y="4550296"/>
              <a:ext cx="272442" cy="262883"/>
            </a:xfrm>
            <a:custGeom>
              <a:avLst/>
              <a:gdLst>
                <a:gd name="T0" fmla="*/ 25 w 228"/>
                <a:gd name="T1" fmla="*/ 175 h 221"/>
                <a:gd name="T2" fmla="*/ 43 w 228"/>
                <a:gd name="T3" fmla="*/ 200 h 221"/>
                <a:gd name="T4" fmla="*/ 18 w 228"/>
                <a:gd name="T5" fmla="*/ 221 h 221"/>
                <a:gd name="T6" fmla="*/ 0 w 228"/>
                <a:gd name="T7" fmla="*/ 196 h 221"/>
                <a:gd name="T8" fmla="*/ 25 w 228"/>
                <a:gd name="T9" fmla="*/ 175 h 221"/>
                <a:gd name="T10" fmla="*/ 74 w 228"/>
                <a:gd name="T11" fmla="*/ 137 h 221"/>
                <a:gd name="T12" fmla="*/ 94 w 228"/>
                <a:gd name="T13" fmla="*/ 161 h 221"/>
                <a:gd name="T14" fmla="*/ 78 w 228"/>
                <a:gd name="T15" fmla="*/ 174 h 221"/>
                <a:gd name="T16" fmla="*/ 68 w 228"/>
                <a:gd name="T17" fmla="*/ 181 h 221"/>
                <a:gd name="T18" fmla="*/ 50 w 228"/>
                <a:gd name="T19" fmla="*/ 156 h 221"/>
                <a:gd name="T20" fmla="*/ 56 w 228"/>
                <a:gd name="T21" fmla="*/ 152 h 221"/>
                <a:gd name="T22" fmla="*/ 74 w 228"/>
                <a:gd name="T23" fmla="*/ 137 h 221"/>
                <a:gd name="T24" fmla="*/ 119 w 228"/>
                <a:gd name="T25" fmla="*/ 94 h 221"/>
                <a:gd name="T26" fmla="*/ 141 w 228"/>
                <a:gd name="T27" fmla="*/ 116 h 221"/>
                <a:gd name="T28" fmla="*/ 132 w 228"/>
                <a:gd name="T29" fmla="*/ 127 h 221"/>
                <a:gd name="T30" fmla="*/ 118 w 228"/>
                <a:gd name="T31" fmla="*/ 139 h 221"/>
                <a:gd name="T32" fmla="*/ 97 w 228"/>
                <a:gd name="T33" fmla="*/ 115 h 221"/>
                <a:gd name="T34" fmla="*/ 110 w 228"/>
                <a:gd name="T35" fmla="*/ 105 h 221"/>
                <a:gd name="T36" fmla="*/ 119 w 228"/>
                <a:gd name="T37" fmla="*/ 94 h 221"/>
                <a:gd name="T38" fmla="*/ 162 w 228"/>
                <a:gd name="T39" fmla="*/ 49 h 221"/>
                <a:gd name="T40" fmla="*/ 187 w 228"/>
                <a:gd name="T41" fmla="*/ 68 h 221"/>
                <a:gd name="T42" fmla="*/ 181 w 228"/>
                <a:gd name="T43" fmla="*/ 75 h 221"/>
                <a:gd name="T44" fmla="*/ 163 w 228"/>
                <a:gd name="T45" fmla="*/ 93 h 221"/>
                <a:gd name="T46" fmla="*/ 141 w 228"/>
                <a:gd name="T47" fmla="*/ 71 h 221"/>
                <a:gd name="T48" fmla="*/ 159 w 228"/>
                <a:gd name="T49" fmla="*/ 53 h 221"/>
                <a:gd name="T50" fmla="*/ 162 w 228"/>
                <a:gd name="T51" fmla="*/ 49 h 221"/>
                <a:gd name="T52" fmla="*/ 203 w 228"/>
                <a:gd name="T53" fmla="*/ 0 h 221"/>
                <a:gd name="T54" fmla="*/ 228 w 228"/>
                <a:gd name="T55" fmla="*/ 19 h 221"/>
                <a:gd name="T56" fmla="*/ 208 w 228"/>
                <a:gd name="T57" fmla="*/ 43 h 221"/>
                <a:gd name="T58" fmla="*/ 183 w 228"/>
                <a:gd name="T59" fmla="*/ 24 h 221"/>
                <a:gd name="T60" fmla="*/ 203 w 228"/>
                <a:gd name="T6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8" h="221">
                  <a:moveTo>
                    <a:pt x="25" y="175"/>
                  </a:moveTo>
                  <a:lnTo>
                    <a:pt x="43" y="200"/>
                  </a:lnTo>
                  <a:lnTo>
                    <a:pt x="18" y="221"/>
                  </a:lnTo>
                  <a:lnTo>
                    <a:pt x="0" y="196"/>
                  </a:lnTo>
                  <a:lnTo>
                    <a:pt x="25" y="175"/>
                  </a:lnTo>
                  <a:close/>
                  <a:moveTo>
                    <a:pt x="74" y="137"/>
                  </a:moveTo>
                  <a:lnTo>
                    <a:pt x="94" y="161"/>
                  </a:lnTo>
                  <a:lnTo>
                    <a:pt x="78" y="174"/>
                  </a:lnTo>
                  <a:lnTo>
                    <a:pt x="68" y="181"/>
                  </a:lnTo>
                  <a:lnTo>
                    <a:pt x="50" y="156"/>
                  </a:lnTo>
                  <a:lnTo>
                    <a:pt x="56" y="152"/>
                  </a:lnTo>
                  <a:lnTo>
                    <a:pt x="74" y="137"/>
                  </a:lnTo>
                  <a:close/>
                  <a:moveTo>
                    <a:pt x="119" y="94"/>
                  </a:moveTo>
                  <a:lnTo>
                    <a:pt x="141" y="116"/>
                  </a:lnTo>
                  <a:lnTo>
                    <a:pt x="132" y="127"/>
                  </a:lnTo>
                  <a:lnTo>
                    <a:pt x="118" y="139"/>
                  </a:lnTo>
                  <a:lnTo>
                    <a:pt x="97" y="115"/>
                  </a:lnTo>
                  <a:lnTo>
                    <a:pt x="110" y="105"/>
                  </a:lnTo>
                  <a:lnTo>
                    <a:pt x="119" y="94"/>
                  </a:lnTo>
                  <a:close/>
                  <a:moveTo>
                    <a:pt x="162" y="49"/>
                  </a:moveTo>
                  <a:lnTo>
                    <a:pt x="187" y="68"/>
                  </a:lnTo>
                  <a:lnTo>
                    <a:pt x="181" y="75"/>
                  </a:lnTo>
                  <a:lnTo>
                    <a:pt x="163" y="93"/>
                  </a:lnTo>
                  <a:lnTo>
                    <a:pt x="141" y="71"/>
                  </a:lnTo>
                  <a:lnTo>
                    <a:pt x="159" y="53"/>
                  </a:lnTo>
                  <a:lnTo>
                    <a:pt x="162" y="49"/>
                  </a:lnTo>
                  <a:close/>
                  <a:moveTo>
                    <a:pt x="203" y="0"/>
                  </a:moveTo>
                  <a:lnTo>
                    <a:pt x="228" y="19"/>
                  </a:lnTo>
                  <a:lnTo>
                    <a:pt x="208" y="43"/>
                  </a:lnTo>
                  <a:lnTo>
                    <a:pt x="183" y="24"/>
                  </a:lnTo>
                  <a:lnTo>
                    <a:pt x="203"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54" name="Freeform 97"/>
            <p:cNvSpPr>
              <a:spLocks/>
            </p:cNvSpPr>
            <p:nvPr/>
          </p:nvSpPr>
          <p:spPr bwMode="auto">
            <a:xfrm>
              <a:off x="6850402" y="4557465"/>
              <a:ext cx="1582077" cy="470800"/>
            </a:xfrm>
            <a:custGeom>
              <a:avLst/>
              <a:gdLst>
                <a:gd name="T0" fmla="*/ 53 w 1324"/>
                <a:gd name="T1" fmla="*/ 34 h 395"/>
                <a:gd name="T2" fmla="*/ 117 w 1324"/>
                <a:gd name="T3" fmla="*/ 102 h 395"/>
                <a:gd name="T4" fmla="*/ 187 w 1324"/>
                <a:gd name="T5" fmla="*/ 163 h 395"/>
                <a:gd name="T6" fmla="*/ 223 w 1324"/>
                <a:gd name="T7" fmla="*/ 190 h 395"/>
                <a:gd name="T8" fmla="*/ 374 w 1324"/>
                <a:gd name="T9" fmla="*/ 278 h 395"/>
                <a:gd name="T10" fmla="*/ 458 w 1324"/>
                <a:gd name="T11" fmla="*/ 311 h 395"/>
                <a:gd name="T12" fmla="*/ 543 w 1324"/>
                <a:gd name="T13" fmla="*/ 336 h 395"/>
                <a:gd name="T14" fmla="*/ 580 w 1324"/>
                <a:gd name="T15" fmla="*/ 344 h 395"/>
                <a:gd name="T16" fmla="*/ 668 w 1324"/>
                <a:gd name="T17" fmla="*/ 358 h 395"/>
                <a:gd name="T18" fmla="*/ 757 w 1324"/>
                <a:gd name="T19" fmla="*/ 362 h 395"/>
                <a:gd name="T20" fmla="*/ 846 w 1324"/>
                <a:gd name="T21" fmla="*/ 359 h 395"/>
                <a:gd name="T22" fmla="*/ 935 w 1324"/>
                <a:gd name="T23" fmla="*/ 347 h 395"/>
                <a:gd name="T24" fmla="*/ 1016 w 1324"/>
                <a:gd name="T25" fmla="*/ 328 h 395"/>
                <a:gd name="T26" fmla="*/ 1103 w 1324"/>
                <a:gd name="T27" fmla="*/ 299 h 395"/>
                <a:gd name="T28" fmla="*/ 1187 w 1324"/>
                <a:gd name="T29" fmla="*/ 261 h 395"/>
                <a:gd name="T30" fmla="*/ 1263 w 1324"/>
                <a:gd name="T31" fmla="*/ 216 h 395"/>
                <a:gd name="T32" fmla="*/ 1306 w 1324"/>
                <a:gd name="T33" fmla="*/ 188 h 395"/>
                <a:gd name="T34" fmla="*/ 1287 w 1324"/>
                <a:gd name="T35" fmla="*/ 240 h 395"/>
                <a:gd name="T36" fmla="*/ 1241 w 1324"/>
                <a:gd name="T37" fmla="*/ 268 h 395"/>
                <a:gd name="T38" fmla="*/ 1159 w 1324"/>
                <a:gd name="T39" fmla="*/ 311 h 395"/>
                <a:gd name="T40" fmla="*/ 1073 w 1324"/>
                <a:gd name="T41" fmla="*/ 343 h 395"/>
                <a:gd name="T42" fmla="*/ 986 w 1324"/>
                <a:gd name="T43" fmla="*/ 368 h 395"/>
                <a:gd name="T44" fmla="*/ 935 w 1324"/>
                <a:gd name="T45" fmla="*/ 380 h 395"/>
                <a:gd name="T46" fmla="*/ 801 w 1324"/>
                <a:gd name="T47" fmla="*/ 395 h 395"/>
                <a:gd name="T48" fmla="*/ 712 w 1324"/>
                <a:gd name="T49" fmla="*/ 393 h 395"/>
                <a:gd name="T50" fmla="*/ 624 w 1324"/>
                <a:gd name="T51" fmla="*/ 384 h 395"/>
                <a:gd name="T52" fmla="*/ 572 w 1324"/>
                <a:gd name="T53" fmla="*/ 375 h 395"/>
                <a:gd name="T54" fmla="*/ 486 w 1324"/>
                <a:gd name="T55" fmla="*/ 353 h 395"/>
                <a:gd name="T56" fmla="*/ 402 w 1324"/>
                <a:gd name="T57" fmla="*/ 325 h 395"/>
                <a:gd name="T58" fmla="*/ 281 w 1324"/>
                <a:gd name="T59" fmla="*/ 266 h 395"/>
                <a:gd name="T60" fmla="*/ 200 w 1324"/>
                <a:gd name="T61" fmla="*/ 214 h 395"/>
                <a:gd name="T62" fmla="*/ 128 w 1324"/>
                <a:gd name="T63" fmla="*/ 158 h 395"/>
                <a:gd name="T64" fmla="*/ 61 w 1324"/>
                <a:gd name="T65" fmla="*/ 93 h 395"/>
                <a:gd name="T66" fmla="*/ 0 w 1324"/>
                <a:gd name="T67" fmla="*/ 1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4" h="395">
                  <a:moveTo>
                    <a:pt x="25" y="0"/>
                  </a:moveTo>
                  <a:lnTo>
                    <a:pt x="53" y="34"/>
                  </a:lnTo>
                  <a:lnTo>
                    <a:pt x="85" y="69"/>
                  </a:lnTo>
                  <a:lnTo>
                    <a:pt x="117" y="102"/>
                  </a:lnTo>
                  <a:lnTo>
                    <a:pt x="151" y="134"/>
                  </a:lnTo>
                  <a:lnTo>
                    <a:pt x="187" y="163"/>
                  </a:lnTo>
                  <a:lnTo>
                    <a:pt x="223" y="190"/>
                  </a:lnTo>
                  <a:lnTo>
                    <a:pt x="223" y="190"/>
                  </a:lnTo>
                  <a:lnTo>
                    <a:pt x="294" y="237"/>
                  </a:lnTo>
                  <a:lnTo>
                    <a:pt x="374" y="278"/>
                  </a:lnTo>
                  <a:lnTo>
                    <a:pt x="415" y="296"/>
                  </a:lnTo>
                  <a:lnTo>
                    <a:pt x="458" y="311"/>
                  </a:lnTo>
                  <a:lnTo>
                    <a:pt x="499" y="324"/>
                  </a:lnTo>
                  <a:lnTo>
                    <a:pt x="543" y="336"/>
                  </a:lnTo>
                  <a:lnTo>
                    <a:pt x="580" y="344"/>
                  </a:lnTo>
                  <a:lnTo>
                    <a:pt x="580" y="344"/>
                  </a:lnTo>
                  <a:lnTo>
                    <a:pt x="624" y="352"/>
                  </a:lnTo>
                  <a:lnTo>
                    <a:pt x="668" y="358"/>
                  </a:lnTo>
                  <a:lnTo>
                    <a:pt x="712" y="361"/>
                  </a:lnTo>
                  <a:lnTo>
                    <a:pt x="757" y="362"/>
                  </a:lnTo>
                  <a:lnTo>
                    <a:pt x="801" y="362"/>
                  </a:lnTo>
                  <a:lnTo>
                    <a:pt x="846" y="359"/>
                  </a:lnTo>
                  <a:lnTo>
                    <a:pt x="935" y="347"/>
                  </a:lnTo>
                  <a:lnTo>
                    <a:pt x="935" y="347"/>
                  </a:lnTo>
                  <a:lnTo>
                    <a:pt x="973" y="339"/>
                  </a:lnTo>
                  <a:lnTo>
                    <a:pt x="1016" y="328"/>
                  </a:lnTo>
                  <a:lnTo>
                    <a:pt x="1060" y="314"/>
                  </a:lnTo>
                  <a:lnTo>
                    <a:pt x="1103" y="299"/>
                  </a:lnTo>
                  <a:lnTo>
                    <a:pt x="1145" y="281"/>
                  </a:lnTo>
                  <a:lnTo>
                    <a:pt x="1187" y="261"/>
                  </a:lnTo>
                  <a:lnTo>
                    <a:pt x="1228" y="239"/>
                  </a:lnTo>
                  <a:lnTo>
                    <a:pt x="1263" y="216"/>
                  </a:lnTo>
                  <a:lnTo>
                    <a:pt x="1263" y="216"/>
                  </a:lnTo>
                  <a:lnTo>
                    <a:pt x="1306" y="188"/>
                  </a:lnTo>
                  <a:lnTo>
                    <a:pt x="1324" y="215"/>
                  </a:lnTo>
                  <a:lnTo>
                    <a:pt x="1287" y="240"/>
                  </a:lnTo>
                  <a:lnTo>
                    <a:pt x="1282" y="243"/>
                  </a:lnTo>
                  <a:lnTo>
                    <a:pt x="1241" y="268"/>
                  </a:lnTo>
                  <a:lnTo>
                    <a:pt x="1200" y="290"/>
                  </a:lnTo>
                  <a:lnTo>
                    <a:pt x="1159" y="311"/>
                  </a:lnTo>
                  <a:lnTo>
                    <a:pt x="1116" y="328"/>
                  </a:lnTo>
                  <a:lnTo>
                    <a:pt x="1073" y="343"/>
                  </a:lnTo>
                  <a:lnTo>
                    <a:pt x="1029" y="358"/>
                  </a:lnTo>
                  <a:lnTo>
                    <a:pt x="986" y="368"/>
                  </a:lnTo>
                  <a:lnTo>
                    <a:pt x="942" y="378"/>
                  </a:lnTo>
                  <a:lnTo>
                    <a:pt x="935" y="380"/>
                  </a:lnTo>
                  <a:lnTo>
                    <a:pt x="846" y="392"/>
                  </a:lnTo>
                  <a:lnTo>
                    <a:pt x="801" y="395"/>
                  </a:lnTo>
                  <a:lnTo>
                    <a:pt x="757" y="395"/>
                  </a:lnTo>
                  <a:lnTo>
                    <a:pt x="712" y="393"/>
                  </a:lnTo>
                  <a:lnTo>
                    <a:pt x="668" y="390"/>
                  </a:lnTo>
                  <a:lnTo>
                    <a:pt x="624" y="384"/>
                  </a:lnTo>
                  <a:lnTo>
                    <a:pt x="580" y="377"/>
                  </a:lnTo>
                  <a:lnTo>
                    <a:pt x="572" y="375"/>
                  </a:lnTo>
                  <a:lnTo>
                    <a:pt x="530" y="365"/>
                  </a:lnTo>
                  <a:lnTo>
                    <a:pt x="486" y="353"/>
                  </a:lnTo>
                  <a:lnTo>
                    <a:pt x="444" y="340"/>
                  </a:lnTo>
                  <a:lnTo>
                    <a:pt x="402" y="325"/>
                  </a:lnTo>
                  <a:lnTo>
                    <a:pt x="360" y="308"/>
                  </a:lnTo>
                  <a:lnTo>
                    <a:pt x="281" y="266"/>
                  </a:lnTo>
                  <a:lnTo>
                    <a:pt x="204" y="216"/>
                  </a:lnTo>
                  <a:lnTo>
                    <a:pt x="200" y="214"/>
                  </a:lnTo>
                  <a:lnTo>
                    <a:pt x="163" y="187"/>
                  </a:lnTo>
                  <a:lnTo>
                    <a:pt x="128" y="158"/>
                  </a:lnTo>
                  <a:lnTo>
                    <a:pt x="94" y="125"/>
                  </a:lnTo>
                  <a:lnTo>
                    <a:pt x="61" y="93"/>
                  </a:lnTo>
                  <a:lnTo>
                    <a:pt x="29" y="58"/>
                  </a:lnTo>
                  <a:lnTo>
                    <a:pt x="0" y="19"/>
                  </a:lnTo>
                  <a:lnTo>
                    <a:pt x="25"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55" name="Freeform 98"/>
            <p:cNvSpPr>
              <a:spLocks/>
            </p:cNvSpPr>
            <p:nvPr/>
          </p:nvSpPr>
          <p:spPr bwMode="auto">
            <a:xfrm>
              <a:off x="6824115" y="4533567"/>
              <a:ext cx="138611" cy="133831"/>
            </a:xfrm>
            <a:custGeom>
              <a:avLst/>
              <a:gdLst>
                <a:gd name="T0" fmla="*/ 10 w 115"/>
                <a:gd name="T1" fmla="*/ 0 h 112"/>
                <a:gd name="T2" fmla="*/ 87 w 115"/>
                <a:gd name="T3" fmla="*/ 10 h 112"/>
                <a:gd name="T4" fmla="*/ 115 w 115"/>
                <a:gd name="T5" fmla="*/ 47 h 112"/>
                <a:gd name="T6" fmla="*/ 38 w 115"/>
                <a:gd name="T7" fmla="*/ 35 h 112"/>
                <a:gd name="T8" fmla="*/ 28 w 115"/>
                <a:gd name="T9" fmla="*/ 112 h 112"/>
                <a:gd name="T10" fmla="*/ 0 w 115"/>
                <a:gd name="T11" fmla="*/ 75 h 112"/>
                <a:gd name="T12" fmla="*/ 10 w 115"/>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5" h="112">
                  <a:moveTo>
                    <a:pt x="10" y="0"/>
                  </a:moveTo>
                  <a:lnTo>
                    <a:pt x="87" y="10"/>
                  </a:lnTo>
                  <a:lnTo>
                    <a:pt x="115" y="47"/>
                  </a:lnTo>
                  <a:lnTo>
                    <a:pt x="38" y="35"/>
                  </a:lnTo>
                  <a:lnTo>
                    <a:pt x="28" y="112"/>
                  </a:lnTo>
                  <a:lnTo>
                    <a:pt x="0" y="75"/>
                  </a:lnTo>
                  <a:lnTo>
                    <a:pt x="10" y="0"/>
                  </a:lnTo>
                  <a:close/>
                </a:path>
              </a:pathLst>
            </a:custGeom>
            <a:solidFill>
              <a:srgbClr val="FFFFFF"/>
            </a:solidFill>
            <a:ln w="0">
              <a:solidFill>
                <a:srgbClr val="FFFFFF"/>
              </a:solidFill>
              <a:prstDash val="solid"/>
              <a:round/>
              <a:headEnd/>
              <a:tailEnd/>
            </a:ln>
          </p:spPr>
          <p:txBody>
            <a:bodyPr vert="horz" wrap="square" lIns="67232" tIns="33616" rIns="67232" bIns="33616" numCol="1" anchor="t" anchorCtr="0" compatLnSpc="1">
              <a:prstTxWarp prst="textNoShape">
                <a:avLst/>
              </a:prstTxWarp>
            </a:bodyPr>
            <a:lstStyle/>
            <a:p>
              <a:pPr marL="0" marR="0" lvl="0" indent="0" algn="l" defTabSz="672232"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EC5038"/>
                </a:solidFill>
                <a:effectLst/>
                <a:uLnTx/>
                <a:uFillTx/>
                <a:latin typeface="Segoe UI Semilight"/>
                <a:ea typeface="+mn-ea"/>
                <a:cs typeface="+mn-cs"/>
              </a:endParaRPr>
            </a:p>
          </p:txBody>
        </p:sp>
        <p:sp>
          <p:nvSpPr>
            <p:cNvPr id="56" name="TextBox 6"/>
            <p:cNvSpPr txBox="1"/>
            <p:nvPr/>
          </p:nvSpPr>
          <p:spPr>
            <a:xfrm>
              <a:off x="43550" y="5328445"/>
              <a:ext cx="3240000" cy="433423"/>
            </a:xfrm>
            <a:prstGeom prst="rect">
              <a:avLst/>
            </a:prstGeom>
            <a:noFill/>
          </p:spPr>
          <p:txBody>
            <a:bodyPr wrap="square" rtlCol="0">
              <a:spAutoFit/>
            </a:bodyPr>
            <a:lstStyle/>
            <a:p>
              <a:pPr marL="0" marR="0" lvl="0" indent="0" algn="r" defTabSz="672232" rtl="0" eaLnBrk="1" fontAlgn="auto" latinLnBrk="0" hangingPunct="1">
                <a:lnSpc>
                  <a:spcPct val="100000"/>
                </a:lnSpc>
                <a:spcBef>
                  <a:spcPts val="0"/>
                </a:spcBef>
                <a:spcAft>
                  <a:spcPts val="0"/>
                </a:spcAft>
                <a:buClrTx/>
                <a:buSzTx/>
                <a:buFontTx/>
                <a:buNone/>
                <a:tabLst/>
                <a:defRPr/>
              </a:pPr>
              <a:r>
                <a:rPr kumimoji="0" lang="en-US" sz="1471" b="0" i="0" u="none" strike="noStrike" kern="0" cap="none" spc="0" normalizeH="0" baseline="0" noProof="0" dirty="0">
                  <a:ln>
                    <a:noFill/>
                  </a:ln>
                  <a:solidFill>
                    <a:srgbClr val="3C3C3C"/>
                  </a:solidFill>
                  <a:effectLst/>
                  <a:uLnTx/>
                  <a:uFillTx/>
                  <a:latin typeface="Segoe UI Semilight"/>
                  <a:ea typeface="+mn-ea"/>
                  <a:cs typeface="+mn-cs"/>
                </a:rPr>
                <a:t>Develop + Test</a:t>
              </a:r>
            </a:p>
          </p:txBody>
        </p:sp>
        <p:sp>
          <p:nvSpPr>
            <p:cNvPr id="57" name="TextBox 47"/>
            <p:cNvSpPr txBox="1"/>
            <p:nvPr/>
          </p:nvSpPr>
          <p:spPr>
            <a:xfrm>
              <a:off x="43550" y="1899446"/>
              <a:ext cx="3240000" cy="433423"/>
            </a:xfrm>
            <a:prstGeom prst="rect">
              <a:avLst/>
            </a:prstGeom>
            <a:noFill/>
          </p:spPr>
          <p:txBody>
            <a:bodyPr wrap="square" rtlCol="0">
              <a:spAutoFit/>
            </a:bodyPr>
            <a:lstStyle/>
            <a:p>
              <a:pPr marL="0" marR="0" lvl="0" indent="0" algn="r" defTabSz="672232" rtl="0" eaLnBrk="1" fontAlgn="auto" latinLnBrk="0" hangingPunct="1">
                <a:lnSpc>
                  <a:spcPct val="100000"/>
                </a:lnSpc>
                <a:spcBef>
                  <a:spcPts val="0"/>
                </a:spcBef>
                <a:spcAft>
                  <a:spcPts val="0"/>
                </a:spcAft>
                <a:buClrTx/>
                <a:buSzTx/>
                <a:buFontTx/>
                <a:buNone/>
                <a:tabLst/>
                <a:defRPr/>
              </a:pPr>
              <a:r>
                <a:rPr kumimoji="0" lang="en-US" sz="1471" b="0" i="0" u="none" strike="noStrike" kern="0" cap="none" spc="0" normalizeH="0" baseline="0" noProof="0" dirty="0">
                  <a:ln>
                    <a:noFill/>
                  </a:ln>
                  <a:solidFill>
                    <a:srgbClr val="3C3C3C"/>
                  </a:solidFill>
                  <a:effectLst/>
                  <a:uLnTx/>
                  <a:uFillTx/>
                  <a:latin typeface="Segoe UI Semilight"/>
                  <a:ea typeface="+mn-ea"/>
                  <a:cs typeface="+mn-cs"/>
                </a:rPr>
                <a:t>Plan + Track</a:t>
              </a:r>
            </a:p>
          </p:txBody>
        </p:sp>
        <p:sp>
          <p:nvSpPr>
            <p:cNvPr id="58" name="TextBox 48"/>
            <p:cNvSpPr txBox="1"/>
            <p:nvPr/>
          </p:nvSpPr>
          <p:spPr>
            <a:xfrm>
              <a:off x="9015006" y="5328445"/>
              <a:ext cx="3240000" cy="433423"/>
            </a:xfrm>
            <a:prstGeom prst="rect">
              <a:avLst/>
            </a:prstGeom>
            <a:noFill/>
          </p:spPr>
          <p:txBody>
            <a:bodyPr wrap="square" rtlCol="0">
              <a:spAutoFit/>
            </a:bodyPr>
            <a:lstStyle/>
            <a:p>
              <a:pPr marL="0" marR="0" lvl="0" indent="0" algn="l" defTabSz="672232" rtl="0" eaLnBrk="1" fontAlgn="auto" latinLnBrk="0" hangingPunct="1">
                <a:lnSpc>
                  <a:spcPct val="100000"/>
                </a:lnSpc>
                <a:spcBef>
                  <a:spcPts val="0"/>
                </a:spcBef>
                <a:spcAft>
                  <a:spcPts val="0"/>
                </a:spcAft>
                <a:buClrTx/>
                <a:buSzTx/>
                <a:buFontTx/>
                <a:buNone/>
                <a:tabLst/>
                <a:defRPr/>
              </a:pPr>
              <a:r>
                <a:rPr kumimoji="0" lang="en-US" sz="1471" b="0" i="0" u="none" strike="noStrike" kern="0" cap="none" spc="0" normalizeH="0" baseline="0" noProof="0" dirty="0">
                  <a:ln>
                    <a:noFill/>
                  </a:ln>
                  <a:solidFill>
                    <a:srgbClr val="3C3C3C"/>
                  </a:solidFill>
                  <a:effectLst/>
                  <a:uLnTx/>
                  <a:uFillTx/>
                  <a:latin typeface="Segoe UI Semilight"/>
                  <a:ea typeface="+mn-ea"/>
                  <a:cs typeface="+mn-cs"/>
                </a:rPr>
                <a:t>Monitor + Learn</a:t>
              </a:r>
            </a:p>
          </p:txBody>
        </p:sp>
        <p:sp>
          <p:nvSpPr>
            <p:cNvPr id="59" name="TextBox 49"/>
            <p:cNvSpPr txBox="1"/>
            <p:nvPr/>
          </p:nvSpPr>
          <p:spPr>
            <a:xfrm>
              <a:off x="9015006" y="1899446"/>
              <a:ext cx="3240000" cy="433423"/>
            </a:xfrm>
            <a:prstGeom prst="rect">
              <a:avLst/>
            </a:prstGeom>
            <a:noFill/>
          </p:spPr>
          <p:txBody>
            <a:bodyPr wrap="square" rtlCol="0">
              <a:spAutoFit/>
            </a:bodyPr>
            <a:lstStyle/>
            <a:p>
              <a:pPr marL="0" marR="0" lvl="0" indent="0" algn="l" defTabSz="672232" rtl="0" eaLnBrk="1" fontAlgn="auto" latinLnBrk="0" hangingPunct="1">
                <a:lnSpc>
                  <a:spcPct val="100000"/>
                </a:lnSpc>
                <a:spcBef>
                  <a:spcPts val="0"/>
                </a:spcBef>
                <a:spcAft>
                  <a:spcPts val="0"/>
                </a:spcAft>
                <a:buClrTx/>
                <a:buSzTx/>
                <a:buFontTx/>
                <a:buNone/>
                <a:tabLst/>
                <a:defRPr/>
              </a:pPr>
              <a:r>
                <a:rPr kumimoji="0" lang="en-US" sz="1471" b="0" i="0" u="none" strike="noStrike" kern="0" cap="none" spc="0" normalizeH="0" baseline="0" noProof="0" dirty="0">
                  <a:ln>
                    <a:noFill/>
                  </a:ln>
                  <a:solidFill>
                    <a:srgbClr val="3C3C3C"/>
                  </a:solidFill>
                  <a:effectLst/>
                  <a:uLnTx/>
                  <a:uFillTx/>
                  <a:latin typeface="Segoe UI Semilight"/>
                  <a:ea typeface="+mn-ea"/>
                  <a:cs typeface="+mn-cs"/>
                </a:rPr>
                <a:t>Release</a:t>
              </a:r>
            </a:p>
          </p:txBody>
        </p:sp>
      </p:grpSp>
      <p:grpSp>
        <p:nvGrpSpPr>
          <p:cNvPr id="7" name="Group 6"/>
          <p:cNvGrpSpPr/>
          <p:nvPr/>
        </p:nvGrpSpPr>
        <p:grpSpPr>
          <a:xfrm>
            <a:off x="1434974" y="2025276"/>
            <a:ext cx="843852" cy="1129777"/>
            <a:chOff x="3441700" y="1058468"/>
            <a:chExt cx="2260600" cy="3026565"/>
          </a:xfrm>
        </p:grpSpPr>
        <p:sp>
          <p:nvSpPr>
            <p:cNvPr id="62" name="Oval 61"/>
            <p:cNvSpPr>
              <a:spLocks noChangeArrowheads="1"/>
            </p:cNvSpPr>
            <p:nvPr/>
          </p:nvSpPr>
          <p:spPr bwMode="auto">
            <a:xfrm>
              <a:off x="3441700" y="1824432"/>
              <a:ext cx="2260600" cy="226060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pic>
          <p:nvPicPr>
            <p:cNvPr id="63" name="Picture 62"/>
            <p:cNvPicPr>
              <a:picLocks noChangeAspect="1"/>
            </p:cNvPicPr>
            <p:nvPr/>
          </p:nvPicPr>
          <p:blipFill rotWithShape="1">
            <a:blip r:embed="rId2"/>
            <a:srcRect b="39676"/>
            <a:stretch/>
          </p:blipFill>
          <p:spPr>
            <a:xfrm>
              <a:off x="3525838" y="1058468"/>
              <a:ext cx="1997391" cy="2156614"/>
            </a:xfrm>
            <a:prstGeom prst="rect">
              <a:avLst/>
            </a:prstGeom>
          </p:spPr>
        </p:pic>
        <p:sp>
          <p:nvSpPr>
            <p:cNvPr id="64" name="Freeform 3429"/>
            <p:cNvSpPr>
              <a:spLocks/>
            </p:cNvSpPr>
            <p:nvPr/>
          </p:nvSpPr>
          <p:spPr bwMode="auto">
            <a:xfrm>
              <a:off x="3443289" y="2889646"/>
              <a:ext cx="2227263" cy="1195387"/>
            </a:xfrm>
            <a:custGeom>
              <a:avLst/>
              <a:gdLst>
                <a:gd name="T0" fmla="*/ 1001 w 1077"/>
                <a:gd name="T1" fmla="*/ 134 h 578"/>
                <a:gd name="T2" fmla="*/ 0 w 1077"/>
                <a:gd name="T3" fmla="*/ 42 h 578"/>
                <a:gd name="T4" fmla="*/ 546 w 1077"/>
                <a:gd name="T5" fmla="*/ 578 h 578"/>
                <a:gd name="T6" fmla="*/ 1077 w 1077"/>
                <a:gd name="T7" fmla="*/ 162 h 578"/>
                <a:gd name="T8" fmla="*/ 1001 w 1077"/>
                <a:gd name="T9" fmla="*/ 134 h 578"/>
              </a:gdLst>
              <a:ahLst/>
              <a:cxnLst>
                <a:cxn ang="0">
                  <a:pos x="T0" y="T1"/>
                </a:cxn>
                <a:cxn ang="0">
                  <a:pos x="T2" y="T3"/>
                </a:cxn>
                <a:cxn ang="0">
                  <a:pos x="T4" y="T5"/>
                </a:cxn>
                <a:cxn ang="0">
                  <a:pos x="T6" y="T7"/>
                </a:cxn>
                <a:cxn ang="0">
                  <a:pos x="T8" y="T9"/>
                </a:cxn>
              </a:cxnLst>
              <a:rect l="0" t="0" r="r" b="b"/>
              <a:pathLst>
                <a:path w="1077" h="578">
                  <a:moveTo>
                    <a:pt x="1001" y="134"/>
                  </a:moveTo>
                  <a:cubicBezTo>
                    <a:pt x="697" y="29"/>
                    <a:pt x="336" y="0"/>
                    <a:pt x="0" y="42"/>
                  </a:cubicBezTo>
                  <a:cubicBezTo>
                    <a:pt x="5" y="339"/>
                    <a:pt x="248" y="578"/>
                    <a:pt x="546" y="578"/>
                  </a:cubicBezTo>
                  <a:cubicBezTo>
                    <a:pt x="803" y="578"/>
                    <a:pt x="1018" y="401"/>
                    <a:pt x="1077" y="162"/>
                  </a:cubicBezTo>
                  <a:cubicBezTo>
                    <a:pt x="1052" y="152"/>
                    <a:pt x="1026" y="143"/>
                    <a:pt x="1001" y="134"/>
                  </a:cubicBezTo>
                  <a:close/>
                </a:path>
              </a:pathLst>
            </a:custGeom>
            <a:solidFill>
              <a:srgbClr val="8D2376"/>
            </a:solidFill>
            <a:ln>
              <a:noFill/>
            </a:ln>
            <a:extLst/>
          </p:spPr>
          <p:txBody>
            <a:bodyPr vert="horz" wrap="square" lIns="91440" tIns="45720" rIns="91440" bIns="0" numCol="1" anchor="ctr"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Segoe UI Light"/>
                  <a:ea typeface="+mn-ea"/>
                  <a:cs typeface="+mn-cs"/>
                </a:rPr>
                <a:t>Developers</a:t>
              </a:r>
            </a:p>
          </p:txBody>
        </p:sp>
      </p:grpSp>
      <p:grpSp>
        <p:nvGrpSpPr>
          <p:cNvPr id="8" name="Group 7"/>
          <p:cNvGrpSpPr/>
          <p:nvPr/>
        </p:nvGrpSpPr>
        <p:grpSpPr>
          <a:xfrm>
            <a:off x="6963886" y="2156616"/>
            <a:ext cx="954477" cy="1093955"/>
            <a:chOff x="3442494" y="1277189"/>
            <a:chExt cx="2259013" cy="2589122"/>
          </a:xfrm>
        </p:grpSpPr>
        <p:sp>
          <p:nvSpPr>
            <p:cNvPr id="65" name="Oval 64"/>
            <p:cNvSpPr>
              <a:spLocks noChangeArrowheads="1"/>
            </p:cNvSpPr>
            <p:nvPr/>
          </p:nvSpPr>
          <p:spPr bwMode="auto">
            <a:xfrm>
              <a:off x="3442494" y="1605711"/>
              <a:ext cx="2259013" cy="226060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a:ea typeface="+mn-ea"/>
                <a:cs typeface="+mn-cs"/>
              </a:endParaRPr>
            </a:p>
          </p:txBody>
        </p:sp>
        <p:pic>
          <p:nvPicPr>
            <p:cNvPr id="66" name="Picture 65"/>
            <p:cNvPicPr>
              <a:picLocks noChangeAspect="1"/>
            </p:cNvPicPr>
            <p:nvPr/>
          </p:nvPicPr>
          <p:blipFill rotWithShape="1">
            <a:blip r:embed="rId3"/>
            <a:srcRect b="26623"/>
            <a:stretch/>
          </p:blipFill>
          <p:spPr>
            <a:xfrm flipH="1">
              <a:off x="3792874" y="1277189"/>
              <a:ext cx="1456194" cy="2100173"/>
            </a:xfrm>
            <a:prstGeom prst="rect">
              <a:avLst/>
            </a:prstGeom>
          </p:spPr>
        </p:pic>
        <p:sp>
          <p:nvSpPr>
            <p:cNvPr id="67" name="Freeform 3430"/>
            <p:cNvSpPr>
              <a:spLocks/>
            </p:cNvSpPr>
            <p:nvPr/>
          </p:nvSpPr>
          <p:spPr bwMode="auto">
            <a:xfrm>
              <a:off x="3593306" y="2557187"/>
              <a:ext cx="2108200" cy="1309124"/>
            </a:xfrm>
            <a:custGeom>
              <a:avLst/>
              <a:gdLst>
                <a:gd name="T0" fmla="*/ 553 w 1020"/>
                <a:gd name="T1" fmla="*/ 168 h 626"/>
                <a:gd name="T2" fmla="*/ 433 w 1020"/>
                <a:gd name="T3" fmla="*/ 221 h 626"/>
                <a:gd name="T4" fmla="*/ 0 w 1020"/>
                <a:gd name="T5" fmla="*/ 352 h 626"/>
                <a:gd name="T6" fmla="*/ 474 w 1020"/>
                <a:gd name="T7" fmla="*/ 626 h 626"/>
                <a:gd name="T8" fmla="*/ 1020 w 1020"/>
                <a:gd name="T9" fmla="*/ 79 h 626"/>
                <a:gd name="T10" fmla="*/ 1015 w 1020"/>
                <a:gd name="T11" fmla="*/ 0 h 626"/>
                <a:gd name="T12" fmla="*/ 553 w 1020"/>
                <a:gd name="T13" fmla="*/ 168 h 626"/>
              </a:gdLst>
              <a:ahLst/>
              <a:cxnLst>
                <a:cxn ang="0">
                  <a:pos x="T0" y="T1"/>
                </a:cxn>
                <a:cxn ang="0">
                  <a:pos x="T2" y="T3"/>
                </a:cxn>
                <a:cxn ang="0">
                  <a:pos x="T4" y="T5"/>
                </a:cxn>
                <a:cxn ang="0">
                  <a:pos x="T6" y="T7"/>
                </a:cxn>
                <a:cxn ang="0">
                  <a:pos x="T8" y="T9"/>
                </a:cxn>
                <a:cxn ang="0">
                  <a:pos x="T10" y="T11"/>
                </a:cxn>
                <a:cxn ang="0">
                  <a:pos x="T12" y="T13"/>
                </a:cxn>
              </a:cxnLst>
              <a:rect l="0" t="0" r="r" b="b"/>
              <a:pathLst>
                <a:path w="1020" h="626">
                  <a:moveTo>
                    <a:pt x="553" y="168"/>
                  </a:moveTo>
                  <a:cubicBezTo>
                    <a:pt x="514" y="186"/>
                    <a:pt x="473" y="204"/>
                    <a:pt x="433" y="221"/>
                  </a:cubicBezTo>
                  <a:cubicBezTo>
                    <a:pt x="320" y="270"/>
                    <a:pt x="168" y="328"/>
                    <a:pt x="0" y="352"/>
                  </a:cubicBezTo>
                  <a:cubicBezTo>
                    <a:pt x="95" y="516"/>
                    <a:pt x="271" y="626"/>
                    <a:pt x="474" y="626"/>
                  </a:cubicBezTo>
                  <a:cubicBezTo>
                    <a:pt x="776" y="626"/>
                    <a:pt x="1020" y="381"/>
                    <a:pt x="1020" y="79"/>
                  </a:cubicBezTo>
                  <a:cubicBezTo>
                    <a:pt x="1020" y="52"/>
                    <a:pt x="1018" y="26"/>
                    <a:pt x="1015" y="0"/>
                  </a:cubicBezTo>
                  <a:cubicBezTo>
                    <a:pt x="847" y="36"/>
                    <a:pt x="697" y="103"/>
                    <a:pt x="553" y="168"/>
                  </a:cubicBezTo>
                  <a:close/>
                </a:path>
              </a:pathLst>
            </a:custGeom>
            <a:solidFill>
              <a:srgbClr val="0070C0"/>
            </a:solidFill>
            <a:ln>
              <a:noFill/>
            </a:ln>
            <a:extLst/>
          </p:spPr>
          <p:txBody>
            <a:bodyPr vert="horz" wrap="square" lIns="91440" tIns="45720" rIns="91440" bIns="126000" numCol="1" anchor="b"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Segoe UI Light"/>
                  <a:ea typeface="+mn-ea"/>
                  <a:cs typeface="+mn-cs"/>
                </a:rPr>
                <a:t>IT Ops</a:t>
              </a:r>
            </a:p>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216235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hift to DevOps</a:t>
            </a:r>
            <a:endParaRPr lang="en-US" dirty="0"/>
          </a:p>
        </p:txBody>
      </p:sp>
      <p:sp>
        <p:nvSpPr>
          <p:cNvPr id="3" name="Content Placeholder 2"/>
          <p:cNvSpPr>
            <a:spLocks noGrp="1"/>
          </p:cNvSpPr>
          <p:nvPr>
            <p:ph type="body" sz="quarter" idx="10"/>
          </p:nvPr>
        </p:nvSpPr>
        <p:spPr>
          <a:xfrm>
            <a:off x="201930" y="1635646"/>
            <a:ext cx="4033911" cy="865784"/>
          </a:xfrm>
        </p:spPr>
        <p:txBody>
          <a:bodyPr/>
          <a:lstStyle/>
          <a:p>
            <a:r>
              <a:rPr lang="en-US" dirty="0"/>
              <a:t>Old World</a:t>
            </a:r>
          </a:p>
          <a:p>
            <a:pPr lvl="1"/>
            <a:r>
              <a:rPr lang="en-US" dirty="0"/>
              <a:t>Focus on planning</a:t>
            </a:r>
          </a:p>
          <a:p>
            <a:pPr lvl="1"/>
            <a:r>
              <a:rPr lang="en-US" dirty="0"/>
              <a:t>Compete, not collaborate</a:t>
            </a:r>
          </a:p>
          <a:p>
            <a:pPr lvl="1"/>
            <a:r>
              <a:rPr lang="en-US" dirty="0"/>
              <a:t>Static hierarchies</a:t>
            </a:r>
          </a:p>
          <a:p>
            <a:pPr lvl="1"/>
            <a:r>
              <a:rPr lang="en-US" dirty="0"/>
              <a:t>Individual productivity </a:t>
            </a:r>
          </a:p>
          <a:p>
            <a:pPr lvl="1"/>
            <a:r>
              <a:rPr lang="en-US" dirty="0"/>
              <a:t>Efficiency of process</a:t>
            </a:r>
          </a:p>
          <a:p>
            <a:pPr lvl="1"/>
            <a:r>
              <a:rPr lang="en-US" dirty="0"/>
              <a:t>Assumptions, not data</a:t>
            </a:r>
          </a:p>
        </p:txBody>
      </p:sp>
      <p:sp>
        <p:nvSpPr>
          <p:cNvPr id="4" name="Content Placeholder 3"/>
          <p:cNvSpPr>
            <a:spLocks noGrp="1"/>
          </p:cNvSpPr>
          <p:nvPr>
            <p:ph type="body" sz="quarter" idx="11"/>
          </p:nvPr>
        </p:nvSpPr>
        <p:spPr>
          <a:xfrm>
            <a:off x="4908161" y="1635646"/>
            <a:ext cx="4033911" cy="865784"/>
          </a:xfrm>
        </p:spPr>
        <p:txBody>
          <a:bodyPr/>
          <a:lstStyle/>
          <a:p>
            <a:r>
              <a:rPr lang="en-US"/>
              <a:t>New World</a:t>
            </a:r>
          </a:p>
          <a:p>
            <a:pPr lvl="1"/>
            <a:r>
              <a:rPr lang="en-US"/>
              <a:t>Focus on delivering</a:t>
            </a:r>
          </a:p>
          <a:p>
            <a:pPr lvl="1"/>
            <a:r>
              <a:rPr lang="en-US"/>
              <a:t>Collaborate to win</a:t>
            </a:r>
          </a:p>
          <a:p>
            <a:pPr lvl="1"/>
            <a:r>
              <a:rPr lang="en-US"/>
              <a:t>Fluent and flexible teams</a:t>
            </a:r>
          </a:p>
          <a:p>
            <a:pPr lvl="1"/>
            <a:r>
              <a:rPr lang="en-US"/>
              <a:t>Collective value creation</a:t>
            </a:r>
          </a:p>
          <a:p>
            <a:pPr lvl="1"/>
            <a:r>
              <a:rPr lang="en-US"/>
              <a:t>Effectiveness of outcomes</a:t>
            </a:r>
          </a:p>
          <a:p>
            <a:pPr lvl="1"/>
            <a:r>
              <a:rPr lang="en-US"/>
              <a:t>Experiment, learn and respond</a:t>
            </a:r>
          </a:p>
          <a:p>
            <a:pPr lvl="1"/>
            <a:endParaRPr lang="en-US" dirty="0"/>
          </a:p>
        </p:txBody>
      </p:sp>
    </p:spTree>
    <p:extLst>
      <p:ext uri="{BB962C8B-B14F-4D97-AF65-F5344CB8AC3E}">
        <p14:creationId xmlns:p14="http://schemas.microsoft.com/office/powerpoint/2010/main" val="6156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42791" y="1125073"/>
            <a:ext cx="1656868" cy="1632194"/>
            <a:chOff x="361913" y="1409851"/>
            <a:chExt cx="2253455" cy="2219897"/>
          </a:xfrm>
        </p:grpSpPr>
        <p:cxnSp>
          <p:nvCxnSpPr>
            <p:cNvPr id="5" name="Straight Connector 4"/>
            <p:cNvCxnSpPr/>
            <p:nvPr/>
          </p:nvCxnSpPr>
          <p:spPr>
            <a:xfrm flipV="1">
              <a:off x="1153218" y="2725761"/>
              <a:ext cx="0" cy="903987"/>
            </a:xfrm>
            <a:prstGeom prst="line">
              <a:avLst/>
            </a:prstGeom>
            <a:noFill/>
            <a:ln w="6350" cap="flat" cmpd="sng" algn="ctr">
              <a:solidFill>
                <a:srgbClr val="6B2A7A"/>
              </a:solidFill>
              <a:prstDash val="solid"/>
              <a:miter lim="800000"/>
            </a:ln>
            <a:effectLst/>
          </p:spPr>
        </p:cxnSp>
        <p:cxnSp>
          <p:nvCxnSpPr>
            <p:cNvPr id="6" name="Straight Connector 5"/>
            <p:cNvCxnSpPr/>
            <p:nvPr/>
          </p:nvCxnSpPr>
          <p:spPr>
            <a:xfrm>
              <a:off x="361913" y="2725761"/>
              <a:ext cx="1728313" cy="0"/>
            </a:xfrm>
            <a:prstGeom prst="line">
              <a:avLst/>
            </a:prstGeom>
            <a:noFill/>
            <a:ln w="6350" cap="flat" cmpd="sng" algn="ctr">
              <a:solidFill>
                <a:srgbClr val="6B2A7A"/>
              </a:solidFill>
              <a:prstDash val="solid"/>
              <a:miter lim="800000"/>
            </a:ln>
            <a:effectLst/>
          </p:spPr>
        </p:cxnSp>
        <p:sp>
          <p:nvSpPr>
            <p:cNvPr id="7" name="Rectangle 6"/>
            <p:cNvSpPr/>
            <p:nvPr/>
          </p:nvSpPr>
          <p:spPr>
            <a:xfrm flipH="1">
              <a:off x="361913" y="1409851"/>
              <a:ext cx="2253455" cy="1316315"/>
            </a:xfrm>
            <a:prstGeom prst="rect">
              <a:avLst/>
            </a:prstGeom>
          </p:spPr>
          <p:txBody>
            <a:bodyPr wrap="square">
              <a:spAutoFit/>
            </a:bodyPr>
            <a:lstStyle/>
            <a:p>
              <a:pPr marL="0" marR="0" lvl="0" indent="0" algn="l" defTabSz="672358" rtl="0" eaLnBrk="1" fontAlgn="auto" latinLnBrk="0" hangingPunct="1">
                <a:lnSpc>
                  <a:spcPct val="150000"/>
                </a:lnSpc>
                <a:spcBef>
                  <a:spcPts val="0"/>
                </a:spcBef>
                <a:spcAft>
                  <a:spcPts val="0"/>
                </a:spcAft>
                <a:buClrTx/>
                <a:buSzTx/>
                <a:buFontTx/>
                <a:buNone/>
                <a:tabLst/>
                <a:defRPr/>
              </a:pPr>
              <a:r>
                <a:rPr kumimoji="0" lang="de-DE" sz="735" b="1" i="0" u="none" strike="noStrike" kern="0" cap="none" spc="147" normalizeH="0" baseline="0" noProof="0" dirty="0">
                  <a:ln>
                    <a:noFill/>
                  </a:ln>
                  <a:solidFill>
                    <a:srgbClr val="682A7A"/>
                  </a:solidFill>
                  <a:effectLst/>
                  <a:uLnTx/>
                  <a:uFillTx/>
                  <a:latin typeface="Segoe UI"/>
                  <a:ea typeface="+mn-ea"/>
                  <a:cs typeface="Arial" pitchFamily="34" charset="0"/>
                </a:rPr>
                <a:t>PRACTICES</a:t>
              </a:r>
              <a:endParaRPr kumimoji="0" lang="en-US" sz="882" b="0" i="0" u="none" strike="noStrike" kern="1200" cap="none" spc="0" normalizeH="0" baseline="0" noProof="0" dirty="0">
                <a:ln>
                  <a:noFill/>
                </a:ln>
                <a:solidFill>
                  <a:srgbClr val="682A7A"/>
                </a:solidFill>
                <a:effectLst/>
                <a:uLnTx/>
                <a:uFillTx/>
                <a:latin typeface="Segoe UI"/>
                <a:ea typeface="Calibri" panose="020F0502020204030204" pitchFamily="34" charset="0"/>
                <a:cs typeface="Arial" panose="020B0604020202020204" pitchFamily="34" charset="0"/>
              </a:endParaRP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Automated Testing</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ntinuous Integration</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ntinuous Deployment</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Release Management</a:t>
              </a:r>
            </a:p>
          </p:txBody>
        </p:sp>
      </p:grpSp>
      <p:sp>
        <p:nvSpPr>
          <p:cNvPr id="8" name="Rectangle 7"/>
          <p:cNvSpPr/>
          <p:nvPr/>
        </p:nvSpPr>
        <p:spPr>
          <a:xfrm flipH="1">
            <a:off x="1538893" y="4305304"/>
            <a:ext cx="1656868" cy="268792"/>
          </a:xfrm>
          <a:prstGeom prst="rect">
            <a:avLst/>
          </a:prstGeom>
        </p:spPr>
        <p:txBody>
          <a:bodyPr wrap="square">
            <a:spAutoFit/>
          </a:bodyPr>
          <a:lstStyle/>
          <a:p>
            <a:pPr marL="0" marR="0" lvl="0" indent="0" algn="l" defTabSz="672358" rtl="0" eaLnBrk="1" fontAlgn="auto" latinLnBrk="0" hangingPunct="1">
              <a:lnSpc>
                <a:spcPct val="13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FFFFFF"/>
              </a:solidFill>
              <a:effectLst/>
              <a:uLnTx/>
              <a:uFillTx/>
              <a:latin typeface="Segoe UI"/>
              <a:ea typeface="Calibri" panose="020F0502020204030204" pitchFamily="34" charset="0"/>
              <a:cs typeface="Arial" panose="020B0604020202020204" pitchFamily="34" charset="0"/>
            </a:endParaRPr>
          </a:p>
        </p:txBody>
      </p:sp>
      <p:grpSp>
        <p:nvGrpSpPr>
          <p:cNvPr id="9" name="Group 8"/>
          <p:cNvGrpSpPr/>
          <p:nvPr/>
        </p:nvGrpSpPr>
        <p:grpSpPr>
          <a:xfrm>
            <a:off x="2849397" y="1342049"/>
            <a:ext cx="1656868" cy="1651379"/>
            <a:chOff x="3907078" y="1704954"/>
            <a:chExt cx="2253455" cy="2245990"/>
          </a:xfrm>
        </p:grpSpPr>
        <p:cxnSp>
          <p:nvCxnSpPr>
            <p:cNvPr id="10" name="Straight Connector 9"/>
            <p:cNvCxnSpPr/>
            <p:nvPr/>
          </p:nvCxnSpPr>
          <p:spPr>
            <a:xfrm flipV="1">
              <a:off x="4743490" y="3046957"/>
              <a:ext cx="0" cy="903987"/>
            </a:xfrm>
            <a:prstGeom prst="line">
              <a:avLst/>
            </a:prstGeom>
            <a:noFill/>
            <a:ln w="6350" cap="flat" cmpd="sng" algn="ctr">
              <a:solidFill>
                <a:srgbClr val="6B2A7A"/>
              </a:solidFill>
              <a:prstDash val="solid"/>
              <a:miter lim="800000"/>
            </a:ln>
            <a:effectLst/>
          </p:spPr>
        </p:cxnSp>
        <p:cxnSp>
          <p:nvCxnSpPr>
            <p:cNvPr id="11" name="Straight Connector 10"/>
            <p:cNvCxnSpPr/>
            <p:nvPr/>
          </p:nvCxnSpPr>
          <p:spPr>
            <a:xfrm>
              <a:off x="3952185" y="3046957"/>
              <a:ext cx="1983517" cy="0"/>
            </a:xfrm>
            <a:prstGeom prst="line">
              <a:avLst/>
            </a:prstGeom>
            <a:noFill/>
            <a:ln w="6350" cap="flat" cmpd="sng" algn="ctr">
              <a:solidFill>
                <a:srgbClr val="6B2A7A"/>
              </a:solidFill>
              <a:prstDash val="solid"/>
              <a:miter lim="800000"/>
            </a:ln>
            <a:effectLst/>
          </p:spPr>
        </p:cxnSp>
        <p:sp>
          <p:nvSpPr>
            <p:cNvPr id="12" name="Rectangle 11"/>
            <p:cNvSpPr/>
            <p:nvPr/>
          </p:nvSpPr>
          <p:spPr>
            <a:xfrm flipH="1">
              <a:off x="3907078" y="1704954"/>
              <a:ext cx="2253455" cy="1316315"/>
            </a:xfrm>
            <a:prstGeom prst="rect">
              <a:avLst/>
            </a:prstGeom>
          </p:spPr>
          <p:txBody>
            <a:bodyPr wrap="square">
              <a:spAutoFit/>
            </a:bodyPr>
            <a:lstStyle/>
            <a:p>
              <a:pPr marL="0" marR="0" lvl="0" indent="0" algn="l" defTabSz="672358" rtl="0" eaLnBrk="1" fontAlgn="auto" latinLnBrk="0" hangingPunct="1">
                <a:lnSpc>
                  <a:spcPct val="150000"/>
                </a:lnSpc>
                <a:spcBef>
                  <a:spcPts val="0"/>
                </a:spcBef>
                <a:spcAft>
                  <a:spcPts val="0"/>
                </a:spcAft>
                <a:buClrTx/>
                <a:buSzTx/>
                <a:buFontTx/>
                <a:buNone/>
                <a:tabLst/>
                <a:defRPr/>
              </a:pPr>
              <a:r>
                <a:rPr kumimoji="0" lang="de-DE" sz="735" b="1" i="0" u="none" strike="noStrike" kern="0" cap="none" spc="147" normalizeH="0" baseline="0" noProof="0" dirty="0">
                  <a:ln>
                    <a:noFill/>
                  </a:ln>
                  <a:solidFill>
                    <a:srgbClr val="682A7A"/>
                  </a:solidFill>
                  <a:effectLst/>
                  <a:uLnTx/>
                  <a:uFillTx/>
                  <a:latin typeface="Segoe UI"/>
                  <a:ea typeface="+mn-ea"/>
                  <a:cs typeface="Arial" pitchFamily="34" charset="0"/>
                </a:rPr>
                <a:t>PRACTICES</a:t>
              </a:r>
              <a:endParaRPr kumimoji="0" lang="en-US" sz="882" b="0" i="0" u="none" strike="noStrike" kern="1200" cap="none" spc="0" normalizeH="0" baseline="0" noProof="0" dirty="0">
                <a:ln>
                  <a:noFill/>
                </a:ln>
                <a:solidFill>
                  <a:srgbClr val="682A7A"/>
                </a:solidFill>
                <a:effectLst/>
                <a:uLnTx/>
                <a:uFillTx/>
                <a:latin typeface="Segoe UI"/>
                <a:ea typeface="Calibri" panose="020F0502020204030204" pitchFamily="34" charset="0"/>
                <a:cs typeface="Arial" panose="020B0604020202020204" pitchFamily="34" charset="0"/>
              </a:endParaRP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Usage Monitoring</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Telemetry Collection</a:t>
              </a:r>
              <a:b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b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Testing in Production</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Stakeholder Feedback</a:t>
              </a:r>
            </a:p>
          </p:txBody>
        </p:sp>
      </p:grpSp>
      <p:grpSp>
        <p:nvGrpSpPr>
          <p:cNvPr id="13" name="Group 12"/>
          <p:cNvGrpSpPr/>
          <p:nvPr/>
        </p:nvGrpSpPr>
        <p:grpSpPr>
          <a:xfrm>
            <a:off x="4191173" y="3232295"/>
            <a:ext cx="1656868" cy="1828581"/>
            <a:chOff x="5731986" y="4275818"/>
            <a:chExt cx="2253455" cy="2486997"/>
          </a:xfrm>
        </p:grpSpPr>
        <p:cxnSp>
          <p:nvCxnSpPr>
            <p:cNvPr id="14" name="Straight Connector 13"/>
            <p:cNvCxnSpPr/>
            <p:nvPr/>
          </p:nvCxnSpPr>
          <p:spPr>
            <a:xfrm>
              <a:off x="6523291" y="4275818"/>
              <a:ext cx="0" cy="903987"/>
            </a:xfrm>
            <a:prstGeom prst="line">
              <a:avLst/>
            </a:prstGeom>
            <a:noFill/>
            <a:ln w="6350" cap="flat" cmpd="sng" algn="ctr">
              <a:solidFill>
                <a:srgbClr val="6B2A7A"/>
              </a:solidFill>
              <a:prstDash val="solid"/>
              <a:miter lim="800000"/>
            </a:ln>
            <a:effectLst/>
          </p:spPr>
        </p:cxnSp>
        <p:cxnSp>
          <p:nvCxnSpPr>
            <p:cNvPr id="15" name="Straight Connector 14"/>
            <p:cNvCxnSpPr/>
            <p:nvPr/>
          </p:nvCxnSpPr>
          <p:spPr>
            <a:xfrm flipV="1">
              <a:off x="5731986" y="5179805"/>
              <a:ext cx="1983517" cy="0"/>
            </a:xfrm>
            <a:prstGeom prst="line">
              <a:avLst/>
            </a:prstGeom>
            <a:noFill/>
            <a:ln w="6350" cap="flat" cmpd="sng" algn="ctr">
              <a:solidFill>
                <a:srgbClr val="6B2A7A"/>
              </a:solidFill>
              <a:prstDash val="solid"/>
              <a:miter lim="800000"/>
            </a:ln>
            <a:effectLst/>
          </p:spPr>
        </p:cxnSp>
        <p:sp>
          <p:nvSpPr>
            <p:cNvPr id="16" name="Rectangle 15"/>
            <p:cNvSpPr/>
            <p:nvPr/>
          </p:nvSpPr>
          <p:spPr>
            <a:xfrm flipH="1">
              <a:off x="5731986" y="5206504"/>
              <a:ext cx="2253455" cy="1556311"/>
            </a:xfrm>
            <a:prstGeom prst="rect">
              <a:avLst/>
            </a:prstGeom>
          </p:spPr>
          <p:txBody>
            <a:bodyPr wrap="square">
              <a:spAutoFit/>
            </a:bodyPr>
            <a:lstStyle/>
            <a:p>
              <a:pPr marL="0" marR="0" lvl="0" indent="0" algn="l" defTabSz="672358" rtl="0" eaLnBrk="1" fontAlgn="auto" latinLnBrk="0" hangingPunct="1">
                <a:lnSpc>
                  <a:spcPct val="150000"/>
                </a:lnSpc>
                <a:spcBef>
                  <a:spcPts val="0"/>
                </a:spcBef>
                <a:spcAft>
                  <a:spcPts val="0"/>
                </a:spcAft>
                <a:buClrTx/>
                <a:buSzTx/>
                <a:buFontTx/>
                <a:buNone/>
                <a:tabLst/>
                <a:defRPr/>
              </a:pPr>
              <a:r>
                <a:rPr kumimoji="0" lang="de-DE" sz="735" b="1" i="0" u="none" strike="noStrike" kern="0" cap="none" spc="147" normalizeH="0" baseline="0" noProof="0" dirty="0">
                  <a:ln>
                    <a:noFill/>
                  </a:ln>
                  <a:solidFill>
                    <a:srgbClr val="682A7A"/>
                  </a:solidFill>
                  <a:effectLst/>
                  <a:uLnTx/>
                  <a:uFillTx/>
                  <a:latin typeface="Segoe UI"/>
                  <a:ea typeface="+mn-ea"/>
                  <a:cs typeface="Arial" pitchFamily="34" charset="0"/>
                </a:rPr>
                <a:t>PRACTICES</a:t>
              </a:r>
              <a:endParaRPr kumimoji="0" lang="en-US" sz="882" b="0" i="0" u="none" strike="noStrike" kern="1200" cap="none" spc="0" normalizeH="0" baseline="0" noProof="0" dirty="0">
                <a:ln>
                  <a:noFill/>
                </a:ln>
                <a:solidFill>
                  <a:srgbClr val="682A7A"/>
                </a:solidFill>
                <a:effectLst/>
                <a:uLnTx/>
                <a:uFillTx/>
                <a:latin typeface="Segoe UI"/>
                <a:ea typeface="Calibri" panose="020F0502020204030204" pitchFamily="34" charset="0"/>
                <a:cs typeface="Arial" panose="020B0604020202020204" pitchFamily="34" charset="0"/>
              </a:endParaRP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Testing in Production</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Usage Monitoring</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User Telemetry</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Stakeholder feedback</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Feature flags </a:t>
              </a:r>
            </a:p>
          </p:txBody>
        </p:sp>
      </p:grpSp>
      <p:grpSp>
        <p:nvGrpSpPr>
          <p:cNvPr id="17" name="Group 16"/>
          <p:cNvGrpSpPr/>
          <p:nvPr/>
        </p:nvGrpSpPr>
        <p:grpSpPr>
          <a:xfrm>
            <a:off x="5325791" y="1504457"/>
            <a:ext cx="1656868" cy="1467627"/>
            <a:chOff x="7325948" y="1976641"/>
            <a:chExt cx="2253455" cy="1996075"/>
          </a:xfrm>
        </p:grpSpPr>
        <p:cxnSp>
          <p:nvCxnSpPr>
            <p:cNvPr id="18" name="Straight Connector 17"/>
            <p:cNvCxnSpPr/>
            <p:nvPr/>
          </p:nvCxnSpPr>
          <p:spPr>
            <a:xfrm flipV="1">
              <a:off x="8148885" y="3068729"/>
              <a:ext cx="0" cy="903987"/>
            </a:xfrm>
            <a:prstGeom prst="line">
              <a:avLst/>
            </a:prstGeom>
            <a:noFill/>
            <a:ln w="6350" cap="flat" cmpd="sng" algn="ctr">
              <a:solidFill>
                <a:srgbClr val="6B2A7A"/>
              </a:solidFill>
              <a:prstDash val="solid"/>
              <a:miter lim="800000"/>
            </a:ln>
            <a:effectLst/>
          </p:spPr>
        </p:cxnSp>
        <p:cxnSp>
          <p:nvCxnSpPr>
            <p:cNvPr id="19" name="Straight Connector 18"/>
            <p:cNvCxnSpPr/>
            <p:nvPr/>
          </p:nvCxnSpPr>
          <p:spPr>
            <a:xfrm>
              <a:off x="7334430" y="3068729"/>
              <a:ext cx="1983517" cy="0"/>
            </a:xfrm>
            <a:prstGeom prst="line">
              <a:avLst/>
            </a:prstGeom>
            <a:noFill/>
            <a:ln w="6350" cap="flat" cmpd="sng" algn="ctr">
              <a:solidFill>
                <a:srgbClr val="6B2A7A"/>
              </a:solidFill>
              <a:prstDash val="solid"/>
              <a:miter lim="800000"/>
            </a:ln>
            <a:effectLst/>
          </p:spPr>
        </p:cxnSp>
        <p:sp>
          <p:nvSpPr>
            <p:cNvPr id="20" name="Rectangle 19"/>
            <p:cNvSpPr/>
            <p:nvPr/>
          </p:nvSpPr>
          <p:spPr>
            <a:xfrm flipH="1">
              <a:off x="7325948" y="1976641"/>
              <a:ext cx="2253455" cy="1076318"/>
            </a:xfrm>
            <a:prstGeom prst="rect">
              <a:avLst/>
            </a:prstGeom>
          </p:spPr>
          <p:txBody>
            <a:bodyPr wrap="square">
              <a:spAutoFit/>
            </a:bodyPr>
            <a:lstStyle/>
            <a:p>
              <a:pPr marL="0" marR="0" lvl="0" indent="0" algn="l" defTabSz="672358" rtl="0" eaLnBrk="1" fontAlgn="auto" latinLnBrk="0" hangingPunct="1">
                <a:lnSpc>
                  <a:spcPct val="150000"/>
                </a:lnSpc>
                <a:spcBef>
                  <a:spcPts val="0"/>
                </a:spcBef>
                <a:spcAft>
                  <a:spcPts val="0"/>
                </a:spcAft>
                <a:buClrTx/>
                <a:buSzTx/>
                <a:buFontTx/>
                <a:buNone/>
                <a:tabLst/>
                <a:defRPr/>
              </a:pPr>
              <a:r>
                <a:rPr kumimoji="0" lang="de-DE" sz="735" b="1" i="0" u="none" strike="noStrike" kern="0" cap="none" spc="147" normalizeH="0" baseline="0" noProof="0" dirty="0">
                  <a:ln>
                    <a:noFill/>
                  </a:ln>
                  <a:solidFill>
                    <a:srgbClr val="682A7A"/>
                  </a:solidFill>
                  <a:effectLst/>
                  <a:uLnTx/>
                  <a:uFillTx/>
                  <a:latin typeface="Segoe UI"/>
                  <a:ea typeface="+mn-ea"/>
                  <a:cs typeface="Arial" pitchFamily="34" charset="0"/>
                </a:rPr>
                <a:t>PRACTICES</a:t>
              </a:r>
              <a:endParaRPr kumimoji="0" lang="en-US" sz="882" b="0" i="0" u="none" strike="noStrike" kern="1200" cap="none" spc="0" normalizeH="0" baseline="0" noProof="0" dirty="0">
                <a:ln>
                  <a:noFill/>
                </a:ln>
                <a:solidFill>
                  <a:srgbClr val="682A7A"/>
                </a:solidFill>
                <a:effectLst/>
                <a:uLnTx/>
                <a:uFillTx/>
                <a:latin typeface="Segoe UI"/>
                <a:ea typeface="Calibri" panose="020F0502020204030204" pitchFamily="34" charset="0"/>
                <a:cs typeface="Arial" panose="020B0604020202020204" pitchFamily="34" charset="0"/>
              </a:endParaRP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de Reviews</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Automated Testing</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ntinuous Measurement</a:t>
              </a:r>
            </a:p>
          </p:txBody>
        </p:sp>
      </p:grpSp>
      <p:grpSp>
        <p:nvGrpSpPr>
          <p:cNvPr id="21" name="Group 20"/>
          <p:cNvGrpSpPr/>
          <p:nvPr/>
        </p:nvGrpSpPr>
        <p:grpSpPr>
          <a:xfrm>
            <a:off x="6543269" y="3155724"/>
            <a:ext cx="2260440" cy="2008314"/>
            <a:chOff x="8931001" y="4171676"/>
            <a:chExt cx="3074355" cy="2731446"/>
          </a:xfrm>
        </p:grpSpPr>
        <p:cxnSp>
          <p:nvCxnSpPr>
            <p:cNvPr id="22" name="Straight Connector 21"/>
            <p:cNvCxnSpPr/>
            <p:nvPr/>
          </p:nvCxnSpPr>
          <p:spPr>
            <a:xfrm>
              <a:off x="9722306" y="4171676"/>
              <a:ext cx="0" cy="903987"/>
            </a:xfrm>
            <a:prstGeom prst="line">
              <a:avLst/>
            </a:prstGeom>
            <a:noFill/>
            <a:ln w="6350" cap="flat" cmpd="sng" algn="ctr">
              <a:solidFill>
                <a:srgbClr val="6B2A7A"/>
              </a:solidFill>
              <a:prstDash val="solid"/>
              <a:miter lim="800000"/>
            </a:ln>
            <a:effectLst/>
          </p:spPr>
        </p:cxnSp>
        <p:cxnSp>
          <p:nvCxnSpPr>
            <p:cNvPr id="23" name="Straight Connector 22"/>
            <p:cNvCxnSpPr/>
            <p:nvPr/>
          </p:nvCxnSpPr>
          <p:spPr>
            <a:xfrm>
              <a:off x="8931001" y="5075663"/>
              <a:ext cx="2499111" cy="0"/>
            </a:xfrm>
            <a:prstGeom prst="line">
              <a:avLst/>
            </a:prstGeom>
            <a:noFill/>
            <a:ln w="6350" cap="flat" cmpd="sng" algn="ctr">
              <a:solidFill>
                <a:srgbClr val="6B2A7A"/>
              </a:solidFill>
              <a:prstDash val="solid"/>
              <a:miter lim="800000"/>
            </a:ln>
            <a:effectLst/>
          </p:spPr>
        </p:cxnSp>
        <p:sp>
          <p:nvSpPr>
            <p:cNvPr id="24" name="Rectangle 23"/>
            <p:cNvSpPr/>
            <p:nvPr/>
          </p:nvSpPr>
          <p:spPr>
            <a:xfrm flipH="1">
              <a:off x="8931001" y="5106816"/>
              <a:ext cx="3074355" cy="1796306"/>
            </a:xfrm>
            <a:prstGeom prst="rect">
              <a:avLst/>
            </a:prstGeom>
          </p:spPr>
          <p:txBody>
            <a:bodyPr wrap="square">
              <a:spAutoFit/>
            </a:bodyPr>
            <a:lstStyle/>
            <a:p>
              <a:pPr marL="0" marR="0" lvl="0" indent="0" algn="l" defTabSz="672358" rtl="0" eaLnBrk="1" fontAlgn="auto" latinLnBrk="0" hangingPunct="1">
                <a:lnSpc>
                  <a:spcPct val="150000"/>
                </a:lnSpc>
                <a:spcBef>
                  <a:spcPts val="0"/>
                </a:spcBef>
                <a:spcAft>
                  <a:spcPts val="0"/>
                </a:spcAft>
                <a:buClrTx/>
                <a:buSzTx/>
                <a:buFontTx/>
                <a:buNone/>
                <a:tabLst/>
                <a:defRPr/>
              </a:pPr>
              <a:r>
                <a:rPr kumimoji="0" lang="de-DE" sz="735" b="1" i="0" u="none" strike="noStrike" kern="0" cap="none" spc="147" normalizeH="0" baseline="0" noProof="0" dirty="0">
                  <a:ln>
                    <a:noFill/>
                  </a:ln>
                  <a:solidFill>
                    <a:srgbClr val="682A7A"/>
                  </a:solidFill>
                  <a:effectLst/>
                  <a:uLnTx/>
                  <a:uFillTx/>
                  <a:latin typeface="Segoe UI"/>
                  <a:ea typeface="+mn-ea"/>
                  <a:cs typeface="Arial" pitchFamily="34" charset="0"/>
                </a:rPr>
                <a:t>PRACTICES</a:t>
              </a:r>
              <a:endParaRPr kumimoji="0" lang="en-US" sz="882" b="0" i="0" u="none" strike="noStrike" kern="1200" cap="none" spc="-51" normalizeH="0" baseline="0" noProof="0" dirty="0">
                <a:ln>
                  <a:noFill/>
                </a:ln>
                <a:solidFill>
                  <a:srgbClr val="682A7A"/>
                </a:solidFill>
                <a:effectLst/>
                <a:uLnTx/>
                <a:uFillTx/>
                <a:latin typeface="Segoe UI"/>
                <a:ea typeface="Calibri" panose="020F0502020204030204" pitchFamily="34" charset="0"/>
                <a:cs typeface="Arial" panose="020B0604020202020204" pitchFamily="34" charset="0"/>
              </a:endParaRP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51"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Application Performance  Management</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Infrastructure as Code</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ntinuous Delivery</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Release Management </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nfiguration Management </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Automated Recovery</a:t>
              </a:r>
            </a:p>
          </p:txBody>
        </p:sp>
      </p:grpSp>
      <p:grpSp>
        <p:nvGrpSpPr>
          <p:cNvPr id="25" name="Group 24"/>
          <p:cNvGrpSpPr/>
          <p:nvPr/>
        </p:nvGrpSpPr>
        <p:grpSpPr>
          <a:xfrm>
            <a:off x="7227216" y="738852"/>
            <a:ext cx="1933459" cy="1986400"/>
            <a:chOff x="9742683" y="884564"/>
            <a:chExt cx="2629639" cy="2701642"/>
          </a:xfrm>
        </p:grpSpPr>
        <p:cxnSp>
          <p:nvCxnSpPr>
            <p:cNvPr id="26" name="Straight Connector 25"/>
            <p:cNvCxnSpPr/>
            <p:nvPr/>
          </p:nvCxnSpPr>
          <p:spPr>
            <a:xfrm flipV="1">
              <a:off x="11202390" y="2682219"/>
              <a:ext cx="0" cy="903987"/>
            </a:xfrm>
            <a:prstGeom prst="line">
              <a:avLst/>
            </a:prstGeom>
            <a:noFill/>
            <a:ln w="6350" cap="flat" cmpd="sng" algn="ctr">
              <a:solidFill>
                <a:srgbClr val="6B2A7A"/>
              </a:solidFill>
              <a:prstDash val="solid"/>
              <a:miter lim="800000"/>
            </a:ln>
            <a:effectLst/>
          </p:spPr>
        </p:cxnSp>
        <p:sp>
          <p:nvSpPr>
            <p:cNvPr id="27" name="Rectangle 26"/>
            <p:cNvSpPr/>
            <p:nvPr/>
          </p:nvSpPr>
          <p:spPr>
            <a:xfrm flipH="1">
              <a:off x="9742683" y="884564"/>
              <a:ext cx="2629639" cy="1796306"/>
            </a:xfrm>
            <a:prstGeom prst="rect">
              <a:avLst/>
            </a:prstGeom>
          </p:spPr>
          <p:txBody>
            <a:bodyPr wrap="square">
              <a:spAutoFit/>
            </a:bodyPr>
            <a:lstStyle/>
            <a:p>
              <a:pPr marL="0" marR="0" lvl="0" indent="0" algn="l" defTabSz="672358" rtl="0" eaLnBrk="1" fontAlgn="auto" latinLnBrk="0" hangingPunct="1">
                <a:lnSpc>
                  <a:spcPct val="150000"/>
                </a:lnSpc>
                <a:spcBef>
                  <a:spcPts val="0"/>
                </a:spcBef>
                <a:spcAft>
                  <a:spcPts val="0"/>
                </a:spcAft>
                <a:buClrTx/>
                <a:buSzTx/>
                <a:buFontTx/>
                <a:buNone/>
                <a:tabLst/>
                <a:defRPr/>
              </a:pPr>
              <a:r>
                <a:rPr kumimoji="0" lang="de-DE" sz="735" b="1" i="0" u="none" strike="noStrike" kern="0" cap="none" spc="147" normalizeH="0" baseline="0" noProof="0" dirty="0">
                  <a:ln>
                    <a:noFill/>
                  </a:ln>
                  <a:solidFill>
                    <a:srgbClr val="682A7A"/>
                  </a:solidFill>
                  <a:effectLst/>
                  <a:uLnTx/>
                  <a:uFillTx/>
                  <a:latin typeface="Segoe UI"/>
                  <a:ea typeface="+mn-ea"/>
                  <a:cs typeface="Arial" pitchFamily="34" charset="0"/>
                </a:rPr>
                <a:t>PRACTICES</a:t>
              </a:r>
              <a:endParaRPr kumimoji="0" lang="en-US" sz="882" b="0" i="0" u="none" strike="noStrike" kern="1200" cap="none" spc="-51" normalizeH="0" baseline="0" noProof="0" dirty="0">
                <a:ln>
                  <a:noFill/>
                </a:ln>
                <a:solidFill>
                  <a:srgbClr val="682A7A"/>
                </a:solidFill>
                <a:effectLst/>
                <a:uLnTx/>
                <a:uFillTx/>
                <a:latin typeface="Segoe UI"/>
                <a:ea typeface="Calibri" panose="020F0502020204030204" pitchFamily="34" charset="0"/>
                <a:cs typeface="Arial" panose="020B0604020202020204" pitchFamily="34" charset="0"/>
              </a:endParaRP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51"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Application Performance Management</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Infrastructure as Code</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ntinuous Deployment</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Release Management </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nfiguration Management </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Automated Recovery</a:t>
              </a:r>
            </a:p>
          </p:txBody>
        </p:sp>
        <p:cxnSp>
          <p:nvCxnSpPr>
            <p:cNvPr id="28" name="Straight Connector 27"/>
            <p:cNvCxnSpPr/>
            <p:nvPr/>
          </p:nvCxnSpPr>
          <p:spPr>
            <a:xfrm>
              <a:off x="9765833" y="2679060"/>
              <a:ext cx="2402431" cy="0"/>
            </a:xfrm>
            <a:prstGeom prst="line">
              <a:avLst/>
            </a:prstGeom>
            <a:noFill/>
            <a:ln w="6350" cap="flat" cmpd="sng" algn="ctr">
              <a:solidFill>
                <a:srgbClr val="6B2A7A"/>
              </a:solidFill>
              <a:prstDash val="solid"/>
              <a:miter lim="800000"/>
            </a:ln>
            <a:effectLst/>
          </p:spPr>
        </p:cxnSp>
      </p:grpSp>
      <p:grpSp>
        <p:nvGrpSpPr>
          <p:cNvPr id="29" name="Group 28"/>
          <p:cNvGrpSpPr/>
          <p:nvPr/>
        </p:nvGrpSpPr>
        <p:grpSpPr>
          <a:xfrm>
            <a:off x="1572149" y="3387276"/>
            <a:ext cx="1656868" cy="1663053"/>
            <a:chOff x="2169932" y="4486604"/>
            <a:chExt cx="2253455" cy="2261867"/>
          </a:xfrm>
        </p:grpSpPr>
        <p:cxnSp>
          <p:nvCxnSpPr>
            <p:cNvPr id="30" name="Straight Connector 29"/>
            <p:cNvCxnSpPr/>
            <p:nvPr/>
          </p:nvCxnSpPr>
          <p:spPr>
            <a:xfrm>
              <a:off x="2961237" y="4486604"/>
              <a:ext cx="0" cy="903987"/>
            </a:xfrm>
            <a:prstGeom prst="line">
              <a:avLst/>
            </a:prstGeom>
            <a:noFill/>
            <a:ln w="6350" cap="flat" cmpd="sng" algn="ctr">
              <a:solidFill>
                <a:srgbClr val="6B2A7A"/>
              </a:solidFill>
              <a:prstDash val="solid"/>
              <a:miter lim="800000"/>
            </a:ln>
            <a:effectLst/>
          </p:spPr>
        </p:cxnSp>
        <p:cxnSp>
          <p:nvCxnSpPr>
            <p:cNvPr id="31" name="Straight Connector 30"/>
            <p:cNvCxnSpPr/>
            <p:nvPr/>
          </p:nvCxnSpPr>
          <p:spPr>
            <a:xfrm>
              <a:off x="2169932" y="5390591"/>
              <a:ext cx="1684304" cy="0"/>
            </a:xfrm>
            <a:prstGeom prst="line">
              <a:avLst/>
            </a:prstGeom>
            <a:noFill/>
            <a:ln w="6350" cap="flat" cmpd="sng" algn="ctr">
              <a:solidFill>
                <a:srgbClr val="6B2A7A"/>
              </a:solidFill>
              <a:prstDash val="solid"/>
              <a:miter lim="800000"/>
            </a:ln>
            <a:effectLst/>
          </p:spPr>
        </p:cxnSp>
        <p:sp>
          <p:nvSpPr>
            <p:cNvPr id="32" name="Rectangle 31"/>
            <p:cNvSpPr/>
            <p:nvPr/>
          </p:nvSpPr>
          <p:spPr>
            <a:xfrm flipH="1">
              <a:off x="2169932" y="5432157"/>
              <a:ext cx="2253455" cy="1316314"/>
            </a:xfrm>
            <a:prstGeom prst="rect">
              <a:avLst/>
            </a:prstGeom>
          </p:spPr>
          <p:txBody>
            <a:bodyPr wrap="square">
              <a:spAutoFit/>
            </a:bodyPr>
            <a:lstStyle/>
            <a:p>
              <a:pPr marL="0" marR="0" lvl="0" indent="0" algn="l" defTabSz="672358" rtl="0" eaLnBrk="1" fontAlgn="auto" latinLnBrk="0" hangingPunct="1">
                <a:lnSpc>
                  <a:spcPct val="150000"/>
                </a:lnSpc>
                <a:spcBef>
                  <a:spcPts val="0"/>
                </a:spcBef>
                <a:spcAft>
                  <a:spcPts val="0"/>
                </a:spcAft>
                <a:buClrTx/>
                <a:buSzTx/>
                <a:buFontTx/>
                <a:buNone/>
                <a:tabLst/>
                <a:defRPr/>
              </a:pPr>
              <a:r>
                <a:rPr kumimoji="0" lang="de-DE" sz="735" b="1" i="0" u="none" strike="noStrike" kern="0" cap="none" spc="147" normalizeH="0" baseline="0" noProof="0" dirty="0">
                  <a:ln>
                    <a:noFill/>
                  </a:ln>
                  <a:solidFill>
                    <a:srgbClr val="682A7A"/>
                  </a:solidFill>
                  <a:effectLst/>
                  <a:uLnTx/>
                  <a:uFillTx/>
                  <a:latin typeface="Segoe UI"/>
                  <a:ea typeface="+mn-ea"/>
                  <a:cs typeface="Arial" pitchFamily="34" charset="0"/>
                </a:rPr>
                <a:t>PRACTICES</a:t>
              </a:r>
              <a:endParaRPr kumimoji="0" lang="en-US" sz="882" b="0" i="0" u="none" strike="noStrike" kern="1200" cap="none" spc="0" normalizeH="0" baseline="0" noProof="0" dirty="0">
                <a:ln>
                  <a:noFill/>
                </a:ln>
                <a:solidFill>
                  <a:srgbClr val="682A7A"/>
                </a:solidFill>
                <a:effectLst/>
                <a:uLnTx/>
                <a:uFillTx/>
                <a:latin typeface="Segoe UI"/>
                <a:ea typeface="Calibri" panose="020F0502020204030204" pitchFamily="34" charset="0"/>
                <a:cs typeface="Arial" panose="020B0604020202020204" pitchFamily="34" charset="0"/>
              </a:endParaRP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Enterprise Agile</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ntinuous Integration</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Continuous Deployment</a:t>
              </a:r>
            </a:p>
            <a:p>
              <a:pPr marL="0" marR="0" lvl="0" indent="0" algn="l" defTabSz="672358" rtl="0" eaLnBrk="1" fontAlgn="auto" latinLnBrk="0" hangingPunct="1">
                <a:lnSpc>
                  <a:spcPct val="13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3C3C3C"/>
                  </a:solidFill>
                  <a:effectLst/>
                  <a:uLnTx/>
                  <a:uFillTx/>
                  <a:latin typeface="Segoe UI"/>
                  <a:ea typeface="Calibri" panose="020F0502020204030204" pitchFamily="34" charset="0"/>
                  <a:cs typeface="Arial" panose="020B0604020202020204" pitchFamily="34" charset="0"/>
                </a:rPr>
                <a:t>Release Management</a:t>
              </a:r>
            </a:p>
          </p:txBody>
        </p:sp>
      </p:grpSp>
      <p:sp>
        <p:nvSpPr>
          <p:cNvPr id="53" name="Oval 52"/>
          <p:cNvSpPr/>
          <p:nvPr/>
        </p:nvSpPr>
        <p:spPr>
          <a:xfrm>
            <a:off x="306110" y="2567888"/>
            <a:ext cx="1058769" cy="1058769"/>
          </a:xfrm>
          <a:prstGeom prst="ellipse">
            <a:avLst/>
          </a:prstGeom>
          <a:solidFill>
            <a:srgbClr val="386AD8"/>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FFFFFF"/>
              </a:solidFill>
              <a:effectLst/>
              <a:uLnTx/>
              <a:uFillTx/>
              <a:latin typeface="Segoe UI"/>
              <a:ea typeface="+mn-ea"/>
              <a:cs typeface="+mn-cs"/>
            </a:endParaRPr>
          </a:p>
        </p:txBody>
      </p:sp>
      <p:sp>
        <p:nvSpPr>
          <p:cNvPr id="54" name="TextBox 53"/>
          <p:cNvSpPr txBox="1"/>
          <p:nvPr/>
        </p:nvSpPr>
        <p:spPr>
          <a:xfrm>
            <a:off x="201929" y="2609533"/>
            <a:ext cx="1267131" cy="992503"/>
          </a:xfrm>
          <a:prstGeom prst="rect">
            <a:avLst/>
          </a:prstGeom>
        </p:spPr>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882" b="1" i="1" u="none" strike="noStrike" kern="800" cap="none" spc="0" normalizeH="0" baseline="0" noProof="0" dirty="0">
                <a:ln>
                  <a:noFill/>
                </a:ln>
                <a:solidFill>
                  <a:srgbClr val="FFFFFF"/>
                </a:solidFill>
                <a:effectLst/>
                <a:uLnTx/>
                <a:uFillTx/>
                <a:latin typeface="Segoe UI"/>
                <a:ea typeface="+mn-ea"/>
                <a:cs typeface="+mn-cs"/>
              </a:rPr>
              <a:t>FLOW OF</a:t>
            </a:r>
            <a:br>
              <a:rPr kumimoji="0" lang="en-US" sz="882" b="1" i="1" u="none" strike="noStrike" kern="800" cap="none" spc="0" normalizeH="0" baseline="0" noProof="0" dirty="0">
                <a:ln>
                  <a:noFill/>
                </a:ln>
                <a:solidFill>
                  <a:srgbClr val="FFFFFF"/>
                </a:solidFill>
                <a:effectLst/>
                <a:uLnTx/>
                <a:uFillTx/>
                <a:latin typeface="Segoe UI"/>
                <a:ea typeface="+mn-ea"/>
                <a:cs typeface="+mn-cs"/>
              </a:rPr>
            </a:br>
            <a:r>
              <a:rPr kumimoji="0" lang="en-US" sz="882" b="1" i="1" u="none" strike="noStrike" kern="800" cap="none" spc="0" normalizeH="0" baseline="0" noProof="0" dirty="0">
                <a:ln>
                  <a:noFill/>
                </a:ln>
                <a:solidFill>
                  <a:srgbClr val="FFFFFF"/>
                </a:solidFill>
                <a:effectLst/>
                <a:uLnTx/>
                <a:uFillTx/>
                <a:latin typeface="Segoe UI"/>
                <a:ea typeface="+mn-ea"/>
                <a:cs typeface="+mn-cs"/>
              </a:rPr>
              <a:t>CUSTOMER VALUE</a:t>
            </a:r>
            <a:br>
              <a:rPr kumimoji="0" lang="en-US" sz="882" b="1" i="1" u="none" strike="noStrike" kern="800" cap="none" spc="0" normalizeH="0" baseline="0" noProof="0" dirty="0">
                <a:ln>
                  <a:noFill/>
                </a:ln>
                <a:solidFill>
                  <a:srgbClr val="FFFFFF"/>
                </a:solidFill>
                <a:effectLst/>
                <a:uLnTx/>
                <a:uFillTx/>
                <a:latin typeface="Segoe UI"/>
                <a:ea typeface="+mn-ea"/>
                <a:cs typeface="+mn-cs"/>
              </a:rPr>
            </a:br>
            <a:endParaRPr kumimoji="0" lang="en-US" sz="882" b="1" i="1" u="none" strike="noStrike" kern="800" cap="none" spc="0" normalizeH="0" baseline="0" noProof="0" dirty="0">
              <a:ln>
                <a:noFill/>
              </a:ln>
              <a:solidFill>
                <a:srgbClr val="FFFFFF"/>
              </a:solidFill>
              <a:effectLst/>
              <a:uLnTx/>
              <a:uFillTx/>
              <a:latin typeface="Segoe UI"/>
              <a:ea typeface="+mn-ea"/>
              <a:cs typeface="+mn-cs"/>
            </a:endParaRPr>
          </a:p>
        </p:txBody>
      </p:sp>
      <p:sp>
        <p:nvSpPr>
          <p:cNvPr id="51" name="Oval 50"/>
          <p:cNvSpPr/>
          <p:nvPr/>
        </p:nvSpPr>
        <p:spPr>
          <a:xfrm>
            <a:off x="1630297" y="2561251"/>
            <a:ext cx="1058769" cy="1058769"/>
          </a:xfrm>
          <a:prstGeom prst="ellipse">
            <a:avLst/>
          </a:prstGeom>
          <a:solidFill>
            <a:srgbClr val="386AD8"/>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FFFFFF"/>
              </a:solidFill>
              <a:effectLst/>
              <a:uLnTx/>
              <a:uFillTx/>
              <a:latin typeface="Segoe UI"/>
              <a:ea typeface="+mn-ea"/>
              <a:cs typeface="+mn-cs"/>
            </a:endParaRPr>
          </a:p>
        </p:txBody>
      </p:sp>
      <p:sp>
        <p:nvSpPr>
          <p:cNvPr id="52" name="TextBox 51"/>
          <p:cNvSpPr txBox="1"/>
          <p:nvPr/>
        </p:nvSpPr>
        <p:spPr>
          <a:xfrm>
            <a:off x="1262073" y="2534811"/>
            <a:ext cx="1804964" cy="992503"/>
          </a:xfrm>
          <a:prstGeom prst="rect">
            <a:avLst/>
          </a:prstGeom>
        </p:spPr>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882" b="1" i="1" u="none" strike="noStrike" kern="0" cap="none" spc="0" normalizeH="0" baseline="0" noProof="0" dirty="0">
                <a:ln>
                  <a:noFill/>
                </a:ln>
                <a:solidFill>
                  <a:srgbClr val="FFFFFF"/>
                </a:solidFill>
                <a:effectLst/>
                <a:uLnTx/>
                <a:uFillTx/>
                <a:latin typeface="Segoe UI"/>
                <a:ea typeface="+mn-ea"/>
                <a:cs typeface="+mn-cs"/>
              </a:rPr>
              <a:t>TEAM</a:t>
            </a:r>
            <a:br>
              <a:rPr kumimoji="0" lang="en-US" sz="882" b="1" i="1" u="none" strike="noStrike" kern="0" cap="none" spc="0" normalizeH="0" baseline="0" noProof="0" dirty="0">
                <a:ln>
                  <a:noFill/>
                </a:ln>
                <a:solidFill>
                  <a:srgbClr val="FFFFFF"/>
                </a:solidFill>
                <a:effectLst/>
                <a:uLnTx/>
                <a:uFillTx/>
                <a:latin typeface="Segoe UI"/>
                <a:ea typeface="+mn-ea"/>
                <a:cs typeface="+mn-cs"/>
              </a:rPr>
            </a:br>
            <a:r>
              <a:rPr kumimoji="0" lang="en-US" sz="882" b="1" i="1" u="none" strike="noStrike" kern="0" cap="none" spc="0" normalizeH="0" baseline="0" noProof="0" dirty="0">
                <a:ln>
                  <a:noFill/>
                </a:ln>
                <a:solidFill>
                  <a:srgbClr val="FFFFFF"/>
                </a:solidFill>
                <a:effectLst/>
                <a:uLnTx/>
                <a:uFillTx/>
                <a:latin typeface="Segoe UI"/>
                <a:ea typeface="+mn-ea"/>
                <a:cs typeface="+mn-cs"/>
              </a:rPr>
              <a:t>AUTONOMY</a:t>
            </a:r>
            <a:br>
              <a:rPr kumimoji="0" lang="en-US" sz="882" b="1" i="1" u="none" strike="noStrike" kern="0" cap="none" spc="0" normalizeH="0" baseline="0" noProof="0" dirty="0">
                <a:ln>
                  <a:noFill/>
                </a:ln>
                <a:solidFill>
                  <a:srgbClr val="FFFFFF"/>
                </a:solidFill>
                <a:effectLst/>
                <a:uLnTx/>
                <a:uFillTx/>
                <a:latin typeface="Segoe UI"/>
                <a:ea typeface="+mn-ea"/>
                <a:cs typeface="+mn-cs"/>
              </a:rPr>
            </a:br>
            <a:r>
              <a:rPr kumimoji="0" lang="en-US" sz="882" b="1" i="1" u="none" strike="noStrike" kern="0" cap="none" spc="0" normalizeH="0" baseline="0" noProof="0" dirty="0">
                <a:ln>
                  <a:noFill/>
                </a:ln>
                <a:solidFill>
                  <a:srgbClr val="FFFFFF"/>
                </a:solidFill>
                <a:effectLst/>
                <a:uLnTx/>
                <a:uFillTx/>
                <a:latin typeface="Segoe UI"/>
                <a:ea typeface="+mn-ea"/>
                <a:cs typeface="+mn-cs"/>
              </a:rPr>
              <a:t>&amp; ENTERPRISE</a:t>
            </a:r>
            <a:br>
              <a:rPr kumimoji="0" lang="en-US" sz="882" b="1" i="1" u="none" strike="noStrike" kern="0" cap="none" spc="0" normalizeH="0" baseline="0" noProof="0" dirty="0">
                <a:ln>
                  <a:noFill/>
                </a:ln>
                <a:solidFill>
                  <a:srgbClr val="FFFFFF"/>
                </a:solidFill>
                <a:effectLst/>
                <a:uLnTx/>
                <a:uFillTx/>
                <a:latin typeface="Segoe UI"/>
                <a:ea typeface="+mn-ea"/>
                <a:cs typeface="+mn-cs"/>
              </a:rPr>
            </a:br>
            <a:r>
              <a:rPr kumimoji="0" lang="en-US" sz="882" b="1" i="1" u="none" strike="noStrike" kern="0" cap="none" spc="0" normalizeH="0" baseline="0" noProof="0" dirty="0">
                <a:ln>
                  <a:noFill/>
                </a:ln>
                <a:solidFill>
                  <a:srgbClr val="FFFFFF"/>
                </a:solidFill>
                <a:effectLst/>
                <a:uLnTx/>
                <a:uFillTx/>
                <a:latin typeface="Segoe UI"/>
                <a:ea typeface="+mn-ea"/>
                <a:cs typeface="+mn-cs"/>
              </a:rPr>
              <a:t>ALIGNMENT</a:t>
            </a:r>
            <a:endParaRPr kumimoji="0" lang="en-US" sz="882" b="1" i="1" u="none" strike="noStrike" kern="800" cap="none" spc="0" normalizeH="0" baseline="0" noProof="0" dirty="0">
              <a:ln>
                <a:noFill/>
              </a:ln>
              <a:solidFill>
                <a:srgbClr val="FFFFFF"/>
              </a:solidFill>
              <a:effectLst/>
              <a:uLnTx/>
              <a:uFillTx/>
              <a:latin typeface="Bodoni MT"/>
              <a:ea typeface="+mn-ea"/>
              <a:cs typeface="+mn-cs"/>
            </a:endParaRPr>
          </a:p>
        </p:txBody>
      </p:sp>
      <p:sp>
        <p:nvSpPr>
          <p:cNvPr id="49" name="Oval 48"/>
          <p:cNvSpPr/>
          <p:nvPr/>
        </p:nvSpPr>
        <p:spPr>
          <a:xfrm>
            <a:off x="2988023" y="2567904"/>
            <a:ext cx="1058769" cy="1058769"/>
          </a:xfrm>
          <a:prstGeom prst="ellipse">
            <a:avLst/>
          </a:prstGeom>
          <a:solidFill>
            <a:srgbClr val="386AD8"/>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FFFFFF"/>
              </a:solidFill>
              <a:effectLst/>
              <a:uLnTx/>
              <a:uFillTx/>
              <a:latin typeface="Segoe UI"/>
              <a:ea typeface="+mn-ea"/>
              <a:cs typeface="+mn-cs"/>
            </a:endParaRPr>
          </a:p>
        </p:txBody>
      </p:sp>
      <p:sp>
        <p:nvSpPr>
          <p:cNvPr id="50" name="TextBox 49"/>
          <p:cNvSpPr txBox="1"/>
          <p:nvPr/>
        </p:nvSpPr>
        <p:spPr>
          <a:xfrm>
            <a:off x="2883842" y="2558486"/>
            <a:ext cx="1267131" cy="992503"/>
          </a:xfrm>
          <a:prstGeom prst="rect">
            <a:avLst/>
          </a:prstGeom>
        </p:spPr>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882" b="1" i="1" u="none" strike="noStrike" kern="800" cap="none" spc="0" normalizeH="0" baseline="0" noProof="0" dirty="0">
                <a:ln>
                  <a:noFill/>
                </a:ln>
                <a:solidFill>
                  <a:srgbClr val="FFFFFF"/>
                </a:solidFill>
                <a:effectLst/>
                <a:uLnTx/>
                <a:uFillTx/>
                <a:latin typeface="Segoe UI"/>
                <a:ea typeface="+mn-ea"/>
                <a:cs typeface="+mn-cs"/>
              </a:rPr>
              <a:t>BACKLOG refined with LEARNING</a:t>
            </a:r>
          </a:p>
        </p:txBody>
      </p:sp>
      <p:sp>
        <p:nvSpPr>
          <p:cNvPr id="47" name="Oval 46"/>
          <p:cNvSpPr/>
          <p:nvPr/>
        </p:nvSpPr>
        <p:spPr>
          <a:xfrm>
            <a:off x="4239950" y="2567888"/>
            <a:ext cx="1058769" cy="1058769"/>
          </a:xfrm>
          <a:prstGeom prst="ellipse">
            <a:avLst/>
          </a:prstGeom>
          <a:solidFill>
            <a:srgbClr val="386AD8"/>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FFFFFF"/>
              </a:solidFill>
              <a:effectLst/>
              <a:uLnTx/>
              <a:uFillTx/>
              <a:latin typeface="Segoe UI"/>
              <a:ea typeface="+mn-ea"/>
              <a:cs typeface="+mn-cs"/>
            </a:endParaRPr>
          </a:p>
        </p:txBody>
      </p:sp>
      <p:sp>
        <p:nvSpPr>
          <p:cNvPr id="48" name="TextBox 47"/>
          <p:cNvSpPr txBox="1"/>
          <p:nvPr/>
        </p:nvSpPr>
        <p:spPr>
          <a:xfrm>
            <a:off x="4135769" y="2549959"/>
            <a:ext cx="1267131" cy="992503"/>
          </a:xfrm>
          <a:prstGeom prst="rect">
            <a:avLst/>
          </a:prstGeom>
        </p:spPr>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882" b="1" i="1" u="none" strike="noStrike" kern="800" cap="none" spc="0" normalizeH="0" baseline="0" noProof="0" dirty="0">
                <a:ln>
                  <a:noFill/>
                </a:ln>
                <a:solidFill>
                  <a:srgbClr val="FFFFFF"/>
                </a:solidFill>
                <a:effectLst/>
                <a:uLnTx/>
                <a:uFillTx/>
                <a:latin typeface="Segoe UI"/>
                <a:ea typeface="+mn-ea"/>
                <a:cs typeface="+mn-cs"/>
              </a:rPr>
              <a:t>EVIDENCE</a:t>
            </a:r>
            <a:br>
              <a:rPr kumimoji="0" lang="en-US" sz="882" b="1" i="1" u="none" strike="noStrike" kern="800" cap="none" spc="0" normalizeH="0" baseline="0" noProof="0" dirty="0">
                <a:ln>
                  <a:noFill/>
                </a:ln>
                <a:solidFill>
                  <a:srgbClr val="FFFFFF"/>
                </a:solidFill>
                <a:effectLst/>
                <a:uLnTx/>
                <a:uFillTx/>
                <a:latin typeface="Segoe UI"/>
                <a:ea typeface="+mn-ea"/>
                <a:cs typeface="+mn-cs"/>
              </a:rPr>
            </a:br>
            <a:r>
              <a:rPr kumimoji="0" lang="en-US" sz="882" b="1" i="1" u="none" strike="noStrike" kern="800" cap="none" spc="0" normalizeH="0" baseline="0" noProof="0" dirty="0">
                <a:ln>
                  <a:noFill/>
                </a:ln>
                <a:solidFill>
                  <a:srgbClr val="FFFFFF"/>
                </a:solidFill>
                <a:effectLst/>
                <a:uLnTx/>
                <a:uFillTx/>
                <a:latin typeface="Segoe UI"/>
                <a:ea typeface="+mn-ea"/>
                <a:cs typeface="+mn-cs"/>
              </a:rPr>
              <a:t>gathered in PRODUCTION</a:t>
            </a:r>
          </a:p>
        </p:txBody>
      </p:sp>
      <p:sp>
        <p:nvSpPr>
          <p:cNvPr id="45" name="Oval 44"/>
          <p:cNvSpPr/>
          <p:nvPr/>
        </p:nvSpPr>
        <p:spPr>
          <a:xfrm>
            <a:off x="5418820" y="2567888"/>
            <a:ext cx="1058769" cy="1058769"/>
          </a:xfrm>
          <a:prstGeom prst="ellipse">
            <a:avLst/>
          </a:prstGeom>
          <a:solidFill>
            <a:srgbClr val="386AD8"/>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FFFFFF"/>
              </a:solidFill>
              <a:effectLst/>
              <a:uLnTx/>
              <a:uFillTx/>
              <a:latin typeface="Segoe UI"/>
              <a:ea typeface="+mn-ea"/>
              <a:cs typeface="+mn-cs"/>
            </a:endParaRPr>
          </a:p>
        </p:txBody>
      </p:sp>
      <p:sp>
        <p:nvSpPr>
          <p:cNvPr id="46" name="TextBox 45"/>
          <p:cNvSpPr txBox="1"/>
          <p:nvPr/>
        </p:nvSpPr>
        <p:spPr>
          <a:xfrm>
            <a:off x="5314639" y="2584001"/>
            <a:ext cx="1267131" cy="992503"/>
          </a:xfrm>
          <a:prstGeom prst="rect">
            <a:avLst/>
          </a:prstGeom>
        </p:spPr>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882" b="1" i="1" u="none" strike="noStrike" kern="800" cap="none" spc="0" normalizeH="0" baseline="0" noProof="0" dirty="0">
                <a:ln>
                  <a:noFill/>
                </a:ln>
                <a:solidFill>
                  <a:srgbClr val="FFFFFF"/>
                </a:solidFill>
                <a:effectLst/>
                <a:uLnTx/>
                <a:uFillTx/>
                <a:latin typeface="Segoe UI"/>
                <a:ea typeface="+mn-ea"/>
                <a:cs typeface="+mn-cs"/>
              </a:rPr>
              <a:t>MANAGED TECHNICAL</a:t>
            </a:r>
            <a:br>
              <a:rPr kumimoji="0" lang="en-US" sz="882" b="1" i="1" u="none" strike="noStrike" kern="800" cap="none" spc="0" normalizeH="0" baseline="0" noProof="0" dirty="0">
                <a:ln>
                  <a:noFill/>
                </a:ln>
                <a:solidFill>
                  <a:srgbClr val="FFFFFF"/>
                </a:solidFill>
                <a:effectLst/>
                <a:uLnTx/>
                <a:uFillTx/>
                <a:latin typeface="Segoe UI"/>
                <a:ea typeface="+mn-ea"/>
                <a:cs typeface="+mn-cs"/>
              </a:rPr>
            </a:br>
            <a:r>
              <a:rPr kumimoji="0" lang="en-US" sz="882" b="1" i="1" u="none" strike="noStrike" kern="800" cap="none" spc="0" normalizeH="0" baseline="0" noProof="0" dirty="0">
                <a:ln>
                  <a:noFill/>
                </a:ln>
                <a:solidFill>
                  <a:srgbClr val="FFFFFF"/>
                </a:solidFill>
                <a:effectLst/>
                <a:uLnTx/>
                <a:uFillTx/>
                <a:latin typeface="Segoe UI"/>
                <a:ea typeface="+mn-ea"/>
                <a:cs typeface="+mn-cs"/>
              </a:rPr>
              <a:t>DEBT</a:t>
            </a:r>
          </a:p>
        </p:txBody>
      </p:sp>
      <p:sp>
        <p:nvSpPr>
          <p:cNvPr id="43" name="Oval 42"/>
          <p:cNvSpPr/>
          <p:nvPr/>
        </p:nvSpPr>
        <p:spPr>
          <a:xfrm>
            <a:off x="6598205" y="2567888"/>
            <a:ext cx="1058769" cy="1058769"/>
          </a:xfrm>
          <a:prstGeom prst="ellipse">
            <a:avLst/>
          </a:prstGeom>
          <a:solidFill>
            <a:srgbClr val="386AD8"/>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FFFFFF"/>
              </a:solidFill>
              <a:effectLst/>
              <a:uLnTx/>
              <a:uFillTx/>
              <a:latin typeface="Segoe UI"/>
              <a:ea typeface="+mn-ea"/>
              <a:cs typeface="+mn-cs"/>
            </a:endParaRPr>
          </a:p>
        </p:txBody>
      </p:sp>
      <p:sp>
        <p:nvSpPr>
          <p:cNvPr id="44" name="TextBox 43"/>
          <p:cNvSpPr txBox="1"/>
          <p:nvPr/>
        </p:nvSpPr>
        <p:spPr>
          <a:xfrm>
            <a:off x="6485513" y="2635065"/>
            <a:ext cx="1267131" cy="992503"/>
          </a:xfrm>
          <a:prstGeom prst="rect">
            <a:avLst/>
          </a:prstGeom>
        </p:spPr>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882" b="1" i="1" u="none" strike="noStrike" kern="800" cap="none" spc="0" normalizeH="0" baseline="0" noProof="0" dirty="0">
                <a:ln>
                  <a:noFill/>
                </a:ln>
                <a:solidFill>
                  <a:srgbClr val="FFFFFF"/>
                </a:solidFill>
                <a:effectLst/>
                <a:uLnTx/>
                <a:uFillTx/>
                <a:latin typeface="Segoe UI"/>
                <a:ea typeface="+mn-ea"/>
                <a:cs typeface="+mn-cs"/>
              </a:rPr>
              <a:t>PRODUCTION</a:t>
            </a:r>
            <a:br>
              <a:rPr kumimoji="0" lang="en-US" sz="882" b="1" i="1" u="none" strike="noStrike" kern="800" cap="none" spc="0" normalizeH="0" baseline="0" noProof="0" dirty="0">
                <a:ln>
                  <a:noFill/>
                </a:ln>
                <a:solidFill>
                  <a:srgbClr val="FFFFFF"/>
                </a:solidFill>
                <a:effectLst/>
                <a:uLnTx/>
                <a:uFillTx/>
                <a:latin typeface="Segoe UI"/>
                <a:ea typeface="+mn-ea"/>
                <a:cs typeface="+mn-cs"/>
              </a:rPr>
            </a:br>
            <a:r>
              <a:rPr kumimoji="0" lang="en-US" sz="882" b="1" i="1" u="none" strike="noStrike" kern="800" cap="none" spc="0" normalizeH="0" baseline="0" noProof="0" dirty="0">
                <a:ln>
                  <a:noFill/>
                </a:ln>
                <a:solidFill>
                  <a:srgbClr val="FFFFFF"/>
                </a:solidFill>
                <a:effectLst/>
                <a:uLnTx/>
                <a:uFillTx/>
                <a:latin typeface="Segoe UI"/>
                <a:ea typeface="+mn-ea"/>
                <a:cs typeface="+mn-cs"/>
              </a:rPr>
              <a:t> FIRST MINDSET</a:t>
            </a: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sz="882" b="1" i="1" u="none" strike="noStrike" kern="800" cap="none" spc="0" normalizeH="0" baseline="0" noProof="0" dirty="0">
              <a:ln>
                <a:noFill/>
              </a:ln>
              <a:solidFill>
                <a:srgbClr val="FFFFFF"/>
              </a:solidFill>
              <a:effectLst/>
              <a:uLnTx/>
              <a:uFillTx/>
              <a:latin typeface="Segoe UI"/>
              <a:ea typeface="+mn-ea"/>
              <a:cs typeface="+mn-cs"/>
            </a:endParaRPr>
          </a:p>
        </p:txBody>
      </p:sp>
      <p:sp>
        <p:nvSpPr>
          <p:cNvPr id="41" name="Oval 40"/>
          <p:cNvSpPr/>
          <p:nvPr/>
        </p:nvSpPr>
        <p:spPr>
          <a:xfrm>
            <a:off x="7783566" y="2567888"/>
            <a:ext cx="1058769" cy="1058769"/>
          </a:xfrm>
          <a:prstGeom prst="ellipse">
            <a:avLst/>
          </a:prstGeom>
          <a:solidFill>
            <a:srgbClr val="386AD8"/>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FFFFFF"/>
              </a:solidFill>
              <a:effectLst/>
              <a:uLnTx/>
              <a:uFillTx/>
              <a:latin typeface="Segoe UI"/>
              <a:ea typeface="+mn-ea"/>
              <a:cs typeface="+mn-cs"/>
            </a:endParaRPr>
          </a:p>
        </p:txBody>
      </p:sp>
      <p:sp>
        <p:nvSpPr>
          <p:cNvPr id="42" name="TextBox 41"/>
          <p:cNvSpPr txBox="1"/>
          <p:nvPr/>
        </p:nvSpPr>
        <p:spPr>
          <a:xfrm>
            <a:off x="7679385" y="2609533"/>
            <a:ext cx="1267131" cy="992503"/>
          </a:xfrm>
          <a:prstGeom prst="rect">
            <a:avLst/>
          </a:prstGeom>
        </p:spPr>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882" b="1" i="1" u="none" strike="noStrike" kern="800" cap="none" spc="-37" normalizeH="0" baseline="0" noProof="0" dirty="0">
                <a:ln>
                  <a:noFill/>
                </a:ln>
                <a:solidFill>
                  <a:srgbClr val="FFFFFF"/>
                </a:solidFill>
                <a:effectLst/>
                <a:uLnTx/>
                <a:uFillTx/>
                <a:latin typeface="Segoe UI"/>
                <a:ea typeface="+mn-ea"/>
                <a:cs typeface="+mn-cs"/>
              </a:rPr>
              <a:t>INFRASTRUCTURE</a:t>
            </a:r>
            <a:br>
              <a:rPr kumimoji="0" lang="en-US" sz="882" b="1" i="1" u="none" strike="noStrike" kern="800" cap="none" spc="0" normalizeH="0" baseline="0" noProof="0" dirty="0">
                <a:ln>
                  <a:noFill/>
                </a:ln>
                <a:solidFill>
                  <a:srgbClr val="FFFFFF"/>
                </a:solidFill>
                <a:effectLst/>
                <a:uLnTx/>
                <a:uFillTx/>
                <a:latin typeface="Segoe UI"/>
                <a:ea typeface="+mn-ea"/>
                <a:cs typeface="+mn-cs"/>
              </a:rPr>
            </a:br>
            <a:r>
              <a:rPr kumimoji="0" lang="en-US" sz="882" b="1" i="1" u="none" strike="noStrike" kern="800" cap="none" spc="0" normalizeH="0" baseline="0" noProof="0" dirty="0">
                <a:ln>
                  <a:noFill/>
                </a:ln>
                <a:solidFill>
                  <a:srgbClr val="FFFFFF"/>
                </a:solidFill>
                <a:effectLst/>
                <a:uLnTx/>
                <a:uFillTx/>
                <a:latin typeface="Segoe UI"/>
                <a:ea typeface="+mn-ea"/>
                <a:cs typeface="+mn-cs"/>
              </a:rPr>
              <a:t>is a FLEXIBLE RESOURCE</a:t>
            </a:r>
          </a:p>
        </p:txBody>
      </p:sp>
      <p:sp>
        <p:nvSpPr>
          <p:cNvPr id="55" name="Title 1"/>
          <p:cNvSpPr>
            <a:spLocks noGrp="1"/>
          </p:cNvSpPr>
          <p:nvPr>
            <p:ph type="title"/>
          </p:nvPr>
        </p:nvSpPr>
        <p:spPr/>
        <p:txBody>
          <a:bodyPr/>
          <a:lstStyle/>
          <a:p>
            <a:r>
              <a:rPr lang="de-DE"/>
              <a:t>DevOps habits and practices</a:t>
            </a:r>
            <a:endParaRPr lang="de-DE" dirty="0"/>
          </a:p>
        </p:txBody>
      </p:sp>
    </p:spTree>
    <p:extLst>
      <p:ext uri="{BB962C8B-B14F-4D97-AF65-F5344CB8AC3E}">
        <p14:creationId xmlns:p14="http://schemas.microsoft.com/office/powerpoint/2010/main" val="68440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069DA-E9AE-48BA-B512-E8C880B6761D}"/>
              </a:ext>
            </a:extLst>
          </p:cNvPr>
          <p:cNvSpPr>
            <a:spLocks noGrp="1"/>
          </p:cNvSpPr>
          <p:nvPr>
            <p:ph type="title"/>
          </p:nvPr>
        </p:nvSpPr>
        <p:spPr>
          <a:xfrm>
            <a:off x="201929" y="1563129"/>
            <a:ext cx="8740142" cy="1651093"/>
          </a:xfrm>
        </p:spPr>
        <p:txBody>
          <a:bodyPr/>
          <a:lstStyle/>
          <a:p>
            <a:r>
              <a:rPr lang="de-AT" dirty="0"/>
              <a:t>CI/CD in </a:t>
            </a:r>
            <a:r>
              <a:rPr lang="de-AT" dirty="0" err="1"/>
              <a:t>the</a:t>
            </a:r>
            <a:r>
              <a:rPr lang="de-AT" dirty="0"/>
              <a:t> Microsoft Universe</a:t>
            </a:r>
          </a:p>
        </p:txBody>
      </p:sp>
    </p:spTree>
    <p:extLst>
      <p:ext uri="{BB962C8B-B14F-4D97-AF65-F5344CB8AC3E}">
        <p14:creationId xmlns:p14="http://schemas.microsoft.com/office/powerpoint/2010/main" val="2769187675"/>
      </p:ext>
    </p:extLst>
  </p:cSld>
  <p:clrMapOvr>
    <a:masterClrMapping/>
  </p:clrMapOvr>
  <p:transition spd="slow">
    <p:push/>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0DA7A96-7015-4CA0-9C42-D70B1C70CC48}"/>
              </a:ext>
            </a:extLst>
          </p:cNvPr>
          <p:cNvSpPr/>
          <p:nvPr/>
        </p:nvSpPr>
        <p:spPr>
          <a:xfrm>
            <a:off x="1821630" y="279660"/>
            <a:ext cx="1460629" cy="507831"/>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53535"/>
                </a:solidFill>
                <a:effectLst/>
                <a:uLnTx/>
                <a:uFillTx/>
                <a:latin typeface="Segoe UI Light"/>
                <a:ea typeface="+mn-ea"/>
                <a:cs typeface="+mn-cs"/>
              </a:rPr>
              <a:t>(MS embraces 3</a:t>
            </a:r>
            <a:r>
              <a:rPr kumimoji="0" lang="en-US" sz="1350" b="0" i="0" u="none" strike="noStrike" kern="1200" cap="none" spc="0" normalizeH="0" baseline="30000" noProof="0" dirty="0">
                <a:ln>
                  <a:noFill/>
                </a:ln>
                <a:solidFill>
                  <a:srgbClr val="353535"/>
                </a:solidFill>
                <a:effectLst/>
                <a:uLnTx/>
                <a:uFillTx/>
                <a:latin typeface="Segoe UI Light"/>
                <a:ea typeface="+mn-ea"/>
                <a:cs typeface="+mn-cs"/>
              </a:rPr>
              <a:t>rd</a:t>
            </a:r>
            <a:r>
              <a:rPr kumimoji="0" lang="en-US" sz="1350" b="0" i="0" u="none" strike="noStrike" kern="1200" cap="none" spc="0" normalizeH="0" baseline="0" noProof="0" dirty="0">
                <a:ln>
                  <a:noFill/>
                </a:ln>
                <a:solidFill>
                  <a:srgbClr val="353535"/>
                </a:solidFill>
                <a:effectLst/>
                <a:uLnTx/>
                <a:uFillTx/>
                <a:latin typeface="Segoe UI Light"/>
                <a:ea typeface="+mn-ea"/>
                <a:cs typeface="+mn-cs"/>
              </a:rPr>
              <a:t> party / OSS tools)</a:t>
            </a:r>
            <a:endParaRPr kumimoji="0" lang="de-AT" sz="1350" b="0" i="0" u="none" strike="noStrike" kern="1200" cap="none" spc="0" normalizeH="0" baseline="0" noProof="0" dirty="0">
              <a:ln>
                <a:noFill/>
              </a:ln>
              <a:solidFill>
                <a:srgbClr val="353535"/>
              </a:solidFill>
              <a:effectLst/>
              <a:uLnTx/>
              <a:uFillTx/>
              <a:latin typeface="Segoe UI Light"/>
              <a:ea typeface="+mn-ea"/>
              <a:cs typeface="+mn-cs"/>
            </a:endParaRPr>
          </a:p>
        </p:txBody>
      </p:sp>
      <p:grpSp>
        <p:nvGrpSpPr>
          <p:cNvPr id="14" name="Group 13">
            <a:extLst>
              <a:ext uri="{FF2B5EF4-FFF2-40B4-BE49-F238E27FC236}">
                <a16:creationId xmlns:a16="http://schemas.microsoft.com/office/drawing/2014/main" id="{73F535E0-D6B1-4E16-BD81-53B82AF1163E}"/>
              </a:ext>
            </a:extLst>
          </p:cNvPr>
          <p:cNvGrpSpPr/>
          <p:nvPr/>
        </p:nvGrpSpPr>
        <p:grpSpPr>
          <a:xfrm>
            <a:off x="5617165" y="985173"/>
            <a:ext cx="3440926" cy="3969047"/>
            <a:chOff x="7489553" y="1313564"/>
            <a:chExt cx="4587901" cy="5292062"/>
          </a:xfrm>
        </p:grpSpPr>
        <p:sp>
          <p:nvSpPr>
            <p:cNvPr id="10" name="Isosceles Triangle 9">
              <a:extLst>
                <a:ext uri="{FF2B5EF4-FFF2-40B4-BE49-F238E27FC236}">
                  <a16:creationId xmlns:a16="http://schemas.microsoft.com/office/drawing/2014/main" id="{BD408281-2A3F-47E1-A8EF-FA99CCDF3127}"/>
                </a:ext>
              </a:extLst>
            </p:cNvPr>
            <p:cNvSpPr/>
            <p:nvPr/>
          </p:nvSpPr>
          <p:spPr bwMode="auto">
            <a:xfrm rot="8997993">
              <a:off x="7489553" y="1313564"/>
              <a:ext cx="4442563" cy="5216350"/>
            </a:xfrm>
            <a:custGeom>
              <a:avLst/>
              <a:gdLst>
                <a:gd name="connsiteX0" fmla="*/ 0 w 2644852"/>
                <a:gd name="connsiteY0" fmla="*/ 2433318 h 2433318"/>
                <a:gd name="connsiteX1" fmla="*/ 1322426 w 2644852"/>
                <a:gd name="connsiteY1" fmla="*/ 0 h 2433318"/>
                <a:gd name="connsiteX2" fmla="*/ 2644852 w 2644852"/>
                <a:gd name="connsiteY2" fmla="*/ 2433318 h 2433318"/>
                <a:gd name="connsiteX3" fmla="*/ 0 w 2644852"/>
                <a:gd name="connsiteY3" fmla="*/ 2433318 h 2433318"/>
                <a:gd name="connsiteX0" fmla="*/ 0 w 3866196"/>
                <a:gd name="connsiteY0" fmla="*/ 2433318 h 3903772"/>
                <a:gd name="connsiteX1" fmla="*/ 1322426 w 3866196"/>
                <a:gd name="connsiteY1" fmla="*/ 0 h 3903772"/>
                <a:gd name="connsiteX2" fmla="*/ 3866196 w 3866196"/>
                <a:gd name="connsiteY2" fmla="*/ 3903772 h 3903772"/>
                <a:gd name="connsiteX3" fmla="*/ 0 w 3866196"/>
                <a:gd name="connsiteY3" fmla="*/ 2433318 h 3903772"/>
                <a:gd name="connsiteX0" fmla="*/ 0 w 4442563"/>
                <a:gd name="connsiteY0" fmla="*/ 1964549 h 3903772"/>
                <a:gd name="connsiteX1" fmla="*/ 1898793 w 4442563"/>
                <a:gd name="connsiteY1" fmla="*/ 0 h 3903772"/>
                <a:gd name="connsiteX2" fmla="*/ 4442563 w 4442563"/>
                <a:gd name="connsiteY2" fmla="*/ 3903772 h 3903772"/>
                <a:gd name="connsiteX3" fmla="*/ 0 w 4442563"/>
                <a:gd name="connsiteY3" fmla="*/ 1964549 h 3903772"/>
              </a:gdLst>
              <a:ahLst/>
              <a:cxnLst>
                <a:cxn ang="0">
                  <a:pos x="connsiteX0" y="connsiteY0"/>
                </a:cxn>
                <a:cxn ang="0">
                  <a:pos x="connsiteX1" y="connsiteY1"/>
                </a:cxn>
                <a:cxn ang="0">
                  <a:pos x="connsiteX2" y="connsiteY2"/>
                </a:cxn>
                <a:cxn ang="0">
                  <a:pos x="connsiteX3" y="connsiteY3"/>
                </a:cxn>
              </a:cxnLst>
              <a:rect l="l" t="t" r="r" b="b"/>
              <a:pathLst>
                <a:path w="4442563" h="3903772">
                  <a:moveTo>
                    <a:pt x="0" y="1964549"/>
                  </a:moveTo>
                  <a:lnTo>
                    <a:pt x="1898793" y="0"/>
                  </a:lnTo>
                  <a:lnTo>
                    <a:pt x="4442563" y="3903772"/>
                  </a:lnTo>
                  <a:lnTo>
                    <a:pt x="0" y="1964549"/>
                  </a:lnTo>
                  <a:close/>
                </a:path>
              </a:pathLst>
            </a:cu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de-AT"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9DC58F24-0433-4A52-ADE0-0A00FE36CF29}"/>
                </a:ext>
              </a:extLst>
            </p:cNvPr>
            <p:cNvSpPr/>
            <p:nvPr/>
          </p:nvSpPr>
          <p:spPr bwMode="auto">
            <a:xfrm>
              <a:off x="9663098" y="6007244"/>
              <a:ext cx="2414356" cy="598382"/>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Where containers play biggest role</a:t>
              </a:r>
              <a:endParaRPr kumimoji="0" lang="de-AT" sz="1200" b="0" i="0" u="none" strike="noStrike" kern="1200" cap="none" spc="0" normalizeH="0" baseline="0" noProof="0" dirty="0" err="1">
                <a:ln>
                  <a:noFill/>
                </a:ln>
                <a:solidFill>
                  <a:srgbClr val="FFFFFF"/>
                </a:solidFill>
                <a:effectLst/>
                <a:uLnTx/>
                <a:uFillTx/>
                <a:latin typeface="Segoe UI Semilight"/>
                <a:ea typeface="Segoe UI" pitchFamily="34" charset="0"/>
                <a:cs typeface="Segoe UI" pitchFamily="34" charset="0"/>
              </a:endParaRPr>
            </a:p>
          </p:txBody>
        </p:sp>
      </p:grpSp>
      <p:pic>
        <p:nvPicPr>
          <p:cNvPr id="50" name="Picture 49">
            <a:extLst>
              <a:ext uri="{FF2B5EF4-FFF2-40B4-BE49-F238E27FC236}">
                <a16:creationId xmlns:a16="http://schemas.microsoft.com/office/drawing/2014/main" id="{DE600819-6D65-434E-8951-79E8872132D6}"/>
              </a:ext>
            </a:extLst>
          </p:cNvPr>
          <p:cNvPicPr>
            <a:picLocks noChangeAspect="1"/>
          </p:cNvPicPr>
          <p:nvPr/>
        </p:nvPicPr>
        <p:blipFill>
          <a:blip r:embed="rId3"/>
          <a:stretch>
            <a:fillRect/>
          </a:stretch>
        </p:blipFill>
        <p:spPr>
          <a:xfrm>
            <a:off x="3427026" y="134596"/>
            <a:ext cx="1908430" cy="1552967"/>
          </a:xfrm>
          <a:prstGeom prst="rect">
            <a:avLst/>
          </a:prstGeom>
        </p:spPr>
      </p:pic>
      <p:pic>
        <p:nvPicPr>
          <p:cNvPr id="134" name="Picture 133">
            <a:extLst>
              <a:ext uri="{FF2B5EF4-FFF2-40B4-BE49-F238E27FC236}">
                <a16:creationId xmlns:a16="http://schemas.microsoft.com/office/drawing/2014/main" id="{72CF0689-702E-4412-A8C4-FA0BEDC0BDC8}"/>
              </a:ext>
            </a:extLst>
          </p:cNvPr>
          <p:cNvPicPr>
            <a:picLocks noChangeAspect="1"/>
          </p:cNvPicPr>
          <p:nvPr/>
        </p:nvPicPr>
        <p:blipFill>
          <a:blip r:embed="rId4"/>
          <a:stretch>
            <a:fillRect/>
          </a:stretch>
        </p:blipFill>
        <p:spPr>
          <a:xfrm>
            <a:off x="3327978" y="2631381"/>
            <a:ext cx="2389179" cy="2377525"/>
          </a:xfrm>
          <a:prstGeom prst="rect">
            <a:avLst/>
          </a:prstGeom>
        </p:spPr>
      </p:pic>
      <p:sp>
        <p:nvSpPr>
          <p:cNvPr id="2" name="Title 1">
            <a:extLst>
              <a:ext uri="{FF2B5EF4-FFF2-40B4-BE49-F238E27FC236}">
                <a16:creationId xmlns:a16="http://schemas.microsoft.com/office/drawing/2014/main" id="{B492732E-C7A5-4871-8509-5E39C13F516A}"/>
              </a:ext>
            </a:extLst>
          </p:cNvPr>
          <p:cNvSpPr>
            <a:spLocks noGrp="1"/>
          </p:cNvSpPr>
          <p:nvPr>
            <p:ph type="title"/>
          </p:nvPr>
        </p:nvSpPr>
        <p:spPr>
          <a:xfrm>
            <a:off x="191617" y="217134"/>
            <a:ext cx="1721843" cy="674749"/>
          </a:xfrm>
        </p:spPr>
        <p:txBody>
          <a:bodyPr/>
          <a:lstStyle/>
          <a:p>
            <a:r>
              <a:rPr lang="en-US" sz="3200" dirty="0">
                <a:solidFill>
                  <a:srgbClr val="00B0F0"/>
                </a:solidFill>
              </a:rPr>
              <a:t>DevOps</a:t>
            </a:r>
            <a:r>
              <a:rPr lang="en-US" sz="1400" dirty="0">
                <a:solidFill>
                  <a:schemeClr val="tx1"/>
                </a:solidFill>
              </a:rPr>
              <a:t> </a:t>
            </a:r>
            <a:endParaRPr lang="en-US" sz="1200" dirty="0">
              <a:solidFill>
                <a:srgbClr val="00B0F0"/>
              </a:solidFill>
            </a:endParaRPr>
          </a:p>
        </p:txBody>
      </p:sp>
      <p:pic>
        <p:nvPicPr>
          <p:cNvPr id="129" name="Picture 128">
            <a:extLst>
              <a:ext uri="{FF2B5EF4-FFF2-40B4-BE49-F238E27FC236}">
                <a16:creationId xmlns:a16="http://schemas.microsoft.com/office/drawing/2014/main" id="{BE508D41-74B6-4381-8CD7-8A15DFE150AA}"/>
              </a:ext>
            </a:extLst>
          </p:cNvPr>
          <p:cNvPicPr>
            <a:picLocks noChangeAspect="1"/>
          </p:cNvPicPr>
          <p:nvPr/>
        </p:nvPicPr>
        <p:blipFill>
          <a:blip r:embed="rId5"/>
          <a:stretch>
            <a:fillRect/>
          </a:stretch>
        </p:blipFill>
        <p:spPr>
          <a:xfrm>
            <a:off x="308386" y="1516444"/>
            <a:ext cx="3577942" cy="1247035"/>
          </a:xfrm>
          <a:prstGeom prst="rect">
            <a:avLst/>
          </a:prstGeom>
        </p:spPr>
      </p:pic>
      <p:pic>
        <p:nvPicPr>
          <p:cNvPr id="127" name="Picture 126">
            <a:extLst>
              <a:ext uri="{FF2B5EF4-FFF2-40B4-BE49-F238E27FC236}">
                <a16:creationId xmlns:a16="http://schemas.microsoft.com/office/drawing/2014/main" id="{6DC9AF68-D42F-4CDD-9EC6-933E602B1B21}"/>
              </a:ext>
            </a:extLst>
          </p:cNvPr>
          <p:cNvPicPr>
            <a:picLocks noChangeAspect="1"/>
          </p:cNvPicPr>
          <p:nvPr/>
        </p:nvPicPr>
        <p:blipFill>
          <a:blip r:embed="rId6"/>
          <a:stretch>
            <a:fillRect/>
          </a:stretch>
        </p:blipFill>
        <p:spPr>
          <a:xfrm>
            <a:off x="4782751" y="1355088"/>
            <a:ext cx="4052864" cy="1520917"/>
          </a:xfrm>
          <a:prstGeom prst="rect">
            <a:avLst/>
          </a:prstGeom>
        </p:spPr>
      </p:pic>
      <p:grpSp>
        <p:nvGrpSpPr>
          <p:cNvPr id="51" name="Group 50">
            <a:extLst>
              <a:ext uri="{FF2B5EF4-FFF2-40B4-BE49-F238E27FC236}">
                <a16:creationId xmlns:a16="http://schemas.microsoft.com/office/drawing/2014/main" id="{101AABB2-FE0B-43B2-97F9-1A6FF722FECB}"/>
              </a:ext>
            </a:extLst>
          </p:cNvPr>
          <p:cNvGrpSpPr/>
          <p:nvPr/>
        </p:nvGrpSpPr>
        <p:grpSpPr>
          <a:xfrm>
            <a:off x="3785247" y="1496275"/>
            <a:ext cx="1162337" cy="1163933"/>
            <a:chOff x="5148197" y="2034540"/>
            <a:chExt cx="1580859" cy="1583029"/>
          </a:xfrm>
        </p:grpSpPr>
        <p:grpSp>
          <p:nvGrpSpPr>
            <p:cNvPr id="7" name="Group 6">
              <a:extLst>
                <a:ext uri="{FF2B5EF4-FFF2-40B4-BE49-F238E27FC236}">
                  <a16:creationId xmlns:a16="http://schemas.microsoft.com/office/drawing/2014/main" id="{92BAE0A2-1A18-45C0-BCC3-8C218E25C158}"/>
                </a:ext>
              </a:extLst>
            </p:cNvPr>
            <p:cNvGrpSpPr/>
            <p:nvPr/>
          </p:nvGrpSpPr>
          <p:grpSpPr>
            <a:xfrm>
              <a:off x="5148197" y="2034540"/>
              <a:ext cx="1580859" cy="1583029"/>
              <a:chOff x="8015890" y="2477276"/>
              <a:chExt cx="1580859" cy="1583029"/>
            </a:xfrm>
          </p:grpSpPr>
          <p:sp>
            <p:nvSpPr>
              <p:cNvPr id="8" name="Oval 7">
                <a:extLst>
                  <a:ext uri="{FF2B5EF4-FFF2-40B4-BE49-F238E27FC236}">
                    <a16:creationId xmlns:a16="http://schemas.microsoft.com/office/drawing/2014/main" id="{E5A5A4CF-2F13-425F-86DB-40C6953CBB8B}"/>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882" b="1" i="0" u="none" strike="noStrike" kern="0" cap="none" spc="0" normalizeH="0" baseline="0" noProof="0" dirty="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9" name="Picture 8">
                <a:extLst>
                  <a:ext uri="{FF2B5EF4-FFF2-40B4-BE49-F238E27FC236}">
                    <a16:creationId xmlns:a16="http://schemas.microsoft.com/office/drawing/2014/main" id="{5778C30A-21A3-4F70-8114-06D815E503F9}"/>
                  </a:ext>
                </a:extLst>
              </p:cNvPr>
              <p:cNvPicPr>
                <a:picLocks noChangeAspect="1"/>
              </p:cNvPicPr>
              <p:nvPr/>
            </p:nvPicPr>
            <p:blipFill>
              <a:blip r:embed="rId7" cstate="print">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23" name="Oval 122">
              <a:extLst>
                <a:ext uri="{FF2B5EF4-FFF2-40B4-BE49-F238E27FC236}">
                  <a16:creationId xmlns:a16="http://schemas.microsoft.com/office/drawing/2014/main" id="{354800A7-FD41-499E-AA25-976467EEA6EB}"/>
                </a:ext>
              </a:extLst>
            </p:cNvPr>
            <p:cNvSpPr/>
            <p:nvPr/>
          </p:nvSpPr>
          <p:spPr bwMode="auto">
            <a:xfrm>
              <a:off x="5519033" y="2406461"/>
              <a:ext cx="839187" cy="839187"/>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37" normalizeH="0" baseline="0" noProof="0" dirty="0">
                  <a:ln>
                    <a:noFill/>
                  </a:ln>
                  <a:solidFill>
                    <a:srgbClr val="E6E6E6">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grpSp>
      <p:pic>
        <p:nvPicPr>
          <p:cNvPr id="12" name="Picture 11" descr="A close up of a sign&#10;&#10;Description generated with high confidence">
            <a:extLst>
              <a:ext uri="{FF2B5EF4-FFF2-40B4-BE49-F238E27FC236}">
                <a16:creationId xmlns:a16="http://schemas.microsoft.com/office/drawing/2014/main" id="{B9905F52-10E3-4B55-9CF3-83A957B68B80}"/>
              </a:ext>
            </a:extLst>
          </p:cNvPr>
          <p:cNvPicPr>
            <a:picLocks noChangeAspect="1"/>
          </p:cNvPicPr>
          <p:nvPr/>
        </p:nvPicPr>
        <p:blipFill>
          <a:blip r:embed="rId9"/>
          <a:stretch>
            <a:fillRect/>
          </a:stretch>
        </p:blipFill>
        <p:spPr>
          <a:xfrm>
            <a:off x="2566161" y="1700490"/>
            <a:ext cx="513916" cy="256958"/>
          </a:xfrm>
          <a:prstGeom prst="rect">
            <a:avLst/>
          </a:prstGeom>
        </p:spPr>
      </p:pic>
      <p:pic>
        <p:nvPicPr>
          <p:cNvPr id="13" name="Picture 12">
            <a:extLst>
              <a:ext uri="{FF2B5EF4-FFF2-40B4-BE49-F238E27FC236}">
                <a16:creationId xmlns:a16="http://schemas.microsoft.com/office/drawing/2014/main" id="{106A7DBA-50A7-412D-84A3-09A5AC0C8693}"/>
              </a:ext>
            </a:extLst>
          </p:cNvPr>
          <p:cNvPicPr>
            <a:picLocks noChangeAspect="1"/>
          </p:cNvPicPr>
          <p:nvPr/>
        </p:nvPicPr>
        <p:blipFill>
          <a:blip r:embed="rId10"/>
          <a:stretch>
            <a:fillRect/>
          </a:stretch>
        </p:blipFill>
        <p:spPr>
          <a:xfrm>
            <a:off x="1714647" y="2292514"/>
            <a:ext cx="804142" cy="188471"/>
          </a:xfrm>
          <a:prstGeom prst="rect">
            <a:avLst/>
          </a:prstGeom>
        </p:spPr>
      </p:pic>
      <p:pic>
        <p:nvPicPr>
          <p:cNvPr id="11" name="Picture 10">
            <a:extLst>
              <a:ext uri="{FF2B5EF4-FFF2-40B4-BE49-F238E27FC236}">
                <a16:creationId xmlns:a16="http://schemas.microsoft.com/office/drawing/2014/main" id="{894083B0-FCF3-4936-B342-05486999F3E9}"/>
              </a:ext>
            </a:extLst>
          </p:cNvPr>
          <p:cNvPicPr>
            <a:picLocks noChangeAspect="1"/>
          </p:cNvPicPr>
          <p:nvPr/>
        </p:nvPicPr>
        <p:blipFill>
          <a:blip r:embed="rId11"/>
          <a:stretch>
            <a:fillRect/>
          </a:stretch>
        </p:blipFill>
        <p:spPr>
          <a:xfrm>
            <a:off x="930274" y="1465758"/>
            <a:ext cx="716459" cy="44205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F31A7CC3-FAEA-43D4-9FF1-4105B46A52DE}"/>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3531421" y="2814165"/>
            <a:ext cx="648394" cy="402190"/>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8F61563D-8E2B-4D1E-AB7D-3859F5D36F81}"/>
              </a:ext>
            </a:extLst>
          </p:cNvPr>
          <p:cNvPicPr>
            <a:picLocks noChangeAspect="1"/>
          </p:cNvPicPr>
          <p:nvPr/>
        </p:nvPicPr>
        <p:blipFill>
          <a:blip r:embed="rId13"/>
          <a:stretch>
            <a:fillRect/>
          </a:stretch>
        </p:blipFill>
        <p:spPr>
          <a:xfrm>
            <a:off x="2835177" y="2885428"/>
            <a:ext cx="640217" cy="39245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9605F6AD-C235-472E-943E-A4E5A7946140}"/>
              </a:ext>
            </a:extLst>
          </p:cNvPr>
          <p:cNvPicPr>
            <a:picLocks noChangeAspect="1"/>
          </p:cNvPicPr>
          <p:nvPr/>
        </p:nvPicPr>
        <p:blipFill>
          <a:blip r:embed="rId14"/>
          <a:stretch>
            <a:fillRect/>
          </a:stretch>
        </p:blipFill>
        <p:spPr>
          <a:xfrm>
            <a:off x="1770406" y="2851473"/>
            <a:ext cx="392453" cy="392453"/>
          </a:xfrm>
          <a:prstGeom prst="rect">
            <a:avLst/>
          </a:prstGeom>
        </p:spPr>
      </p:pic>
      <p:pic>
        <p:nvPicPr>
          <p:cNvPr id="23" name="Picture 22">
            <a:extLst>
              <a:ext uri="{FF2B5EF4-FFF2-40B4-BE49-F238E27FC236}">
                <a16:creationId xmlns:a16="http://schemas.microsoft.com/office/drawing/2014/main" id="{83B8CEF3-0086-4383-9641-F6DE7BDDA818}"/>
              </a:ext>
            </a:extLst>
          </p:cNvPr>
          <p:cNvPicPr>
            <a:picLocks noChangeAspect="1"/>
          </p:cNvPicPr>
          <p:nvPr/>
        </p:nvPicPr>
        <p:blipFill>
          <a:blip r:embed="rId10"/>
          <a:stretch>
            <a:fillRect/>
          </a:stretch>
        </p:blipFill>
        <p:spPr>
          <a:xfrm>
            <a:off x="1009895" y="3217063"/>
            <a:ext cx="804142" cy="188471"/>
          </a:xfrm>
          <a:prstGeom prst="rect">
            <a:avLst/>
          </a:prstGeom>
        </p:spPr>
      </p:pic>
      <p:pic>
        <p:nvPicPr>
          <p:cNvPr id="24" name="Picture 23">
            <a:extLst>
              <a:ext uri="{FF2B5EF4-FFF2-40B4-BE49-F238E27FC236}">
                <a16:creationId xmlns:a16="http://schemas.microsoft.com/office/drawing/2014/main" id="{BEAEA065-8305-4E02-AECD-44B133AFC1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255628" y="2872363"/>
            <a:ext cx="523523" cy="353378"/>
          </a:xfrm>
          <a:prstGeom prst="rect">
            <a:avLst/>
          </a:prstGeom>
        </p:spPr>
      </p:pic>
      <p:pic>
        <p:nvPicPr>
          <p:cNvPr id="25" name="Picture 24">
            <a:extLst>
              <a:ext uri="{FF2B5EF4-FFF2-40B4-BE49-F238E27FC236}">
                <a16:creationId xmlns:a16="http://schemas.microsoft.com/office/drawing/2014/main" id="{088474A8-0D8C-4C58-9BD4-561D7521AEFB}"/>
              </a:ext>
            </a:extLst>
          </p:cNvPr>
          <p:cNvPicPr>
            <a:picLocks noChangeAspect="1"/>
          </p:cNvPicPr>
          <p:nvPr/>
        </p:nvPicPr>
        <p:blipFill>
          <a:blip r:embed="rId16"/>
          <a:stretch>
            <a:fillRect/>
          </a:stretch>
        </p:blipFill>
        <p:spPr>
          <a:xfrm>
            <a:off x="855812" y="2818040"/>
            <a:ext cx="863462" cy="357150"/>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DDDECFDE-3DFB-4947-9FBD-E602B3FEC00E}"/>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4400021" y="3235415"/>
            <a:ext cx="626097" cy="439109"/>
          </a:xfrm>
          <a:prstGeom prst="rect">
            <a:avLst/>
          </a:prstGeom>
        </p:spPr>
      </p:pic>
      <p:pic>
        <p:nvPicPr>
          <p:cNvPr id="27" name="Picture 26">
            <a:extLst>
              <a:ext uri="{FF2B5EF4-FFF2-40B4-BE49-F238E27FC236}">
                <a16:creationId xmlns:a16="http://schemas.microsoft.com/office/drawing/2014/main" id="{7EB204B5-AFB4-40E8-B975-78B01BDB5358}"/>
              </a:ext>
            </a:extLst>
          </p:cNvPr>
          <p:cNvPicPr>
            <a:picLocks noChangeAspect="1"/>
          </p:cNvPicPr>
          <p:nvPr/>
        </p:nvPicPr>
        <p:blipFill>
          <a:blip r:embed="rId18"/>
          <a:stretch>
            <a:fillRect/>
          </a:stretch>
        </p:blipFill>
        <p:spPr>
          <a:xfrm>
            <a:off x="3123933" y="3610443"/>
            <a:ext cx="1055882" cy="351080"/>
          </a:xfrm>
          <a:prstGeom prst="rect">
            <a:avLst/>
          </a:prstGeom>
        </p:spPr>
      </p:pic>
      <p:pic>
        <p:nvPicPr>
          <p:cNvPr id="28" name="Picture 27">
            <a:extLst>
              <a:ext uri="{FF2B5EF4-FFF2-40B4-BE49-F238E27FC236}">
                <a16:creationId xmlns:a16="http://schemas.microsoft.com/office/drawing/2014/main" id="{50D707D4-A644-4EE8-BD17-A43EDE1D9C60}"/>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2116717" y="3610443"/>
            <a:ext cx="986537" cy="351080"/>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37EFDE2-3A26-4A66-9CBD-86E78BB10B1C}"/>
              </a:ext>
            </a:extLst>
          </p:cNvPr>
          <p:cNvPicPr>
            <a:picLocks noChangeAspect="1"/>
          </p:cNvPicPr>
          <p:nvPr/>
        </p:nvPicPr>
        <p:blipFill>
          <a:blip r:embed="rId20"/>
          <a:stretch>
            <a:fillRect/>
          </a:stretch>
        </p:blipFill>
        <p:spPr>
          <a:xfrm>
            <a:off x="5525967" y="3923633"/>
            <a:ext cx="1159275" cy="390012"/>
          </a:xfrm>
          <a:prstGeom prst="rect">
            <a:avLst/>
          </a:prstGeom>
        </p:spPr>
      </p:pic>
      <p:pic>
        <p:nvPicPr>
          <p:cNvPr id="30" name="Picture 29">
            <a:extLst>
              <a:ext uri="{FF2B5EF4-FFF2-40B4-BE49-F238E27FC236}">
                <a16:creationId xmlns:a16="http://schemas.microsoft.com/office/drawing/2014/main" id="{FB9A93E4-345F-4A8C-A678-D72BD44A6B79}"/>
              </a:ext>
            </a:extLst>
          </p:cNvPr>
          <p:cNvPicPr>
            <a:picLocks noChangeAspect="1"/>
          </p:cNvPicPr>
          <p:nvPr/>
        </p:nvPicPr>
        <p:blipFill rotWithShape="1">
          <a:blip r:embed="rId21"/>
          <a:srcRect l="28897" t="9516" b="15012"/>
          <a:stretch/>
        </p:blipFill>
        <p:spPr>
          <a:xfrm>
            <a:off x="6697892" y="3886331"/>
            <a:ext cx="731463" cy="456710"/>
          </a:xfrm>
          <a:prstGeom prst="rect">
            <a:avLst/>
          </a:prstGeom>
        </p:spPr>
      </p:pic>
      <p:pic>
        <p:nvPicPr>
          <p:cNvPr id="32" name="Picture 31">
            <a:extLst>
              <a:ext uri="{FF2B5EF4-FFF2-40B4-BE49-F238E27FC236}">
                <a16:creationId xmlns:a16="http://schemas.microsoft.com/office/drawing/2014/main" id="{E584C72A-58F4-4608-B50C-C3A5F28CF3F2}"/>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4286363" y="3939998"/>
            <a:ext cx="1452681" cy="445500"/>
          </a:xfrm>
          <a:prstGeom prst="rect">
            <a:avLst/>
          </a:prstGeom>
        </p:spPr>
      </p:pic>
      <p:pic>
        <p:nvPicPr>
          <p:cNvPr id="16" name="Picture 15">
            <a:extLst>
              <a:ext uri="{FF2B5EF4-FFF2-40B4-BE49-F238E27FC236}">
                <a16:creationId xmlns:a16="http://schemas.microsoft.com/office/drawing/2014/main" id="{0B10D014-54BC-47A1-8F6A-9C4A4127A8D6}"/>
              </a:ext>
            </a:extLst>
          </p:cNvPr>
          <p:cNvPicPr>
            <a:picLocks noChangeAspect="1"/>
          </p:cNvPicPr>
          <p:nvPr/>
        </p:nvPicPr>
        <p:blipFill>
          <a:blip r:embed="rId23"/>
          <a:stretch>
            <a:fillRect/>
          </a:stretch>
        </p:blipFill>
        <p:spPr>
          <a:xfrm>
            <a:off x="7462891" y="3900664"/>
            <a:ext cx="918915" cy="407909"/>
          </a:xfrm>
          <a:prstGeom prst="rect">
            <a:avLst/>
          </a:prstGeom>
        </p:spPr>
      </p:pic>
      <p:pic>
        <p:nvPicPr>
          <p:cNvPr id="39" name="Picture 38" descr="A close up of a sign&#10;&#10;Description generated with high confidence">
            <a:extLst>
              <a:ext uri="{FF2B5EF4-FFF2-40B4-BE49-F238E27FC236}">
                <a16:creationId xmlns:a16="http://schemas.microsoft.com/office/drawing/2014/main" id="{E04D586E-A5D0-41F3-B96B-28787FD468A9}"/>
              </a:ext>
            </a:extLst>
          </p:cNvPr>
          <p:cNvPicPr>
            <a:picLocks noChangeAspect="1"/>
          </p:cNvPicPr>
          <p:nvPr/>
        </p:nvPicPr>
        <p:blipFill>
          <a:blip r:embed="rId24"/>
          <a:stretch>
            <a:fillRect/>
          </a:stretch>
        </p:blipFill>
        <p:spPr>
          <a:xfrm>
            <a:off x="6543673" y="2802211"/>
            <a:ext cx="1256515" cy="259679"/>
          </a:xfrm>
          <a:prstGeom prst="rect">
            <a:avLst/>
          </a:prstGeom>
        </p:spPr>
      </p:pic>
      <p:pic>
        <p:nvPicPr>
          <p:cNvPr id="40" name="Picture 39">
            <a:extLst>
              <a:ext uri="{FF2B5EF4-FFF2-40B4-BE49-F238E27FC236}">
                <a16:creationId xmlns:a16="http://schemas.microsoft.com/office/drawing/2014/main" id="{8221FBB1-C529-459F-AE90-E2725DB9CDA1}"/>
              </a:ext>
            </a:extLst>
          </p:cNvPr>
          <p:cNvPicPr>
            <a:picLocks noChangeAspect="1"/>
          </p:cNvPicPr>
          <p:nvPr/>
        </p:nvPicPr>
        <p:blipFill>
          <a:blip r:embed="rId25"/>
          <a:stretch>
            <a:fillRect/>
          </a:stretch>
        </p:blipFill>
        <p:spPr>
          <a:xfrm>
            <a:off x="2830388" y="4317131"/>
            <a:ext cx="1381932" cy="332395"/>
          </a:xfrm>
          <a:prstGeom prst="rect">
            <a:avLst/>
          </a:prstGeom>
        </p:spPr>
      </p:pic>
      <p:pic>
        <p:nvPicPr>
          <p:cNvPr id="41" name="Picture 40" descr="A picture containing clipart&#10;&#10;Description generated with very high confidence">
            <a:extLst>
              <a:ext uri="{FF2B5EF4-FFF2-40B4-BE49-F238E27FC236}">
                <a16:creationId xmlns:a16="http://schemas.microsoft.com/office/drawing/2014/main" id="{B08AC02A-DDE6-49D3-9AF6-04C800A7A0C4}"/>
              </a:ext>
            </a:extLst>
          </p:cNvPr>
          <p:cNvPicPr>
            <a:picLocks noChangeAspect="1"/>
          </p:cNvPicPr>
          <p:nvPr/>
        </p:nvPicPr>
        <p:blipFill>
          <a:blip r:embed="rId26">
            <a:clrChange>
              <a:clrFrom>
                <a:srgbClr val="FFFFFF"/>
              </a:clrFrom>
              <a:clrTo>
                <a:srgbClr val="FFFFFF">
                  <a:alpha val="0"/>
                </a:srgbClr>
              </a:clrTo>
            </a:clrChange>
          </a:blip>
          <a:stretch>
            <a:fillRect/>
          </a:stretch>
        </p:blipFill>
        <p:spPr>
          <a:xfrm>
            <a:off x="1576108" y="4308574"/>
            <a:ext cx="1215776" cy="343163"/>
          </a:xfrm>
          <a:prstGeom prst="rect">
            <a:avLst/>
          </a:prstGeom>
        </p:spPr>
      </p:pic>
      <p:pic>
        <p:nvPicPr>
          <p:cNvPr id="42" name="Picture 41">
            <a:extLst>
              <a:ext uri="{FF2B5EF4-FFF2-40B4-BE49-F238E27FC236}">
                <a16:creationId xmlns:a16="http://schemas.microsoft.com/office/drawing/2014/main" id="{8A323F6D-C366-4262-A49F-E3D8677E9C02}"/>
              </a:ext>
            </a:extLst>
          </p:cNvPr>
          <p:cNvPicPr>
            <a:picLocks noChangeAspect="1"/>
          </p:cNvPicPr>
          <p:nvPr/>
        </p:nvPicPr>
        <p:blipFill rotWithShape="1">
          <a:blip r:embed="rId27">
            <a:clrChange>
              <a:clrFrom>
                <a:srgbClr val="FEFEFE"/>
              </a:clrFrom>
              <a:clrTo>
                <a:srgbClr val="FEFEFE">
                  <a:alpha val="0"/>
                </a:srgbClr>
              </a:clrTo>
            </a:clrChange>
          </a:blip>
          <a:srcRect l="24401" r="21955"/>
          <a:stretch/>
        </p:blipFill>
        <p:spPr>
          <a:xfrm>
            <a:off x="5196239" y="1423046"/>
            <a:ext cx="486889" cy="600885"/>
          </a:xfrm>
          <a:prstGeom prst="rect">
            <a:avLst/>
          </a:prstGeom>
        </p:spPr>
      </p:pic>
      <p:pic>
        <p:nvPicPr>
          <p:cNvPr id="44" name="Picture 43" descr="A picture containing object, clock&#10;&#10;Description generated with high confidence">
            <a:extLst>
              <a:ext uri="{FF2B5EF4-FFF2-40B4-BE49-F238E27FC236}">
                <a16:creationId xmlns:a16="http://schemas.microsoft.com/office/drawing/2014/main" id="{93CE1180-F3E2-438C-817C-7207A0A4850D}"/>
              </a:ext>
            </a:extLst>
          </p:cNvPr>
          <p:cNvPicPr>
            <a:picLocks noChangeAspect="1"/>
          </p:cNvPicPr>
          <p:nvPr/>
        </p:nvPicPr>
        <p:blipFill>
          <a:blip r:embed="rId28"/>
          <a:stretch>
            <a:fillRect/>
          </a:stretch>
        </p:blipFill>
        <p:spPr>
          <a:xfrm>
            <a:off x="6641481" y="1683030"/>
            <a:ext cx="787874" cy="216403"/>
          </a:xfrm>
          <a:prstGeom prst="rect">
            <a:avLst/>
          </a:prstGeom>
        </p:spPr>
      </p:pic>
      <p:pic>
        <p:nvPicPr>
          <p:cNvPr id="45" name="Picture 44">
            <a:extLst>
              <a:ext uri="{FF2B5EF4-FFF2-40B4-BE49-F238E27FC236}">
                <a16:creationId xmlns:a16="http://schemas.microsoft.com/office/drawing/2014/main" id="{A31B1BAC-BC36-413E-A7A5-F7AC361314BC}"/>
              </a:ext>
            </a:extLst>
          </p:cNvPr>
          <p:cNvPicPr>
            <a:picLocks noChangeAspect="1"/>
          </p:cNvPicPr>
          <p:nvPr/>
        </p:nvPicPr>
        <p:blipFill>
          <a:blip r:embed="rId29"/>
          <a:stretch>
            <a:fillRect/>
          </a:stretch>
        </p:blipFill>
        <p:spPr>
          <a:xfrm>
            <a:off x="7529969" y="2235591"/>
            <a:ext cx="448213" cy="448213"/>
          </a:xfrm>
          <a:prstGeom prst="rect">
            <a:avLst/>
          </a:prstGeom>
        </p:spPr>
      </p:pic>
      <p:pic>
        <p:nvPicPr>
          <p:cNvPr id="46" name="Picture 45">
            <a:extLst>
              <a:ext uri="{FF2B5EF4-FFF2-40B4-BE49-F238E27FC236}">
                <a16:creationId xmlns:a16="http://schemas.microsoft.com/office/drawing/2014/main" id="{730D8EA8-3F54-461F-9890-2FA376A89272}"/>
              </a:ext>
            </a:extLst>
          </p:cNvPr>
          <p:cNvPicPr>
            <a:picLocks noChangeAspect="1"/>
          </p:cNvPicPr>
          <p:nvPr/>
        </p:nvPicPr>
        <p:blipFill rotWithShape="1">
          <a:blip r:embed="rId22">
            <a:clrChange>
              <a:clrFrom>
                <a:srgbClr val="FFFFFF"/>
              </a:clrFrom>
              <a:clrTo>
                <a:srgbClr val="FFFFFF">
                  <a:alpha val="0"/>
                </a:srgbClr>
              </a:clrTo>
            </a:clrChange>
          </a:blip>
          <a:srcRect l="12821" t="7694" r="13781" b="16241"/>
          <a:stretch/>
        </p:blipFill>
        <p:spPr>
          <a:xfrm>
            <a:off x="8031564" y="2250783"/>
            <a:ext cx="1072060" cy="340719"/>
          </a:xfrm>
          <a:prstGeom prst="rect">
            <a:avLst/>
          </a:prstGeom>
        </p:spPr>
      </p:pic>
      <p:pic>
        <p:nvPicPr>
          <p:cNvPr id="47" name="Picture 46" descr="A close up of a sign&#10;&#10;Description generated with very high confidence">
            <a:extLst>
              <a:ext uri="{FF2B5EF4-FFF2-40B4-BE49-F238E27FC236}">
                <a16:creationId xmlns:a16="http://schemas.microsoft.com/office/drawing/2014/main" id="{5B4EDFC7-A690-4F3C-8AA1-4D6F2A598382}"/>
              </a:ext>
            </a:extLst>
          </p:cNvPr>
          <p:cNvPicPr>
            <a:picLocks noChangeAspect="1"/>
          </p:cNvPicPr>
          <p:nvPr/>
        </p:nvPicPr>
        <p:blipFill>
          <a:blip r:embed="rId20"/>
          <a:stretch>
            <a:fillRect/>
          </a:stretch>
        </p:blipFill>
        <p:spPr>
          <a:xfrm>
            <a:off x="8054378" y="2603264"/>
            <a:ext cx="965898" cy="324954"/>
          </a:xfrm>
          <a:prstGeom prst="rect">
            <a:avLst/>
          </a:prstGeom>
        </p:spPr>
      </p:pic>
      <p:pic>
        <p:nvPicPr>
          <p:cNvPr id="48" name="Picture 47">
            <a:extLst>
              <a:ext uri="{FF2B5EF4-FFF2-40B4-BE49-F238E27FC236}">
                <a16:creationId xmlns:a16="http://schemas.microsoft.com/office/drawing/2014/main" id="{D426E44E-7186-4EC7-9947-9E1242900B0B}"/>
              </a:ext>
            </a:extLst>
          </p:cNvPr>
          <p:cNvPicPr>
            <a:picLocks noChangeAspect="1"/>
          </p:cNvPicPr>
          <p:nvPr/>
        </p:nvPicPr>
        <p:blipFill rotWithShape="1">
          <a:blip r:embed="rId21"/>
          <a:srcRect l="28897" t="9516" b="15012"/>
          <a:stretch/>
        </p:blipFill>
        <p:spPr>
          <a:xfrm>
            <a:off x="7996794" y="1087911"/>
            <a:ext cx="666444" cy="416114"/>
          </a:xfrm>
          <a:prstGeom prst="rect">
            <a:avLst/>
          </a:prstGeom>
        </p:spPr>
      </p:pic>
      <p:pic>
        <p:nvPicPr>
          <p:cNvPr id="49" name="Picture 48">
            <a:extLst>
              <a:ext uri="{FF2B5EF4-FFF2-40B4-BE49-F238E27FC236}">
                <a16:creationId xmlns:a16="http://schemas.microsoft.com/office/drawing/2014/main" id="{827E85F5-94D5-4AD5-922F-3AB656CF8404}"/>
              </a:ext>
            </a:extLst>
          </p:cNvPr>
          <p:cNvPicPr>
            <a:picLocks noChangeAspect="1"/>
          </p:cNvPicPr>
          <p:nvPr/>
        </p:nvPicPr>
        <p:blipFill>
          <a:blip r:embed="rId23"/>
          <a:stretch>
            <a:fillRect/>
          </a:stretch>
        </p:blipFill>
        <p:spPr>
          <a:xfrm>
            <a:off x="8286483" y="1515787"/>
            <a:ext cx="753510" cy="334485"/>
          </a:xfrm>
          <a:prstGeom prst="rect">
            <a:avLst/>
          </a:prstGeom>
        </p:spPr>
      </p:pic>
      <p:pic>
        <p:nvPicPr>
          <p:cNvPr id="18" name="Picture 17">
            <a:extLst>
              <a:ext uri="{FF2B5EF4-FFF2-40B4-BE49-F238E27FC236}">
                <a16:creationId xmlns:a16="http://schemas.microsoft.com/office/drawing/2014/main" id="{9987817D-2D8A-409E-9C74-597228D74A20}"/>
              </a:ext>
            </a:extLst>
          </p:cNvPr>
          <p:cNvPicPr>
            <a:picLocks noChangeAspect="1"/>
          </p:cNvPicPr>
          <p:nvPr/>
        </p:nvPicPr>
        <p:blipFill>
          <a:blip r:embed="rId30"/>
          <a:stretch>
            <a:fillRect/>
          </a:stretch>
        </p:blipFill>
        <p:spPr>
          <a:xfrm>
            <a:off x="5862619" y="2232463"/>
            <a:ext cx="759279" cy="266889"/>
          </a:xfrm>
          <a:prstGeom prst="rect">
            <a:avLst/>
          </a:prstGeom>
        </p:spPr>
      </p:pic>
      <p:cxnSp>
        <p:nvCxnSpPr>
          <p:cNvPr id="52" name="Straight Connector 51">
            <a:extLst>
              <a:ext uri="{FF2B5EF4-FFF2-40B4-BE49-F238E27FC236}">
                <a16:creationId xmlns:a16="http://schemas.microsoft.com/office/drawing/2014/main" id="{E4213B6C-2F50-4BBB-B69C-2B3C01577AD0}"/>
              </a:ext>
            </a:extLst>
          </p:cNvPr>
          <p:cNvCxnSpPr>
            <a:cxnSpLocks/>
          </p:cNvCxnSpPr>
          <p:nvPr/>
        </p:nvCxnSpPr>
        <p:spPr>
          <a:xfrm flipV="1">
            <a:off x="2238821" y="2790488"/>
            <a:ext cx="0" cy="510336"/>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53B561D8-3B41-4E61-B199-3DA768ACB919}"/>
              </a:ext>
            </a:extLst>
          </p:cNvPr>
          <p:cNvPicPr>
            <a:picLocks noChangeAspect="1"/>
          </p:cNvPicPr>
          <p:nvPr/>
        </p:nvPicPr>
        <p:blipFill rotWithShape="1">
          <a:blip r:embed="rId31">
            <a:clrChange>
              <a:clrFrom>
                <a:srgbClr val="FFFFFF"/>
              </a:clrFrom>
              <a:clrTo>
                <a:srgbClr val="FFFFFF">
                  <a:alpha val="0"/>
                </a:srgbClr>
              </a:clrTo>
            </a:clrChange>
          </a:blip>
          <a:srcRect t="29072" b="29279"/>
          <a:stretch/>
        </p:blipFill>
        <p:spPr>
          <a:xfrm>
            <a:off x="6296559" y="594067"/>
            <a:ext cx="777368" cy="219344"/>
          </a:xfrm>
          <a:prstGeom prst="rect">
            <a:avLst/>
          </a:prstGeom>
        </p:spPr>
      </p:pic>
      <p:pic>
        <p:nvPicPr>
          <p:cNvPr id="59" name="Picture 58">
            <a:extLst>
              <a:ext uri="{FF2B5EF4-FFF2-40B4-BE49-F238E27FC236}">
                <a16:creationId xmlns:a16="http://schemas.microsoft.com/office/drawing/2014/main" id="{0A4539B1-6BBE-4AE1-AF86-4675E69A47AC}"/>
              </a:ext>
            </a:extLst>
          </p:cNvPr>
          <p:cNvPicPr>
            <a:picLocks noChangeAspect="1"/>
          </p:cNvPicPr>
          <p:nvPr/>
        </p:nvPicPr>
        <p:blipFill rotWithShape="1">
          <a:blip r:embed="rId32">
            <a:clrChange>
              <a:clrFrom>
                <a:srgbClr val="FFFFFF"/>
              </a:clrFrom>
              <a:clrTo>
                <a:srgbClr val="FFFFFF">
                  <a:alpha val="0"/>
                </a:srgbClr>
              </a:clrTo>
            </a:clrChange>
          </a:blip>
          <a:srcRect t="32118" b="33546"/>
          <a:stretch/>
        </p:blipFill>
        <p:spPr>
          <a:xfrm>
            <a:off x="5356372" y="578559"/>
            <a:ext cx="896425" cy="230847"/>
          </a:xfrm>
          <a:prstGeom prst="rect">
            <a:avLst/>
          </a:prstGeom>
        </p:spPr>
      </p:pic>
      <p:pic>
        <p:nvPicPr>
          <p:cNvPr id="60" name="Picture 59">
            <a:extLst>
              <a:ext uri="{FF2B5EF4-FFF2-40B4-BE49-F238E27FC236}">
                <a16:creationId xmlns:a16="http://schemas.microsoft.com/office/drawing/2014/main" id="{8F412E3B-CAC6-4FAE-B6D8-E6083A43C3CA}"/>
              </a:ext>
            </a:extLst>
          </p:cNvPr>
          <p:cNvPicPr>
            <a:picLocks noChangeAspect="1"/>
          </p:cNvPicPr>
          <p:nvPr/>
        </p:nvPicPr>
        <p:blipFill rotWithShape="1">
          <a:blip r:embed="rId33">
            <a:clrChange>
              <a:clrFrom>
                <a:srgbClr val="FFFFFF"/>
              </a:clrFrom>
              <a:clrTo>
                <a:srgbClr val="FFFFFF">
                  <a:alpha val="0"/>
                </a:srgbClr>
              </a:clrTo>
            </a:clrChange>
          </a:blip>
          <a:srcRect t="32609" b="32682"/>
          <a:stretch/>
        </p:blipFill>
        <p:spPr>
          <a:xfrm>
            <a:off x="4515931" y="564670"/>
            <a:ext cx="840442" cy="291709"/>
          </a:xfrm>
          <a:prstGeom prst="rect">
            <a:avLst/>
          </a:prstGeom>
        </p:spPr>
      </p:pic>
      <p:sp>
        <p:nvSpPr>
          <p:cNvPr id="69" name="Flowchart: Connector 68">
            <a:extLst>
              <a:ext uri="{FF2B5EF4-FFF2-40B4-BE49-F238E27FC236}">
                <a16:creationId xmlns:a16="http://schemas.microsoft.com/office/drawing/2014/main" id="{DE0391D7-A17E-4953-B344-E5EA46A054EC}"/>
              </a:ext>
            </a:extLst>
          </p:cNvPr>
          <p:cNvSpPr/>
          <p:nvPr/>
        </p:nvSpPr>
        <p:spPr bwMode="auto">
          <a:xfrm>
            <a:off x="3778430" y="1499635"/>
            <a:ext cx="1183281" cy="1183281"/>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marL="0" marR="0" lvl="0" indent="0" algn="ctr" defTabSz="672071" rtl="0" eaLnBrk="1" fontAlgn="base" latinLnBrk="0" hangingPunct="1">
              <a:lnSpc>
                <a:spcPct val="90000"/>
              </a:lnSpc>
              <a:spcBef>
                <a:spcPct val="0"/>
              </a:spcBef>
              <a:spcAft>
                <a:spcPct val="0"/>
              </a:spcAft>
              <a:buClrTx/>
              <a:buSzTx/>
              <a:buFontTx/>
              <a:buNone/>
              <a:tabLst/>
              <a:defRPr/>
            </a:pPr>
            <a:endParaRPr kumimoji="0" lang="en-CA" sz="173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7" name="Group 56">
            <a:extLst>
              <a:ext uri="{FF2B5EF4-FFF2-40B4-BE49-F238E27FC236}">
                <a16:creationId xmlns:a16="http://schemas.microsoft.com/office/drawing/2014/main" id="{C357BC1C-D205-4DD6-BDA5-57C7C8D2628E}"/>
              </a:ext>
            </a:extLst>
          </p:cNvPr>
          <p:cNvGrpSpPr/>
          <p:nvPr/>
        </p:nvGrpSpPr>
        <p:grpSpPr>
          <a:xfrm>
            <a:off x="92219" y="2872362"/>
            <a:ext cx="853480" cy="491436"/>
            <a:chOff x="1677385" y="122408"/>
            <a:chExt cx="6960370" cy="4007798"/>
          </a:xfrm>
        </p:grpSpPr>
        <p:grpSp>
          <p:nvGrpSpPr>
            <p:cNvPr id="61" name="Group 60">
              <a:extLst>
                <a:ext uri="{FF2B5EF4-FFF2-40B4-BE49-F238E27FC236}">
                  <a16:creationId xmlns:a16="http://schemas.microsoft.com/office/drawing/2014/main" id="{B08927AA-69A9-4320-AD46-11E85362692A}"/>
                </a:ext>
              </a:extLst>
            </p:cNvPr>
            <p:cNvGrpSpPr/>
            <p:nvPr/>
          </p:nvGrpSpPr>
          <p:grpSpPr>
            <a:xfrm>
              <a:off x="1677385" y="122408"/>
              <a:ext cx="6905966" cy="3702872"/>
              <a:chOff x="1677385" y="122408"/>
              <a:chExt cx="6905966" cy="3702872"/>
            </a:xfrm>
          </p:grpSpPr>
          <p:pic>
            <p:nvPicPr>
              <p:cNvPr id="63" name="Picture 62">
                <a:extLst>
                  <a:ext uri="{FF2B5EF4-FFF2-40B4-BE49-F238E27FC236}">
                    <a16:creationId xmlns:a16="http://schemas.microsoft.com/office/drawing/2014/main" id="{23673FE5-0142-4924-A5AC-5E569DB158E3}"/>
                  </a:ext>
                </a:extLst>
              </p:cNvPr>
              <p:cNvPicPr>
                <a:picLocks noChangeAspect="1"/>
              </p:cNvPicPr>
              <p:nvPr/>
            </p:nvPicPr>
            <p:blipFill>
              <a:blip r:embed="rId34"/>
              <a:stretch>
                <a:fillRect/>
              </a:stretch>
            </p:blipFill>
            <p:spPr>
              <a:xfrm>
                <a:off x="1677385" y="122408"/>
                <a:ext cx="6905966" cy="3702872"/>
              </a:xfrm>
              <a:prstGeom prst="rect">
                <a:avLst/>
              </a:prstGeom>
            </p:spPr>
          </p:pic>
          <p:sp>
            <p:nvSpPr>
              <p:cNvPr id="64" name="Rectangle 63">
                <a:extLst>
                  <a:ext uri="{FF2B5EF4-FFF2-40B4-BE49-F238E27FC236}">
                    <a16:creationId xmlns:a16="http://schemas.microsoft.com/office/drawing/2014/main" id="{D8A1F0F2-8628-4D5A-B019-5753BECAC190}"/>
                  </a:ext>
                </a:extLst>
              </p:cNvPr>
              <p:cNvSpPr/>
              <p:nvPr/>
            </p:nvSpPr>
            <p:spPr bwMode="auto">
              <a:xfrm>
                <a:off x="3169385" y="2259542"/>
                <a:ext cx="1768706" cy="573723"/>
              </a:xfrm>
              <a:prstGeom prst="rect">
                <a:avLst/>
              </a:prstGeom>
              <a:solidFill>
                <a:srgbClr val="B064A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de-AT"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62" name="TextBox 61">
              <a:extLst>
                <a:ext uri="{FF2B5EF4-FFF2-40B4-BE49-F238E27FC236}">
                  <a16:creationId xmlns:a16="http://schemas.microsoft.com/office/drawing/2014/main" id="{BBBC64E7-A0FF-43D9-904B-E04A1EE6D8E6}"/>
                </a:ext>
              </a:extLst>
            </p:cNvPr>
            <p:cNvSpPr txBox="1"/>
            <p:nvPr/>
          </p:nvSpPr>
          <p:spPr>
            <a:xfrm>
              <a:off x="1803221" y="1432994"/>
              <a:ext cx="6834534" cy="2697212"/>
            </a:xfrm>
            <a:prstGeom prst="rect">
              <a:avLst/>
            </a:prstGeom>
            <a:noFill/>
          </p:spPr>
          <p:txBody>
            <a:bodyPr wrap="none" lIns="137160" tIns="109728" rIns="137160" bIns="109728" rtlCol="0">
              <a:spAutoFit/>
            </a:bodyPr>
            <a:lstStyle/>
            <a:p>
              <a:pPr marL="0" marR="0" lvl="0" indent="0" algn="l" defTabSz="685800" rtl="0" eaLnBrk="1" fontAlgn="auto" latinLnBrk="0" hangingPunct="1">
                <a:lnSpc>
                  <a:spcPct val="90000"/>
                </a:lnSpc>
                <a:spcBef>
                  <a:spcPts val="0"/>
                </a:spcBef>
                <a:spcAft>
                  <a:spcPts val="450"/>
                </a:spcAft>
                <a:buClrTx/>
                <a:buSzTx/>
                <a:buFontTx/>
                <a:buNone/>
                <a:tabLst/>
                <a:defRPr/>
              </a:pPr>
              <a:r>
                <a:rPr kumimoji="0" lang="en-US" sz="788" b="1" i="0" u="none" strike="noStrike" kern="1200" cap="none" spc="0" normalizeH="0" baseline="0" noProof="0" dirty="0">
                  <a:ln>
                    <a:noFill/>
                  </a:ln>
                  <a:solidFill>
                    <a:srgbClr val="FFFFFF"/>
                  </a:solidFill>
                  <a:effectLst/>
                  <a:uLnTx/>
                  <a:uFillTx/>
                  <a:latin typeface="Segoe UI Semilight"/>
                  <a:ea typeface="+mn-ea"/>
                  <a:cs typeface="+mn-cs"/>
                </a:rPr>
                <a:t>Visual Studio</a:t>
              </a:r>
              <a:endParaRPr kumimoji="0" lang="de-AT" sz="788" b="1" i="0" u="none" strike="noStrike" kern="1200" cap="none" spc="0" normalizeH="0" baseline="0" noProof="0" dirty="0" err="1">
                <a:ln>
                  <a:noFill/>
                </a:ln>
                <a:solidFill>
                  <a:srgbClr val="FFFFFF"/>
                </a:solidFill>
                <a:effectLst/>
                <a:uLnTx/>
                <a:uFillTx/>
                <a:latin typeface="Segoe UI Semilight"/>
                <a:ea typeface="+mn-ea"/>
                <a:cs typeface="+mn-cs"/>
              </a:endParaRPr>
            </a:p>
          </p:txBody>
        </p:sp>
      </p:grpSp>
      <p:pic>
        <p:nvPicPr>
          <p:cNvPr id="4" name="Picture 3">
            <a:extLst>
              <a:ext uri="{FF2B5EF4-FFF2-40B4-BE49-F238E27FC236}">
                <a16:creationId xmlns:a16="http://schemas.microsoft.com/office/drawing/2014/main" id="{BC1BDC83-63F5-4A31-AB25-526D5AA71FAA}"/>
              </a:ext>
            </a:extLst>
          </p:cNvPr>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a:off x="3256284" y="1047896"/>
            <a:ext cx="950843" cy="216957"/>
          </a:xfrm>
          <a:prstGeom prst="rect">
            <a:avLst/>
          </a:prstGeom>
        </p:spPr>
      </p:pic>
      <p:grpSp>
        <p:nvGrpSpPr>
          <p:cNvPr id="66" name="Group 65">
            <a:extLst>
              <a:ext uri="{FF2B5EF4-FFF2-40B4-BE49-F238E27FC236}">
                <a16:creationId xmlns:a16="http://schemas.microsoft.com/office/drawing/2014/main" id="{F8C0EFFF-E223-470B-87FD-110EC8010F1F}"/>
              </a:ext>
            </a:extLst>
          </p:cNvPr>
          <p:cNvGrpSpPr/>
          <p:nvPr/>
        </p:nvGrpSpPr>
        <p:grpSpPr>
          <a:xfrm>
            <a:off x="6673789" y="1130027"/>
            <a:ext cx="1068443" cy="281564"/>
            <a:chOff x="7349541" y="4635063"/>
            <a:chExt cx="1891267" cy="498400"/>
          </a:xfrm>
        </p:grpSpPr>
        <p:sp>
          <p:nvSpPr>
            <p:cNvPr id="67" name="TextBox 66">
              <a:extLst>
                <a:ext uri="{FF2B5EF4-FFF2-40B4-BE49-F238E27FC236}">
                  <a16:creationId xmlns:a16="http://schemas.microsoft.com/office/drawing/2014/main" id="{0071B75F-9546-4D6E-BD37-867744B93532}"/>
                </a:ext>
              </a:extLst>
            </p:cNvPr>
            <p:cNvSpPr txBox="1"/>
            <p:nvPr/>
          </p:nvSpPr>
          <p:spPr>
            <a:xfrm>
              <a:off x="8148015" y="4635063"/>
              <a:ext cx="1092793" cy="408599"/>
            </a:xfrm>
            <a:prstGeom prst="rect">
              <a:avLst/>
            </a:prstGeom>
            <a:noFill/>
          </p:spPr>
          <p:txBody>
            <a:bodyPr wrap="square" lIns="0" tIns="0" rIns="0" bIns="0" rtlCol="0">
              <a:spAutoFit/>
            </a:bodyPr>
            <a:lstStyle/>
            <a:p>
              <a:pPr marL="0" marR="0" lvl="0" indent="0" algn="l" defTabSz="699314" rtl="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dirty="0">
                  <a:ln>
                    <a:noFill/>
                  </a:ln>
                  <a:solidFill>
                    <a:srgbClr val="353535"/>
                  </a:solidFill>
                  <a:effectLst/>
                  <a:uLnTx/>
                  <a:uFillTx/>
                  <a:latin typeface="Calibri" panose="020F0502020204030204"/>
                  <a:ea typeface="Segoe UI" pitchFamily="34" charset="0"/>
                  <a:cs typeface="Segoe UI" pitchFamily="34" charset="0"/>
                </a:rPr>
                <a:t>Azure Resource Management</a:t>
              </a:r>
            </a:p>
          </p:txBody>
        </p:sp>
        <p:grpSp>
          <p:nvGrpSpPr>
            <p:cNvPr id="71" name="Group 70">
              <a:extLst>
                <a:ext uri="{FF2B5EF4-FFF2-40B4-BE49-F238E27FC236}">
                  <a16:creationId xmlns:a16="http://schemas.microsoft.com/office/drawing/2014/main" id="{77AE0713-ACF2-4833-9F57-52CD4C107623}"/>
                </a:ext>
              </a:extLst>
            </p:cNvPr>
            <p:cNvGrpSpPr/>
            <p:nvPr/>
          </p:nvGrpSpPr>
          <p:grpSpPr>
            <a:xfrm>
              <a:off x="7349541" y="4690662"/>
              <a:ext cx="682792" cy="442801"/>
              <a:chOff x="6236727" y="5075466"/>
              <a:chExt cx="1685512" cy="1093080"/>
            </a:xfrm>
          </p:grpSpPr>
          <p:grpSp>
            <p:nvGrpSpPr>
              <p:cNvPr id="72" name="Group 71">
                <a:extLst>
                  <a:ext uri="{FF2B5EF4-FFF2-40B4-BE49-F238E27FC236}">
                    <a16:creationId xmlns:a16="http://schemas.microsoft.com/office/drawing/2014/main" id="{B14FC1D8-855B-4240-91BB-D7AF71A6C9CE}"/>
                  </a:ext>
                </a:extLst>
              </p:cNvPr>
              <p:cNvGrpSpPr/>
              <p:nvPr/>
            </p:nvGrpSpPr>
            <p:grpSpPr>
              <a:xfrm>
                <a:off x="6604927" y="5075466"/>
                <a:ext cx="1102201" cy="1054928"/>
                <a:chOff x="6604927" y="5075466"/>
                <a:chExt cx="1102201" cy="1054928"/>
              </a:xfrm>
            </p:grpSpPr>
            <p:sp>
              <p:nvSpPr>
                <p:cNvPr id="75" name="Diamond 74">
                  <a:extLst>
                    <a:ext uri="{FF2B5EF4-FFF2-40B4-BE49-F238E27FC236}">
                      <a16:creationId xmlns:a16="http://schemas.microsoft.com/office/drawing/2014/main" id="{0860C917-0B20-4685-B913-66B94F187716}"/>
                    </a:ext>
                  </a:extLst>
                </p:cNvPr>
                <p:cNvSpPr/>
                <p:nvPr/>
              </p:nvSpPr>
              <p:spPr bwMode="auto">
                <a:xfrm>
                  <a:off x="6642893" y="5075466"/>
                  <a:ext cx="869548" cy="480973"/>
                </a:xfrm>
                <a:prstGeom prst="diamond">
                  <a:avLst/>
                </a:prstGeom>
                <a:solidFill>
                  <a:srgbClr val="3999C6"/>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6" name="Parallelogram 75">
                  <a:extLst>
                    <a:ext uri="{FF2B5EF4-FFF2-40B4-BE49-F238E27FC236}">
                      <a16:creationId xmlns:a16="http://schemas.microsoft.com/office/drawing/2014/main" id="{901A2EC1-7820-4770-9DEA-CCF08C46BAB6}"/>
                    </a:ext>
                  </a:extLst>
                </p:cNvPr>
                <p:cNvSpPr/>
                <p:nvPr/>
              </p:nvSpPr>
              <p:spPr bwMode="auto">
                <a:xfrm rot="19866714">
                  <a:off x="6966649" y="5556675"/>
                  <a:ext cx="740479" cy="430284"/>
                </a:xfrm>
                <a:prstGeom prst="parallelogram">
                  <a:avLst>
                    <a:gd name="adj" fmla="val 57886"/>
                  </a:avLst>
                </a:prstGeom>
                <a:solidFill>
                  <a:srgbClr val="ACDAEC"/>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7" name="Parallelogram 76">
                  <a:extLst>
                    <a:ext uri="{FF2B5EF4-FFF2-40B4-BE49-F238E27FC236}">
                      <a16:creationId xmlns:a16="http://schemas.microsoft.com/office/drawing/2014/main" id="{C6099779-2EAD-477B-BF96-F29BA106A8ED}"/>
                    </a:ext>
                  </a:extLst>
                </p:cNvPr>
                <p:cNvSpPr/>
                <p:nvPr/>
              </p:nvSpPr>
              <p:spPr bwMode="auto">
                <a:xfrm rot="5400000">
                  <a:off x="6449829" y="5545013"/>
                  <a:ext cx="740479" cy="430284"/>
                </a:xfrm>
                <a:prstGeom prst="parallelogram">
                  <a:avLst>
                    <a:gd name="adj" fmla="val 57886"/>
                  </a:avLst>
                </a:prstGeom>
                <a:solidFill>
                  <a:srgbClr val="59B4D9"/>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3" name="Freeform 197">
                <a:extLst>
                  <a:ext uri="{FF2B5EF4-FFF2-40B4-BE49-F238E27FC236}">
                    <a16:creationId xmlns:a16="http://schemas.microsoft.com/office/drawing/2014/main" id="{82A141CF-6CDB-4061-B786-942FCE7D7083}"/>
                  </a:ext>
                </a:extLst>
              </p:cNvPr>
              <p:cNvSpPr/>
              <p:nvPr/>
            </p:nvSpPr>
            <p:spPr bwMode="auto">
              <a:xfrm rot="1753011">
                <a:off x="7202147" y="5162507"/>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4" name="Freeform 198">
                <a:extLst>
                  <a:ext uri="{FF2B5EF4-FFF2-40B4-BE49-F238E27FC236}">
                    <a16:creationId xmlns:a16="http://schemas.microsoft.com/office/drawing/2014/main" id="{28F78730-6CDC-4B4C-A5DF-BDCEA96044F6}"/>
                  </a:ext>
                </a:extLst>
              </p:cNvPr>
              <p:cNvSpPr/>
              <p:nvPr/>
            </p:nvSpPr>
            <p:spPr bwMode="auto">
              <a:xfrm rot="12600000">
                <a:off x="6236727" y="5077283"/>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pic>
        <p:nvPicPr>
          <p:cNvPr id="5" name="Picture 4">
            <a:extLst>
              <a:ext uri="{FF2B5EF4-FFF2-40B4-BE49-F238E27FC236}">
                <a16:creationId xmlns:a16="http://schemas.microsoft.com/office/drawing/2014/main" id="{BD593D9B-F9F5-4D92-A614-A9B4B2DFBCEF}"/>
              </a:ext>
            </a:extLst>
          </p:cNvPr>
          <p:cNvPicPr>
            <a:picLocks noChangeAspect="1"/>
          </p:cNvPicPr>
          <p:nvPr/>
        </p:nvPicPr>
        <p:blipFill>
          <a:blip r:embed="rId36"/>
          <a:stretch>
            <a:fillRect/>
          </a:stretch>
        </p:blipFill>
        <p:spPr>
          <a:xfrm>
            <a:off x="7197799" y="530646"/>
            <a:ext cx="453164" cy="302110"/>
          </a:xfrm>
          <a:prstGeom prst="rect">
            <a:avLst/>
          </a:prstGeom>
        </p:spPr>
      </p:pic>
      <p:pic>
        <p:nvPicPr>
          <p:cNvPr id="17" name="Picture 16">
            <a:extLst>
              <a:ext uri="{FF2B5EF4-FFF2-40B4-BE49-F238E27FC236}">
                <a16:creationId xmlns:a16="http://schemas.microsoft.com/office/drawing/2014/main" id="{DA6CA418-61A2-47C5-A854-047F43FB12A0}"/>
              </a:ext>
            </a:extLst>
          </p:cNvPr>
          <p:cNvPicPr>
            <a:picLocks noChangeAspect="1"/>
          </p:cNvPicPr>
          <p:nvPr/>
        </p:nvPicPr>
        <p:blipFill>
          <a:blip r:embed="rId37"/>
          <a:stretch>
            <a:fillRect/>
          </a:stretch>
        </p:blipFill>
        <p:spPr>
          <a:xfrm>
            <a:off x="615697" y="4373861"/>
            <a:ext cx="831665" cy="263144"/>
          </a:xfrm>
          <a:prstGeom prst="rect">
            <a:avLst/>
          </a:prstGeom>
        </p:spPr>
      </p:pic>
      <p:pic>
        <p:nvPicPr>
          <p:cNvPr id="19" name="Picture 18">
            <a:extLst>
              <a:ext uri="{FF2B5EF4-FFF2-40B4-BE49-F238E27FC236}">
                <a16:creationId xmlns:a16="http://schemas.microsoft.com/office/drawing/2014/main" id="{97D0D1DE-57B0-40A3-B45C-5E22542B86A8}"/>
              </a:ext>
            </a:extLst>
          </p:cNvPr>
          <p:cNvPicPr>
            <a:picLocks noChangeAspect="1"/>
          </p:cNvPicPr>
          <p:nvPr/>
        </p:nvPicPr>
        <p:blipFill>
          <a:blip r:embed="rId38"/>
          <a:stretch>
            <a:fillRect/>
          </a:stretch>
        </p:blipFill>
        <p:spPr>
          <a:xfrm>
            <a:off x="3829509" y="1909143"/>
            <a:ext cx="1086906" cy="320394"/>
          </a:xfrm>
          <a:prstGeom prst="rect">
            <a:avLst/>
          </a:prstGeom>
        </p:spPr>
      </p:pic>
      <p:grpSp>
        <p:nvGrpSpPr>
          <p:cNvPr id="33" name="Group 32">
            <a:extLst>
              <a:ext uri="{FF2B5EF4-FFF2-40B4-BE49-F238E27FC236}">
                <a16:creationId xmlns:a16="http://schemas.microsoft.com/office/drawing/2014/main" id="{61F70B68-7DC6-4AA9-BE49-DB5E0B6E09B5}"/>
              </a:ext>
            </a:extLst>
          </p:cNvPr>
          <p:cNvGrpSpPr/>
          <p:nvPr/>
        </p:nvGrpSpPr>
        <p:grpSpPr>
          <a:xfrm>
            <a:off x="3621116" y="1342501"/>
            <a:ext cx="1485000" cy="1558052"/>
            <a:chOff x="4828155" y="1790001"/>
            <a:chExt cx="1980000" cy="2077403"/>
          </a:xfrm>
        </p:grpSpPr>
        <p:sp>
          <p:nvSpPr>
            <p:cNvPr id="3" name="Oval 2">
              <a:extLst>
                <a:ext uri="{FF2B5EF4-FFF2-40B4-BE49-F238E27FC236}">
                  <a16:creationId xmlns:a16="http://schemas.microsoft.com/office/drawing/2014/main" id="{691B5B31-B7F4-44C1-B1C6-5B9A546E502E}"/>
                </a:ext>
              </a:extLst>
            </p:cNvPr>
            <p:cNvSpPr/>
            <p:nvPr/>
          </p:nvSpPr>
          <p:spPr>
            <a:xfrm>
              <a:off x="4828155" y="1790001"/>
              <a:ext cx="1980000" cy="2077403"/>
            </a:xfrm>
            <a:prstGeom prst="ellipse">
              <a:avLst/>
            </a:prstGeom>
            <a:solidFill>
              <a:schemeClr val="bg1"/>
            </a:solidFill>
            <a:ln w="76200">
              <a:solidFill>
                <a:srgbClr val="FFC000"/>
              </a:solidFill>
            </a:ln>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dirty="0">
                  <a:ln>
                    <a:noFill/>
                  </a:ln>
                  <a:solidFill>
                    <a:srgbClr val="002050"/>
                  </a:solidFill>
                  <a:effectLst/>
                  <a:uLnTx/>
                  <a:uFillTx/>
                  <a:latin typeface="Segoe UI Semilight"/>
                  <a:ea typeface="+mn-ea"/>
                  <a:cs typeface="+mn-cs"/>
                </a:rPr>
                <a:t>VS Team Services  (“VSTS”) + MS tools can handle the </a:t>
              </a:r>
              <a:r>
                <a:rPr kumimoji="0" lang="en-US" sz="825" b="1" i="0" u="sng" strike="noStrike" kern="1200" cap="none" spc="0" normalizeH="0" baseline="0" noProof="0" dirty="0">
                  <a:ln>
                    <a:noFill/>
                  </a:ln>
                  <a:solidFill>
                    <a:srgbClr val="002050"/>
                  </a:solidFill>
                  <a:effectLst/>
                  <a:uLnTx/>
                  <a:uFillTx/>
                  <a:latin typeface="Segoe UI Semilight"/>
                  <a:ea typeface="+mn-ea"/>
                  <a:cs typeface="+mn-cs"/>
                </a:rPr>
                <a:t>whole</a:t>
              </a:r>
              <a:r>
                <a:rPr kumimoji="0" lang="en-US" sz="825" b="1" i="0" u="none" strike="noStrike" kern="1200" cap="none" spc="0" normalizeH="0" baseline="0" noProof="0" dirty="0">
                  <a:ln>
                    <a:noFill/>
                  </a:ln>
                  <a:solidFill>
                    <a:srgbClr val="002050"/>
                  </a:solidFill>
                  <a:effectLst/>
                  <a:uLnTx/>
                  <a:uFillTx/>
                  <a:latin typeface="Segoe UI Semilight"/>
                  <a:ea typeface="+mn-ea"/>
                  <a:cs typeface="+mn-cs"/>
                </a:rPr>
                <a:t> DevOps process </a:t>
              </a:r>
              <a:r>
                <a:rPr kumimoji="0" lang="en-US" sz="825" b="1" i="0" u="sng" strike="noStrike" kern="1200" cap="none" spc="0" normalizeH="0" baseline="0" noProof="0" dirty="0">
                  <a:ln>
                    <a:noFill/>
                  </a:ln>
                  <a:solidFill>
                    <a:srgbClr val="002050"/>
                  </a:solidFill>
                  <a:effectLst/>
                  <a:uLnTx/>
                  <a:uFillTx/>
                  <a:latin typeface="Segoe UI Semilight"/>
                  <a:ea typeface="+mn-ea"/>
                  <a:cs typeface="+mn-cs"/>
                </a:rPr>
                <a:t>or</a:t>
              </a:r>
              <a:r>
                <a:rPr kumimoji="0" lang="en-US" sz="825" b="1" i="0" u="none" strike="noStrike" kern="1200" cap="none" spc="0" normalizeH="0" baseline="0" noProof="0" dirty="0">
                  <a:ln>
                    <a:noFill/>
                  </a:ln>
                  <a:solidFill>
                    <a:srgbClr val="002050"/>
                  </a:solidFill>
                  <a:effectLst/>
                  <a:uLnTx/>
                  <a:uFillTx/>
                  <a:latin typeface="Segoe UI Semilight"/>
                  <a:ea typeface="+mn-ea"/>
                  <a:cs typeface="+mn-cs"/>
                </a:rPr>
                <a:t> VSTS can orchestrate other (3</a:t>
              </a:r>
              <a:r>
                <a:rPr kumimoji="0" lang="en-US" sz="825" b="1" i="0" u="none" strike="noStrike" kern="1200" cap="none" spc="0" normalizeH="0" baseline="30000" noProof="0" dirty="0">
                  <a:ln>
                    <a:noFill/>
                  </a:ln>
                  <a:solidFill>
                    <a:srgbClr val="002050"/>
                  </a:solidFill>
                  <a:effectLst/>
                  <a:uLnTx/>
                  <a:uFillTx/>
                  <a:latin typeface="Segoe UI Semilight"/>
                  <a:ea typeface="+mn-ea"/>
                  <a:cs typeface="+mn-cs"/>
                </a:rPr>
                <a:t>rd</a:t>
              </a:r>
              <a:r>
                <a:rPr kumimoji="0" lang="en-US" sz="825" b="1" i="0" u="none" strike="noStrike" kern="1200" cap="none" spc="0" normalizeH="0" baseline="0" noProof="0" dirty="0">
                  <a:ln>
                    <a:noFill/>
                  </a:ln>
                  <a:solidFill>
                    <a:srgbClr val="002050"/>
                  </a:solidFill>
                  <a:effectLst/>
                  <a:uLnTx/>
                  <a:uFillTx/>
                  <a:latin typeface="Segoe UI Semilight"/>
                  <a:ea typeface="+mn-ea"/>
                  <a:cs typeface="+mn-cs"/>
                </a:rPr>
                <a:t> party/OSS) tools.</a:t>
              </a:r>
              <a:endParaRPr kumimoji="0" lang="de-AT" sz="825" b="1" i="0" u="none" strike="noStrike" kern="1200" cap="none" spc="0" normalizeH="0" baseline="0" noProof="0" dirty="0">
                <a:ln>
                  <a:noFill/>
                </a:ln>
                <a:solidFill>
                  <a:srgbClr val="002050"/>
                </a:solidFill>
                <a:effectLst/>
                <a:uLnTx/>
                <a:uFillTx/>
                <a:latin typeface="Segoe UI Semilight"/>
                <a:ea typeface="+mn-ea"/>
                <a:cs typeface="+mn-cs"/>
              </a:endParaRPr>
            </a:p>
          </p:txBody>
        </p:sp>
        <p:pic>
          <p:nvPicPr>
            <p:cNvPr id="78" name="Picture 77" descr="Visual Studio Team Services">
              <a:extLst>
                <a:ext uri="{FF2B5EF4-FFF2-40B4-BE49-F238E27FC236}">
                  <a16:creationId xmlns:a16="http://schemas.microsoft.com/office/drawing/2014/main" id="{5B659F41-7CFE-4B24-B507-565F8F85AAE5}"/>
                </a:ext>
              </a:extLst>
            </p:cNvPr>
            <p:cNvPicPr>
              <a:picLocks noChangeAspect="1"/>
            </p:cNvPicPr>
            <p:nvPr/>
          </p:nvPicPr>
          <p:blipFill>
            <a:blip r:embed="rId39" cstate="print">
              <a:duotone>
                <a:prstClr val="black"/>
                <a:schemeClr val="accent3">
                  <a:tint val="45000"/>
                  <a:satMod val="400000"/>
                </a:schemeClr>
              </a:duotone>
              <a:extLst>
                <a:ext uri="{BEBA8EAE-BF5A-486C-A8C5-ECC9F3942E4B}">
                  <a14:imgProps xmlns:a14="http://schemas.microsoft.com/office/drawing/2010/main">
                    <a14:imgLayer r:embed="rId4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15618" y="2474298"/>
              <a:ext cx="357479" cy="357479"/>
            </a:xfrm>
            <a:prstGeom prst="rect">
              <a:avLst/>
            </a:prstGeom>
          </p:spPr>
        </p:pic>
      </p:grpSp>
    </p:spTree>
    <p:extLst>
      <p:ext uri="{BB962C8B-B14F-4D97-AF65-F5344CB8AC3E}">
        <p14:creationId xmlns:p14="http://schemas.microsoft.com/office/powerpoint/2010/main" val="294053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par>
                          <p:cTn id="23" fill="hold">
                            <p:stCondLst>
                              <p:cond delay="0"/>
                            </p:stCondLst>
                            <p:childTnLst>
                              <p:par>
                                <p:cTn id="24" presetID="10" presetClass="entr" presetSubtype="0" fill="hold"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10" presetClass="entr" presetSubtype="0" fill="hold"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par>
                                <p:cTn id="30" presetID="10" presetClass="entr" presetSubtype="0"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500"/>
                                        <p:tgtEl>
                                          <p:spTgt spid="20"/>
                                        </p:tgtEl>
                                      </p:cBhvr>
                                    </p:animEffect>
                                  </p:childTnLst>
                                </p:cTn>
                              </p:par>
                              <p:par>
                                <p:cTn id="37" presetID="10" presetClass="entr" presetSubtype="0" fill="hold" nodeType="with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par>
                                <p:cTn id="40" presetID="10" presetClass="entr" presetSubtype="0" fill="hold"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par>
                                <p:cTn id="43" presetID="10" presetClass="entr" presetSubtype="0" fill="hold" nodeType="with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nodeType="with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10" presetClass="entr" presetSubtype="0" fill="hold" nodeType="with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10" presetClass="entr" presetSubtype="0" fill="hold" nodeType="with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fade">
                                      <p:cBhvr>
                                        <p:cTn id="57" dur="500"/>
                                        <p:tgtEl>
                                          <p:spTgt spid="52"/>
                                        </p:tgtEl>
                                      </p:cBhvr>
                                    </p:animEffect>
                                  </p:childTnLst>
                                </p:cTn>
                              </p:par>
                            </p:childTnLst>
                          </p:cTn>
                        </p:par>
                        <p:par>
                          <p:cTn id="58" fill="hold">
                            <p:stCondLst>
                              <p:cond delay="1000"/>
                            </p:stCondLst>
                            <p:childTnLst>
                              <p:par>
                                <p:cTn id="59" presetID="10" presetClass="entr" presetSubtype="0" fill="hold" nodeType="after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childTnLst>
                          </p:cTn>
                        </p:par>
                        <p:par>
                          <p:cTn id="62" fill="hold">
                            <p:stCondLst>
                              <p:cond delay="1500"/>
                            </p:stCondLst>
                            <p:childTnLst>
                              <p:par>
                                <p:cTn id="63" presetID="10" presetClass="entr" presetSubtype="0" fill="hold" nodeType="after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500"/>
                                        <p:tgtEl>
                                          <p:spTgt spid="28"/>
                                        </p:tgtEl>
                                      </p:cBhvr>
                                    </p:animEffect>
                                  </p:childTnLst>
                                </p:cTn>
                              </p:par>
                              <p:par>
                                <p:cTn id="66" presetID="10" presetClass="entr" presetSubtype="0" fill="hold" nodeType="withEffect">
                                  <p:stCondLst>
                                    <p:cond delay="0"/>
                                  </p:stCondLst>
                                  <p:childTnLst>
                                    <p:set>
                                      <p:cBhvr>
                                        <p:cTn id="67" dur="1" fill="hold">
                                          <p:stCondLst>
                                            <p:cond delay="0"/>
                                          </p:stCondLst>
                                        </p:cTn>
                                        <p:tgtEl>
                                          <p:spTgt spid="27"/>
                                        </p:tgtEl>
                                        <p:attrNameLst>
                                          <p:attrName>style.visibility</p:attrName>
                                        </p:attrNameLst>
                                      </p:cBhvr>
                                      <p:to>
                                        <p:strVal val="visible"/>
                                      </p:to>
                                    </p:set>
                                    <p:animEffect transition="in" filter="fade">
                                      <p:cBhvr>
                                        <p:cTn id="68" dur="500"/>
                                        <p:tgtEl>
                                          <p:spTgt spid="27"/>
                                        </p:tgtEl>
                                      </p:cBhvr>
                                    </p:animEffect>
                                  </p:childTnLst>
                                </p:cTn>
                              </p:par>
                            </p:childTnLst>
                          </p:cTn>
                        </p:par>
                        <p:par>
                          <p:cTn id="69" fill="hold">
                            <p:stCondLst>
                              <p:cond delay="2000"/>
                            </p:stCondLst>
                            <p:childTnLst>
                              <p:par>
                                <p:cTn id="70" presetID="10" presetClass="entr" presetSubtype="0" fill="hold" nodeType="afterEffect">
                                  <p:stCondLst>
                                    <p:cond delay="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par>
                                <p:cTn id="73" presetID="10" presetClass="entr" presetSubtype="0" fill="hold"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500"/>
                                        <p:tgtEl>
                                          <p:spTgt spid="29"/>
                                        </p:tgtEl>
                                      </p:cBhvr>
                                    </p:animEffect>
                                  </p:childTnLst>
                                </p:cTn>
                              </p:par>
                              <p:par>
                                <p:cTn id="76" presetID="10" presetClass="entr" presetSubtype="0" fill="hold" nodeType="withEffect">
                                  <p:stCondLst>
                                    <p:cond delay="0"/>
                                  </p:stCondLst>
                                  <p:childTnLst>
                                    <p:set>
                                      <p:cBhvr>
                                        <p:cTn id="77" dur="1" fill="hold">
                                          <p:stCondLst>
                                            <p:cond delay="0"/>
                                          </p:stCondLst>
                                        </p:cTn>
                                        <p:tgtEl>
                                          <p:spTgt spid="30"/>
                                        </p:tgtEl>
                                        <p:attrNameLst>
                                          <p:attrName>style.visibility</p:attrName>
                                        </p:attrNameLst>
                                      </p:cBhvr>
                                      <p:to>
                                        <p:strVal val="visible"/>
                                      </p:to>
                                    </p:set>
                                    <p:animEffect transition="in" filter="fade">
                                      <p:cBhvr>
                                        <p:cTn id="78" dur="500"/>
                                        <p:tgtEl>
                                          <p:spTgt spid="30"/>
                                        </p:tgtEl>
                                      </p:cBhvr>
                                    </p:animEffect>
                                  </p:childTnLst>
                                </p:cTn>
                              </p:par>
                              <p:par>
                                <p:cTn id="79" presetID="10" presetClass="entr" presetSubtype="0" fill="hold" nodeType="withEffect">
                                  <p:stCondLst>
                                    <p:cond delay="0"/>
                                  </p:stCondLst>
                                  <p:childTnLst>
                                    <p:set>
                                      <p:cBhvr>
                                        <p:cTn id="80" dur="1" fill="hold">
                                          <p:stCondLst>
                                            <p:cond delay="0"/>
                                          </p:stCondLst>
                                        </p:cTn>
                                        <p:tgtEl>
                                          <p:spTgt spid="16"/>
                                        </p:tgtEl>
                                        <p:attrNameLst>
                                          <p:attrName>style.visibility</p:attrName>
                                        </p:attrNameLst>
                                      </p:cBhvr>
                                      <p:to>
                                        <p:strVal val="visible"/>
                                      </p:to>
                                    </p:set>
                                    <p:animEffect transition="in" filter="fade">
                                      <p:cBhvr>
                                        <p:cTn id="81" dur="500"/>
                                        <p:tgtEl>
                                          <p:spTgt spid="16"/>
                                        </p:tgtEl>
                                      </p:cBhvr>
                                    </p:animEffect>
                                  </p:childTnLst>
                                </p:cTn>
                              </p:par>
                            </p:childTnLst>
                          </p:cTn>
                        </p:par>
                        <p:par>
                          <p:cTn id="82" fill="hold">
                            <p:stCondLst>
                              <p:cond delay="2500"/>
                            </p:stCondLst>
                            <p:childTnLst>
                              <p:par>
                                <p:cTn id="83" presetID="10" presetClass="entr" presetSubtype="0" fill="hold" nodeType="after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500"/>
                                        <p:tgtEl>
                                          <p:spTgt spid="39"/>
                                        </p:tgtEl>
                                      </p:cBhvr>
                                    </p:animEffect>
                                  </p:childTnLst>
                                </p:cTn>
                              </p:par>
                              <p:par>
                                <p:cTn id="86" presetID="10" presetClass="entr" presetSubtype="0" fill="hold" nodeType="withEffect">
                                  <p:stCondLst>
                                    <p:cond delay="0"/>
                                  </p:stCondLst>
                                  <p:childTnLst>
                                    <p:set>
                                      <p:cBhvr>
                                        <p:cTn id="87" dur="1" fill="hold">
                                          <p:stCondLst>
                                            <p:cond delay="0"/>
                                          </p:stCondLst>
                                        </p:cTn>
                                        <p:tgtEl>
                                          <p:spTgt spid="41"/>
                                        </p:tgtEl>
                                        <p:attrNameLst>
                                          <p:attrName>style.visibility</p:attrName>
                                        </p:attrNameLst>
                                      </p:cBhvr>
                                      <p:to>
                                        <p:strVal val="visible"/>
                                      </p:to>
                                    </p:set>
                                    <p:animEffect transition="in" filter="fade">
                                      <p:cBhvr>
                                        <p:cTn id="88" dur="500"/>
                                        <p:tgtEl>
                                          <p:spTgt spid="41"/>
                                        </p:tgtEl>
                                      </p:cBhvr>
                                    </p:animEffect>
                                  </p:childTnLst>
                                </p:cTn>
                              </p:par>
                              <p:par>
                                <p:cTn id="89" presetID="1" presetClass="entr" presetSubtype="0" fill="hold" nodeType="withEffect">
                                  <p:stCondLst>
                                    <p:cond delay="0"/>
                                  </p:stCondLst>
                                  <p:childTnLst>
                                    <p:set>
                                      <p:cBhvr>
                                        <p:cTn id="90" dur="1" fill="hold">
                                          <p:stCondLst>
                                            <p:cond delay="0"/>
                                          </p:stCondLst>
                                        </p:cTn>
                                        <p:tgtEl>
                                          <p:spTgt spid="17"/>
                                        </p:tgtEl>
                                        <p:attrNameLst>
                                          <p:attrName>style.visibility</p:attrName>
                                        </p:attrNameLst>
                                      </p:cBhvr>
                                      <p:to>
                                        <p:strVal val="visible"/>
                                      </p:to>
                                    </p:set>
                                  </p:childTnLst>
                                </p:cTn>
                              </p:par>
                              <p:par>
                                <p:cTn id="91" presetID="10" presetClass="entr" presetSubtype="0" fill="hold" nodeType="withEffect">
                                  <p:stCondLst>
                                    <p:cond delay="0"/>
                                  </p:stCondLst>
                                  <p:childTnLst>
                                    <p:set>
                                      <p:cBhvr>
                                        <p:cTn id="92" dur="1" fill="hold">
                                          <p:stCondLst>
                                            <p:cond delay="0"/>
                                          </p:stCondLst>
                                        </p:cTn>
                                        <p:tgtEl>
                                          <p:spTgt spid="40"/>
                                        </p:tgtEl>
                                        <p:attrNameLst>
                                          <p:attrName>style.visibility</p:attrName>
                                        </p:attrNameLst>
                                      </p:cBhvr>
                                      <p:to>
                                        <p:strVal val="visible"/>
                                      </p:to>
                                    </p:set>
                                    <p:animEffect transition="in" filter="fade">
                                      <p:cBhvr>
                                        <p:cTn id="93" dur="500"/>
                                        <p:tgtEl>
                                          <p:spTgt spid="40"/>
                                        </p:tgtEl>
                                      </p:cBhvr>
                                    </p:animEffect>
                                  </p:childTnLst>
                                </p:cTn>
                              </p:par>
                            </p:childTnLst>
                          </p:cTn>
                        </p:par>
                        <p:par>
                          <p:cTn id="94" fill="hold">
                            <p:stCondLst>
                              <p:cond delay="3000"/>
                            </p:stCondLst>
                            <p:childTnLst>
                              <p:par>
                                <p:cTn id="95" presetID="10" presetClass="entr" presetSubtype="0" fill="hold" nodeType="afterEffect">
                                  <p:stCondLst>
                                    <p:cond delay="0"/>
                                  </p:stCondLst>
                                  <p:childTnLst>
                                    <p:set>
                                      <p:cBhvr>
                                        <p:cTn id="96" dur="1" fill="hold">
                                          <p:stCondLst>
                                            <p:cond delay="0"/>
                                          </p:stCondLst>
                                        </p:cTn>
                                        <p:tgtEl>
                                          <p:spTgt spid="42"/>
                                        </p:tgtEl>
                                        <p:attrNameLst>
                                          <p:attrName>style.visibility</p:attrName>
                                        </p:attrNameLst>
                                      </p:cBhvr>
                                      <p:to>
                                        <p:strVal val="visible"/>
                                      </p:to>
                                    </p:set>
                                    <p:animEffect transition="in" filter="fade">
                                      <p:cBhvr>
                                        <p:cTn id="97" dur="500"/>
                                        <p:tgtEl>
                                          <p:spTgt spid="42"/>
                                        </p:tgtEl>
                                      </p:cBhvr>
                                    </p:animEffect>
                                  </p:childTnLst>
                                </p:cTn>
                              </p:par>
                              <p:par>
                                <p:cTn id="98" presetID="10" presetClass="entr" presetSubtype="0" fill="hold" nodeType="withEffect">
                                  <p:stCondLst>
                                    <p:cond delay="0"/>
                                  </p:stCondLst>
                                  <p:childTnLst>
                                    <p:set>
                                      <p:cBhvr>
                                        <p:cTn id="99" dur="1" fill="hold">
                                          <p:stCondLst>
                                            <p:cond delay="0"/>
                                          </p:stCondLst>
                                        </p:cTn>
                                        <p:tgtEl>
                                          <p:spTgt spid="18"/>
                                        </p:tgtEl>
                                        <p:attrNameLst>
                                          <p:attrName>style.visibility</p:attrName>
                                        </p:attrNameLst>
                                      </p:cBhvr>
                                      <p:to>
                                        <p:strVal val="visible"/>
                                      </p:to>
                                    </p:set>
                                    <p:animEffect transition="in" filter="fade">
                                      <p:cBhvr>
                                        <p:cTn id="100" dur="500"/>
                                        <p:tgtEl>
                                          <p:spTgt spid="18"/>
                                        </p:tgtEl>
                                      </p:cBhvr>
                                    </p:animEffect>
                                  </p:childTnLst>
                                </p:cTn>
                              </p:par>
                              <p:par>
                                <p:cTn id="101" presetID="10" presetClass="entr" presetSubtype="0" fill="hold" nodeType="withEffect">
                                  <p:stCondLst>
                                    <p:cond delay="0"/>
                                  </p:stCondLst>
                                  <p:childTnLst>
                                    <p:set>
                                      <p:cBhvr>
                                        <p:cTn id="102" dur="1" fill="hold">
                                          <p:stCondLst>
                                            <p:cond delay="0"/>
                                          </p:stCondLst>
                                        </p:cTn>
                                        <p:tgtEl>
                                          <p:spTgt spid="44"/>
                                        </p:tgtEl>
                                        <p:attrNameLst>
                                          <p:attrName>style.visibility</p:attrName>
                                        </p:attrNameLst>
                                      </p:cBhvr>
                                      <p:to>
                                        <p:strVal val="visible"/>
                                      </p:to>
                                    </p:set>
                                    <p:animEffect transition="in" filter="fade">
                                      <p:cBhvr>
                                        <p:cTn id="103" dur="500"/>
                                        <p:tgtEl>
                                          <p:spTgt spid="44"/>
                                        </p:tgtEl>
                                      </p:cBhvr>
                                    </p:animEffect>
                                  </p:childTnLst>
                                </p:cTn>
                              </p:par>
                              <p:par>
                                <p:cTn id="104" presetID="10" presetClass="entr" presetSubtype="0" fill="hold" nodeType="withEffect">
                                  <p:stCondLst>
                                    <p:cond delay="0"/>
                                  </p:stCondLst>
                                  <p:childTnLst>
                                    <p:set>
                                      <p:cBhvr>
                                        <p:cTn id="105" dur="1" fill="hold">
                                          <p:stCondLst>
                                            <p:cond delay="0"/>
                                          </p:stCondLst>
                                        </p:cTn>
                                        <p:tgtEl>
                                          <p:spTgt spid="66"/>
                                        </p:tgtEl>
                                        <p:attrNameLst>
                                          <p:attrName>style.visibility</p:attrName>
                                        </p:attrNameLst>
                                      </p:cBhvr>
                                      <p:to>
                                        <p:strVal val="visible"/>
                                      </p:to>
                                    </p:set>
                                    <p:animEffect transition="in" filter="fade">
                                      <p:cBhvr>
                                        <p:cTn id="106" dur="500"/>
                                        <p:tgtEl>
                                          <p:spTgt spid="66"/>
                                        </p:tgtEl>
                                      </p:cBhvr>
                                    </p:animEffect>
                                  </p:childTnLst>
                                </p:cTn>
                              </p:par>
                              <p:par>
                                <p:cTn id="107" presetID="10" presetClass="entr" presetSubtype="0" fill="hold" nodeType="withEffect">
                                  <p:stCondLst>
                                    <p:cond delay="0"/>
                                  </p:stCondLst>
                                  <p:childTnLst>
                                    <p:set>
                                      <p:cBhvr>
                                        <p:cTn id="108" dur="1" fill="hold">
                                          <p:stCondLst>
                                            <p:cond delay="0"/>
                                          </p:stCondLst>
                                        </p:cTn>
                                        <p:tgtEl>
                                          <p:spTgt spid="45"/>
                                        </p:tgtEl>
                                        <p:attrNameLst>
                                          <p:attrName>style.visibility</p:attrName>
                                        </p:attrNameLst>
                                      </p:cBhvr>
                                      <p:to>
                                        <p:strVal val="visible"/>
                                      </p:to>
                                    </p:set>
                                    <p:animEffect transition="in" filter="fade">
                                      <p:cBhvr>
                                        <p:cTn id="109" dur="500"/>
                                        <p:tgtEl>
                                          <p:spTgt spid="45"/>
                                        </p:tgtEl>
                                      </p:cBhvr>
                                    </p:animEffect>
                                  </p:childTnLst>
                                </p:cTn>
                              </p:par>
                              <p:par>
                                <p:cTn id="110" presetID="10" presetClass="entr" presetSubtype="0" fill="hold" nodeType="withEffect">
                                  <p:stCondLst>
                                    <p:cond delay="0"/>
                                  </p:stCondLst>
                                  <p:childTnLst>
                                    <p:set>
                                      <p:cBhvr>
                                        <p:cTn id="111" dur="1" fill="hold">
                                          <p:stCondLst>
                                            <p:cond delay="0"/>
                                          </p:stCondLst>
                                        </p:cTn>
                                        <p:tgtEl>
                                          <p:spTgt spid="48"/>
                                        </p:tgtEl>
                                        <p:attrNameLst>
                                          <p:attrName>style.visibility</p:attrName>
                                        </p:attrNameLst>
                                      </p:cBhvr>
                                      <p:to>
                                        <p:strVal val="visible"/>
                                      </p:to>
                                    </p:set>
                                    <p:animEffect transition="in" filter="fade">
                                      <p:cBhvr>
                                        <p:cTn id="112" dur="500"/>
                                        <p:tgtEl>
                                          <p:spTgt spid="48"/>
                                        </p:tgtEl>
                                      </p:cBhvr>
                                    </p:animEffect>
                                  </p:childTnLst>
                                </p:cTn>
                              </p:par>
                              <p:par>
                                <p:cTn id="113" presetID="10" presetClass="entr" presetSubtype="0" fill="hold" nodeType="withEffect">
                                  <p:stCondLst>
                                    <p:cond delay="0"/>
                                  </p:stCondLst>
                                  <p:childTnLst>
                                    <p:set>
                                      <p:cBhvr>
                                        <p:cTn id="114" dur="1" fill="hold">
                                          <p:stCondLst>
                                            <p:cond delay="0"/>
                                          </p:stCondLst>
                                        </p:cTn>
                                        <p:tgtEl>
                                          <p:spTgt spid="49"/>
                                        </p:tgtEl>
                                        <p:attrNameLst>
                                          <p:attrName>style.visibility</p:attrName>
                                        </p:attrNameLst>
                                      </p:cBhvr>
                                      <p:to>
                                        <p:strVal val="visible"/>
                                      </p:to>
                                    </p:set>
                                    <p:animEffect transition="in" filter="fade">
                                      <p:cBhvr>
                                        <p:cTn id="115" dur="500"/>
                                        <p:tgtEl>
                                          <p:spTgt spid="49"/>
                                        </p:tgtEl>
                                      </p:cBhvr>
                                    </p:animEffect>
                                  </p:childTnLst>
                                </p:cTn>
                              </p:par>
                              <p:par>
                                <p:cTn id="116" presetID="10" presetClass="entr" presetSubtype="0" fill="hold" nodeType="withEffect">
                                  <p:stCondLst>
                                    <p:cond delay="0"/>
                                  </p:stCondLst>
                                  <p:childTnLst>
                                    <p:set>
                                      <p:cBhvr>
                                        <p:cTn id="117" dur="1" fill="hold">
                                          <p:stCondLst>
                                            <p:cond delay="0"/>
                                          </p:stCondLst>
                                        </p:cTn>
                                        <p:tgtEl>
                                          <p:spTgt spid="46"/>
                                        </p:tgtEl>
                                        <p:attrNameLst>
                                          <p:attrName>style.visibility</p:attrName>
                                        </p:attrNameLst>
                                      </p:cBhvr>
                                      <p:to>
                                        <p:strVal val="visible"/>
                                      </p:to>
                                    </p:set>
                                    <p:animEffect transition="in" filter="fade">
                                      <p:cBhvr>
                                        <p:cTn id="118" dur="500"/>
                                        <p:tgtEl>
                                          <p:spTgt spid="46"/>
                                        </p:tgtEl>
                                      </p:cBhvr>
                                    </p:animEffect>
                                  </p:childTnLst>
                                </p:cTn>
                              </p:par>
                              <p:par>
                                <p:cTn id="119" presetID="10" presetClass="entr" presetSubtype="0" fill="hold" nodeType="withEffect">
                                  <p:stCondLst>
                                    <p:cond delay="0"/>
                                  </p:stCondLst>
                                  <p:childTnLst>
                                    <p:set>
                                      <p:cBhvr>
                                        <p:cTn id="120" dur="1" fill="hold">
                                          <p:stCondLst>
                                            <p:cond delay="0"/>
                                          </p:stCondLst>
                                        </p:cTn>
                                        <p:tgtEl>
                                          <p:spTgt spid="47"/>
                                        </p:tgtEl>
                                        <p:attrNameLst>
                                          <p:attrName>style.visibility</p:attrName>
                                        </p:attrNameLst>
                                      </p:cBhvr>
                                      <p:to>
                                        <p:strVal val="visible"/>
                                      </p:to>
                                    </p:set>
                                    <p:animEffect transition="in" filter="fade">
                                      <p:cBhvr>
                                        <p:cTn id="121" dur="500"/>
                                        <p:tgtEl>
                                          <p:spTgt spid="47"/>
                                        </p:tgtEl>
                                      </p:cBhvr>
                                    </p:animEffect>
                                  </p:childTnLst>
                                </p:cTn>
                              </p:par>
                              <p:par>
                                <p:cTn id="122" presetID="10" presetClass="entr" presetSubtype="0" fill="hold" nodeType="withEffect">
                                  <p:stCondLst>
                                    <p:cond delay="0"/>
                                  </p:stCondLst>
                                  <p:childTnLst>
                                    <p:set>
                                      <p:cBhvr>
                                        <p:cTn id="123" dur="1" fill="hold">
                                          <p:stCondLst>
                                            <p:cond delay="0"/>
                                          </p:stCondLst>
                                        </p:cTn>
                                        <p:tgtEl>
                                          <p:spTgt spid="4"/>
                                        </p:tgtEl>
                                        <p:attrNameLst>
                                          <p:attrName>style.visibility</p:attrName>
                                        </p:attrNameLst>
                                      </p:cBhvr>
                                      <p:to>
                                        <p:strVal val="visible"/>
                                      </p:to>
                                    </p:set>
                                    <p:animEffect transition="in" filter="fade">
                                      <p:cBhvr>
                                        <p:cTn id="124" dur="500"/>
                                        <p:tgtEl>
                                          <p:spTgt spid="4"/>
                                        </p:tgtEl>
                                      </p:cBhvr>
                                    </p:animEffect>
                                  </p:childTnLst>
                                </p:cTn>
                              </p:par>
                            </p:childTnLst>
                          </p:cTn>
                        </p:par>
                        <p:par>
                          <p:cTn id="125" fill="hold">
                            <p:stCondLst>
                              <p:cond delay="3500"/>
                            </p:stCondLst>
                            <p:childTnLst>
                              <p:par>
                                <p:cTn id="126" presetID="10" presetClass="entr" presetSubtype="0" fill="hold" nodeType="afterEffect">
                                  <p:stCondLst>
                                    <p:cond delay="0"/>
                                  </p:stCondLst>
                                  <p:childTnLst>
                                    <p:set>
                                      <p:cBhvr>
                                        <p:cTn id="127" dur="1" fill="hold">
                                          <p:stCondLst>
                                            <p:cond delay="0"/>
                                          </p:stCondLst>
                                        </p:cTn>
                                        <p:tgtEl>
                                          <p:spTgt spid="60"/>
                                        </p:tgtEl>
                                        <p:attrNameLst>
                                          <p:attrName>style.visibility</p:attrName>
                                        </p:attrNameLst>
                                      </p:cBhvr>
                                      <p:to>
                                        <p:strVal val="visible"/>
                                      </p:to>
                                    </p:set>
                                    <p:animEffect transition="in" filter="fade">
                                      <p:cBhvr>
                                        <p:cTn id="128" dur="500"/>
                                        <p:tgtEl>
                                          <p:spTgt spid="60"/>
                                        </p:tgtEl>
                                      </p:cBhvr>
                                    </p:animEffect>
                                  </p:childTnLst>
                                </p:cTn>
                              </p:par>
                              <p:par>
                                <p:cTn id="129" presetID="10" presetClass="entr" presetSubtype="0" fill="hold" nodeType="withEffect">
                                  <p:stCondLst>
                                    <p:cond delay="0"/>
                                  </p:stCondLst>
                                  <p:childTnLst>
                                    <p:set>
                                      <p:cBhvr>
                                        <p:cTn id="130" dur="1" fill="hold">
                                          <p:stCondLst>
                                            <p:cond delay="0"/>
                                          </p:stCondLst>
                                        </p:cTn>
                                        <p:tgtEl>
                                          <p:spTgt spid="59"/>
                                        </p:tgtEl>
                                        <p:attrNameLst>
                                          <p:attrName>style.visibility</p:attrName>
                                        </p:attrNameLst>
                                      </p:cBhvr>
                                      <p:to>
                                        <p:strVal val="visible"/>
                                      </p:to>
                                    </p:set>
                                    <p:animEffect transition="in" filter="fade">
                                      <p:cBhvr>
                                        <p:cTn id="131" dur="500"/>
                                        <p:tgtEl>
                                          <p:spTgt spid="59"/>
                                        </p:tgtEl>
                                      </p:cBhvr>
                                    </p:animEffect>
                                  </p:childTnLst>
                                </p:cTn>
                              </p:par>
                              <p:par>
                                <p:cTn id="132" presetID="10" presetClass="entr" presetSubtype="0" fill="hold" nodeType="withEffect">
                                  <p:stCondLst>
                                    <p:cond delay="0"/>
                                  </p:stCondLst>
                                  <p:childTnLst>
                                    <p:set>
                                      <p:cBhvr>
                                        <p:cTn id="133" dur="1" fill="hold">
                                          <p:stCondLst>
                                            <p:cond delay="0"/>
                                          </p:stCondLst>
                                        </p:cTn>
                                        <p:tgtEl>
                                          <p:spTgt spid="58"/>
                                        </p:tgtEl>
                                        <p:attrNameLst>
                                          <p:attrName>style.visibility</p:attrName>
                                        </p:attrNameLst>
                                      </p:cBhvr>
                                      <p:to>
                                        <p:strVal val="visible"/>
                                      </p:to>
                                    </p:set>
                                    <p:animEffect transition="in" filter="fade">
                                      <p:cBhvr>
                                        <p:cTn id="134" dur="500"/>
                                        <p:tgtEl>
                                          <p:spTgt spid="58"/>
                                        </p:tgtEl>
                                      </p:cBhvr>
                                    </p:animEffect>
                                  </p:childTnLst>
                                </p:cTn>
                              </p:par>
                              <p:par>
                                <p:cTn id="135" presetID="10" presetClass="entr" presetSubtype="0" fill="hold" nodeType="withEffect">
                                  <p:stCondLst>
                                    <p:cond delay="0"/>
                                  </p:stCondLst>
                                  <p:childTnLst>
                                    <p:set>
                                      <p:cBhvr>
                                        <p:cTn id="136" dur="1" fill="hold">
                                          <p:stCondLst>
                                            <p:cond delay="0"/>
                                          </p:stCondLst>
                                        </p:cTn>
                                        <p:tgtEl>
                                          <p:spTgt spid="5"/>
                                        </p:tgtEl>
                                        <p:attrNameLst>
                                          <p:attrName>style.visibility</p:attrName>
                                        </p:attrNameLst>
                                      </p:cBhvr>
                                      <p:to>
                                        <p:strVal val="visible"/>
                                      </p:to>
                                    </p:set>
                                    <p:animEffect transition="in" filter="fade">
                                      <p:cBhvr>
                                        <p:cTn id="137" dur="500"/>
                                        <p:tgtEl>
                                          <p:spTgt spid="5"/>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nodeType="clickEffect">
                                  <p:stCondLst>
                                    <p:cond delay="0"/>
                                  </p:stCondLst>
                                  <p:childTnLst>
                                    <p:set>
                                      <p:cBhvr>
                                        <p:cTn id="141" dur="1" fill="hold">
                                          <p:stCondLst>
                                            <p:cond delay="0"/>
                                          </p:stCondLst>
                                        </p:cTn>
                                        <p:tgtEl>
                                          <p:spTgt spid="14"/>
                                        </p:tgtEl>
                                        <p:attrNameLst>
                                          <p:attrName>style.visibility</p:attrName>
                                        </p:attrNameLst>
                                      </p:cBhvr>
                                      <p:to>
                                        <p:strVal val="visible"/>
                                      </p:to>
                                    </p:set>
                                    <p:animEffect transition="in" filter="fade">
                                      <p:cBhvr>
                                        <p:cTn id="142" dur="500"/>
                                        <p:tgtEl>
                                          <p:spTgt spid="14"/>
                                        </p:tgtEl>
                                      </p:cBhvr>
                                    </p:animEffect>
                                  </p:childTnLst>
                                </p:cTn>
                              </p:par>
                            </p:childTnLst>
                          </p:cTn>
                        </p:par>
                      </p:childTnLst>
                    </p:cTn>
                  </p:par>
                  <p:par>
                    <p:cTn id="143" fill="hold">
                      <p:stCondLst>
                        <p:cond delay="indefinite"/>
                      </p:stCondLst>
                      <p:childTnLst>
                        <p:par>
                          <p:cTn id="144" fill="hold">
                            <p:stCondLst>
                              <p:cond delay="0"/>
                            </p:stCondLst>
                            <p:childTnLst>
                              <p:par>
                                <p:cTn id="145" presetID="53" presetClass="entr" presetSubtype="16" fill="hold" grpId="0" nodeType="clickEffect">
                                  <p:stCondLst>
                                    <p:cond delay="0"/>
                                  </p:stCondLst>
                                  <p:childTnLst>
                                    <p:set>
                                      <p:cBhvr>
                                        <p:cTn id="146" dur="1" fill="hold">
                                          <p:stCondLst>
                                            <p:cond delay="0"/>
                                          </p:stCondLst>
                                        </p:cTn>
                                        <p:tgtEl>
                                          <p:spTgt spid="69"/>
                                        </p:tgtEl>
                                        <p:attrNameLst>
                                          <p:attrName>style.visibility</p:attrName>
                                        </p:attrNameLst>
                                      </p:cBhvr>
                                      <p:to>
                                        <p:strVal val="visible"/>
                                      </p:to>
                                    </p:set>
                                    <p:anim calcmode="lin" valueType="num">
                                      <p:cBhvr>
                                        <p:cTn id="147" dur="500" fill="hold"/>
                                        <p:tgtEl>
                                          <p:spTgt spid="69"/>
                                        </p:tgtEl>
                                        <p:attrNameLst>
                                          <p:attrName>ppt_w</p:attrName>
                                        </p:attrNameLst>
                                      </p:cBhvr>
                                      <p:tavLst>
                                        <p:tav tm="0">
                                          <p:val>
                                            <p:fltVal val="0"/>
                                          </p:val>
                                        </p:tav>
                                        <p:tav tm="100000">
                                          <p:val>
                                            <p:strVal val="#ppt_w"/>
                                          </p:val>
                                        </p:tav>
                                      </p:tavLst>
                                    </p:anim>
                                    <p:anim calcmode="lin" valueType="num">
                                      <p:cBhvr>
                                        <p:cTn id="148" dur="500" fill="hold"/>
                                        <p:tgtEl>
                                          <p:spTgt spid="69"/>
                                        </p:tgtEl>
                                        <p:attrNameLst>
                                          <p:attrName>ppt_h</p:attrName>
                                        </p:attrNameLst>
                                      </p:cBhvr>
                                      <p:tavLst>
                                        <p:tav tm="0">
                                          <p:val>
                                            <p:fltVal val="0"/>
                                          </p:val>
                                        </p:tav>
                                        <p:tav tm="100000">
                                          <p:val>
                                            <p:strVal val="#ppt_h"/>
                                          </p:val>
                                        </p:tav>
                                      </p:tavLst>
                                    </p:anim>
                                    <p:animEffect transition="in" filter="fade">
                                      <p:cBhvr>
                                        <p:cTn id="149" dur="500"/>
                                        <p:tgtEl>
                                          <p:spTgt spid="69"/>
                                        </p:tgtEl>
                                      </p:cBhvr>
                                    </p:animEffect>
                                  </p:childTnLst>
                                </p:cTn>
                              </p:par>
                            </p:childTnLst>
                          </p:cTn>
                        </p:par>
                        <p:par>
                          <p:cTn id="150" fill="hold">
                            <p:stCondLst>
                              <p:cond delay="500"/>
                            </p:stCondLst>
                            <p:childTnLst>
                              <p:par>
                                <p:cTn id="151" presetID="1" presetClass="entr" presetSubtype="0" fill="hold" nodeType="afterEffect">
                                  <p:stCondLst>
                                    <p:cond delay="0"/>
                                  </p:stCondLst>
                                  <p:childTnLst>
                                    <p:set>
                                      <p:cBhvr>
                                        <p:cTn id="152" dur="1" fill="hold">
                                          <p:stCondLst>
                                            <p:cond delay="0"/>
                                          </p:stCondLst>
                                        </p:cTn>
                                        <p:tgtEl>
                                          <p:spTgt spid="19"/>
                                        </p:tgtEl>
                                        <p:attrNameLst>
                                          <p:attrName>style.visibility</p:attrName>
                                        </p:attrNameLst>
                                      </p:cBhvr>
                                      <p:to>
                                        <p:strVal val="visible"/>
                                      </p:to>
                                    </p:set>
                                  </p:childTnLst>
                                </p:cTn>
                              </p:par>
                            </p:childTnLst>
                          </p:cTn>
                        </p:par>
                      </p:childTnLst>
                    </p:cTn>
                  </p:par>
                  <p:par>
                    <p:cTn id="153" fill="hold">
                      <p:stCondLst>
                        <p:cond delay="indefinite"/>
                      </p:stCondLst>
                      <p:childTnLst>
                        <p:par>
                          <p:cTn id="154" fill="hold">
                            <p:stCondLst>
                              <p:cond delay="0"/>
                            </p:stCondLst>
                            <p:childTnLst>
                              <p:par>
                                <p:cTn id="155" presetID="53" presetClass="entr" presetSubtype="16" fill="hold" nodeType="clickEffect">
                                  <p:stCondLst>
                                    <p:cond delay="0"/>
                                  </p:stCondLst>
                                  <p:childTnLst>
                                    <p:set>
                                      <p:cBhvr>
                                        <p:cTn id="156" dur="1" fill="hold">
                                          <p:stCondLst>
                                            <p:cond delay="0"/>
                                          </p:stCondLst>
                                        </p:cTn>
                                        <p:tgtEl>
                                          <p:spTgt spid="33"/>
                                        </p:tgtEl>
                                        <p:attrNameLst>
                                          <p:attrName>style.visibility</p:attrName>
                                        </p:attrNameLst>
                                      </p:cBhvr>
                                      <p:to>
                                        <p:strVal val="visible"/>
                                      </p:to>
                                    </p:set>
                                    <p:anim calcmode="lin" valueType="num">
                                      <p:cBhvr>
                                        <p:cTn id="157" dur="500" fill="hold"/>
                                        <p:tgtEl>
                                          <p:spTgt spid="33"/>
                                        </p:tgtEl>
                                        <p:attrNameLst>
                                          <p:attrName>ppt_w</p:attrName>
                                        </p:attrNameLst>
                                      </p:cBhvr>
                                      <p:tavLst>
                                        <p:tav tm="0">
                                          <p:val>
                                            <p:fltVal val="0"/>
                                          </p:val>
                                        </p:tav>
                                        <p:tav tm="100000">
                                          <p:val>
                                            <p:strVal val="#ppt_w"/>
                                          </p:val>
                                        </p:tav>
                                      </p:tavLst>
                                    </p:anim>
                                    <p:anim calcmode="lin" valueType="num">
                                      <p:cBhvr>
                                        <p:cTn id="158" dur="500" fill="hold"/>
                                        <p:tgtEl>
                                          <p:spTgt spid="33"/>
                                        </p:tgtEl>
                                        <p:attrNameLst>
                                          <p:attrName>ppt_h</p:attrName>
                                        </p:attrNameLst>
                                      </p:cBhvr>
                                      <p:tavLst>
                                        <p:tav tm="0">
                                          <p:val>
                                            <p:fltVal val="0"/>
                                          </p:val>
                                        </p:tav>
                                        <p:tav tm="100000">
                                          <p:val>
                                            <p:strVal val="#ppt_h"/>
                                          </p:val>
                                        </p:tav>
                                      </p:tavLst>
                                    </p:anim>
                                    <p:animEffect transition="in" filter="fade">
                                      <p:cBhvr>
                                        <p:cTn id="15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9"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Rectangle 161"/>
          <p:cNvSpPr/>
          <p:nvPr/>
        </p:nvSpPr>
        <p:spPr>
          <a:xfrm>
            <a:off x="4636175" y="3282"/>
            <a:ext cx="2194393" cy="5142771"/>
          </a:xfrm>
          <a:prstGeom prst="rect">
            <a:avLst/>
          </a:prstGeom>
          <a:solidFill>
            <a:srgbClr val="682A7A"/>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95" name="Picture 294"/>
          <p:cNvPicPr>
            <a:picLocks noChangeAspect="1"/>
          </p:cNvPicPr>
          <p:nvPr/>
        </p:nvPicPr>
        <p:blipFill>
          <a:blip r:embed="rId2"/>
          <a:stretch>
            <a:fillRect/>
          </a:stretch>
        </p:blipFill>
        <p:spPr>
          <a:xfrm>
            <a:off x="4712010" y="4377222"/>
            <a:ext cx="812441" cy="502393"/>
          </a:xfrm>
          <a:prstGeom prst="rect">
            <a:avLst/>
          </a:prstGeom>
        </p:spPr>
      </p:pic>
      <p:sp>
        <p:nvSpPr>
          <p:cNvPr id="152" name="Rectangle 151"/>
          <p:cNvSpPr/>
          <p:nvPr/>
        </p:nvSpPr>
        <p:spPr>
          <a:xfrm>
            <a:off x="2312994" y="3282"/>
            <a:ext cx="2194393" cy="5142771"/>
          </a:xfrm>
          <a:prstGeom prst="rect">
            <a:avLst/>
          </a:prstGeom>
          <a:solidFill>
            <a:srgbClr val="7030A0"/>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53" name="Picture 152"/>
          <p:cNvPicPr>
            <a:picLocks noChangeAspect="1"/>
          </p:cNvPicPr>
          <p:nvPr/>
        </p:nvPicPr>
        <p:blipFill rotWithShape="1">
          <a:blip r:embed="rId2"/>
          <a:srcRect r="66202"/>
          <a:stretch/>
        </p:blipFill>
        <p:spPr>
          <a:xfrm>
            <a:off x="2392505" y="4389909"/>
            <a:ext cx="274592" cy="502393"/>
          </a:xfrm>
          <a:prstGeom prst="rect">
            <a:avLst/>
          </a:prstGeom>
        </p:spPr>
      </p:pic>
      <p:sp>
        <p:nvSpPr>
          <p:cNvPr id="155" name="Rectangle 154"/>
          <p:cNvSpPr/>
          <p:nvPr/>
        </p:nvSpPr>
        <p:spPr>
          <a:xfrm>
            <a:off x="2" y="3282"/>
            <a:ext cx="2203701" cy="5142771"/>
          </a:xfrm>
          <a:prstGeom prst="rect">
            <a:avLst/>
          </a:prstGeom>
          <a:solidFill>
            <a:srgbClr val="7549A7"/>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7" name="Rectangle 156"/>
          <p:cNvSpPr/>
          <p:nvPr/>
        </p:nvSpPr>
        <p:spPr>
          <a:xfrm>
            <a:off x="6949608" y="3282"/>
            <a:ext cx="2194393" cy="5142771"/>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8" name="Rectangle 157"/>
          <p:cNvSpPr/>
          <p:nvPr/>
        </p:nvSpPr>
        <p:spPr>
          <a:xfrm>
            <a:off x="7704549" y="2355711"/>
            <a:ext cx="1439451" cy="2303123"/>
          </a:xfrm>
          <a:prstGeom prst="rect">
            <a:avLst/>
          </a:prstGeom>
          <a:solidFill>
            <a:srgbClr val="4B2A6E"/>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9" name="Freeform 6"/>
          <p:cNvSpPr>
            <a:spLocks/>
          </p:cNvSpPr>
          <p:nvPr/>
        </p:nvSpPr>
        <p:spPr bwMode="auto">
          <a:xfrm>
            <a:off x="8202481" y="4389909"/>
            <a:ext cx="861466" cy="566925"/>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FFFFFF">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441"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0" name="Rectangle 159"/>
          <p:cNvSpPr/>
          <p:nvPr/>
        </p:nvSpPr>
        <p:spPr>
          <a:xfrm>
            <a:off x="764251" y="1683398"/>
            <a:ext cx="1439451" cy="2370354"/>
          </a:xfrm>
          <a:prstGeom prst="rect">
            <a:avLst/>
          </a:prstGeom>
          <a:solidFill>
            <a:schemeClr val="accent1">
              <a:lumMod val="50000"/>
              <a:alpha val="60000"/>
            </a:schemeClr>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3" name="Rectangle 162"/>
          <p:cNvSpPr/>
          <p:nvPr/>
        </p:nvSpPr>
        <p:spPr>
          <a:xfrm rot="18900000">
            <a:off x="6151057" y="249444"/>
            <a:ext cx="765933" cy="765933"/>
          </a:xfrm>
          <a:prstGeom prst="rect">
            <a:avLst/>
          </a:prstGeom>
          <a:solidFill>
            <a:srgbClr val="682A7A"/>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4" name="Rectangle 163"/>
          <p:cNvSpPr/>
          <p:nvPr/>
        </p:nvSpPr>
        <p:spPr>
          <a:xfrm rot="18900000">
            <a:off x="3855195" y="249444"/>
            <a:ext cx="765933" cy="765933"/>
          </a:xfrm>
          <a:prstGeom prst="rect">
            <a:avLst/>
          </a:prstGeom>
          <a:solidFill>
            <a:srgbClr val="7030A0"/>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8" name="TextBox 167"/>
          <p:cNvSpPr txBox="1"/>
          <p:nvPr/>
        </p:nvSpPr>
        <p:spPr>
          <a:xfrm rot="16200000">
            <a:off x="-104793" y="2245955"/>
            <a:ext cx="1439792" cy="318677"/>
          </a:xfrm>
          <a:prstGeom prst="rect">
            <a:avLst/>
          </a:prstGeom>
          <a:noFill/>
        </p:spPr>
        <p:txBody>
          <a:bodyPr wrap="square" rtlCol="0">
            <a:spAutoFit/>
          </a:bodyPr>
          <a:lstStyle/>
          <a:p>
            <a:pPr marL="0" marR="0" lvl="0" indent="0" algn="r" defTabSz="672358" rtl="0" eaLnBrk="1" fontAlgn="auto" latinLnBrk="0" hangingPunct="1">
              <a:lnSpc>
                <a:spcPct val="100000"/>
              </a:lnSpc>
              <a:spcBef>
                <a:spcPts val="0"/>
              </a:spcBef>
              <a:spcAft>
                <a:spcPts val="0"/>
              </a:spcAft>
              <a:buClrTx/>
              <a:buSzTx/>
              <a:buFontTx/>
              <a:buNone/>
              <a:tabLst/>
              <a:defRPr/>
            </a:pPr>
            <a:r>
              <a:rPr kumimoji="0" lang="en-US" sz="1471" b="0" i="0" u="none" strike="noStrike" kern="1200" cap="none" spc="37"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velop</a:t>
            </a:r>
          </a:p>
        </p:txBody>
      </p:sp>
      <p:sp>
        <p:nvSpPr>
          <p:cNvPr id="169" name="Rectangle 4"/>
          <p:cNvSpPr/>
          <p:nvPr/>
        </p:nvSpPr>
        <p:spPr bwMode="gray">
          <a:xfrm>
            <a:off x="764250" y="1683399"/>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chemeClr val="tx2">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Developer IDE</a:t>
            </a:r>
          </a:p>
        </p:txBody>
      </p:sp>
      <p:sp>
        <p:nvSpPr>
          <p:cNvPr id="170" name="Rectangle 4"/>
          <p:cNvSpPr/>
          <p:nvPr/>
        </p:nvSpPr>
        <p:spPr bwMode="gray">
          <a:xfrm>
            <a:off x="764250" y="2851884"/>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chemeClr val="tx2">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Team Collaboration</a:t>
            </a:r>
          </a:p>
        </p:txBody>
      </p:sp>
      <p:sp>
        <p:nvSpPr>
          <p:cNvPr id="173" name="Rectangle 172"/>
          <p:cNvSpPr/>
          <p:nvPr/>
        </p:nvSpPr>
        <p:spPr>
          <a:xfrm>
            <a:off x="3059283" y="1885092"/>
            <a:ext cx="1439451" cy="2370354"/>
          </a:xfrm>
          <a:prstGeom prst="rect">
            <a:avLst/>
          </a:prstGeom>
          <a:solidFill>
            <a:srgbClr val="4B2A6E"/>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4" name="TextBox 173"/>
          <p:cNvSpPr txBox="1"/>
          <p:nvPr/>
        </p:nvSpPr>
        <p:spPr>
          <a:xfrm rot="16200000">
            <a:off x="2211137" y="2450904"/>
            <a:ext cx="1439792" cy="318677"/>
          </a:xfrm>
          <a:prstGeom prst="rect">
            <a:avLst/>
          </a:prstGeom>
          <a:noFill/>
        </p:spPr>
        <p:txBody>
          <a:bodyPr wrap="square" rtlCol="0">
            <a:spAutoFit/>
          </a:bodyPr>
          <a:lstStyle/>
          <a:p>
            <a:pPr marL="0" marR="0" lvl="0" indent="0" algn="r" defTabSz="672358" rtl="0" eaLnBrk="1" fontAlgn="auto" latinLnBrk="0" hangingPunct="1">
              <a:lnSpc>
                <a:spcPct val="100000"/>
              </a:lnSpc>
              <a:spcBef>
                <a:spcPts val="0"/>
              </a:spcBef>
              <a:spcAft>
                <a:spcPts val="0"/>
              </a:spcAft>
              <a:buClrTx/>
              <a:buSzTx/>
              <a:buFontTx/>
              <a:buNone/>
              <a:tabLst/>
              <a:defRPr/>
            </a:pPr>
            <a:r>
              <a:rPr kumimoji="0" lang="en-US" sz="1471" b="0" i="0" u="none" strike="noStrike" kern="1200" cap="none" spc="37"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uild + Test</a:t>
            </a:r>
          </a:p>
        </p:txBody>
      </p:sp>
      <p:sp>
        <p:nvSpPr>
          <p:cNvPr id="175" name="Rectangle 4"/>
          <p:cNvSpPr/>
          <p:nvPr/>
        </p:nvSpPr>
        <p:spPr bwMode="gray">
          <a:xfrm>
            <a:off x="3059283" y="1885093"/>
            <a:ext cx="1439451"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5226D"/>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Build/CI</a:t>
            </a:r>
          </a:p>
        </p:txBody>
      </p:sp>
      <p:sp>
        <p:nvSpPr>
          <p:cNvPr id="178" name="Rectangle 4"/>
          <p:cNvSpPr/>
          <p:nvPr/>
        </p:nvSpPr>
        <p:spPr bwMode="gray">
          <a:xfrm>
            <a:off x="3061461" y="3019963"/>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5226D"/>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Test</a:t>
            </a:r>
          </a:p>
        </p:txBody>
      </p:sp>
      <p:sp>
        <p:nvSpPr>
          <p:cNvPr id="185" name="Rectangle 184"/>
          <p:cNvSpPr/>
          <p:nvPr/>
        </p:nvSpPr>
        <p:spPr>
          <a:xfrm>
            <a:off x="5391116" y="2086785"/>
            <a:ext cx="1439451" cy="2370354"/>
          </a:xfrm>
          <a:prstGeom prst="rect">
            <a:avLst/>
          </a:prstGeom>
          <a:solidFill>
            <a:srgbClr val="4B2A6E"/>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7" name="TextBox 186"/>
          <p:cNvSpPr txBox="1"/>
          <p:nvPr/>
        </p:nvSpPr>
        <p:spPr>
          <a:xfrm rot="16200000">
            <a:off x="4513512" y="2670591"/>
            <a:ext cx="1439792" cy="318677"/>
          </a:xfrm>
          <a:prstGeom prst="rect">
            <a:avLst/>
          </a:prstGeom>
          <a:noFill/>
        </p:spPr>
        <p:txBody>
          <a:bodyPr wrap="square" rtlCol="0">
            <a:spAutoFit/>
          </a:bodyPr>
          <a:lstStyle/>
          <a:p>
            <a:pPr marL="0" marR="0" lvl="0" indent="0" algn="r" defTabSz="672358" rtl="0" eaLnBrk="1" fontAlgn="auto" latinLnBrk="0" hangingPunct="1">
              <a:lnSpc>
                <a:spcPct val="100000"/>
              </a:lnSpc>
              <a:spcBef>
                <a:spcPts val="0"/>
              </a:spcBef>
              <a:spcAft>
                <a:spcPts val="0"/>
              </a:spcAft>
              <a:buClrTx/>
              <a:buSzTx/>
              <a:buFontTx/>
              <a:buNone/>
              <a:tabLst/>
              <a:defRPr/>
            </a:pPr>
            <a:r>
              <a:rPr kumimoji="0" lang="en-US" sz="1471" b="0" i="0" u="none" strike="noStrike" kern="1200" cap="none" spc="37"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ploy</a:t>
            </a:r>
          </a:p>
        </p:txBody>
      </p:sp>
      <p:pic>
        <p:nvPicPr>
          <p:cNvPr id="188" name="Picture 1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0251" y="2371984"/>
            <a:ext cx="1034747" cy="411533"/>
          </a:xfrm>
          <a:prstGeom prst="rect">
            <a:avLst/>
          </a:prstGeom>
        </p:spPr>
      </p:pic>
      <p:sp>
        <p:nvSpPr>
          <p:cNvPr id="189" name="TextBox 188"/>
          <p:cNvSpPr txBox="1"/>
          <p:nvPr/>
        </p:nvSpPr>
        <p:spPr>
          <a:xfrm>
            <a:off x="5554954" y="2829306"/>
            <a:ext cx="1022716" cy="244298"/>
          </a:xfrm>
          <a:prstGeom prst="rect">
            <a:avLst/>
          </a:prstGeom>
          <a:noFill/>
        </p:spPr>
        <p:txBody>
          <a:bodyPr wrap="none" lIns="0" tIns="0" rIns="0" bIns="0" rtlCol="0">
            <a:spAutoFit/>
          </a:bodyPr>
          <a:lstStyle/>
          <a:p>
            <a:pPr marL="0" marR="0" lvl="0" indent="0" algn="l" defTabSz="685607"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Release Management </a:t>
            </a:r>
            <a:br>
              <a:rPr kumimoji="0" lang="en-US" sz="882"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br>
            <a:r>
              <a:rPr kumimoji="0" lang="en-US" sz="882"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for Visual Studio</a:t>
            </a:r>
          </a:p>
        </p:txBody>
      </p:sp>
      <p:sp>
        <p:nvSpPr>
          <p:cNvPr id="190" name="Rectangle 4"/>
          <p:cNvSpPr/>
          <p:nvPr/>
        </p:nvSpPr>
        <p:spPr bwMode="gray">
          <a:xfrm>
            <a:off x="5391115" y="2086786"/>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5226D"/>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Release/CD</a:t>
            </a:r>
          </a:p>
        </p:txBody>
      </p:sp>
      <p:grpSp>
        <p:nvGrpSpPr>
          <p:cNvPr id="191" name="Group 190"/>
          <p:cNvGrpSpPr/>
          <p:nvPr/>
        </p:nvGrpSpPr>
        <p:grpSpPr>
          <a:xfrm>
            <a:off x="5543981" y="3153041"/>
            <a:ext cx="1175231" cy="341683"/>
            <a:chOff x="6023278" y="2656330"/>
            <a:chExt cx="1598396" cy="464712"/>
          </a:xfrm>
        </p:grpSpPr>
        <p:sp>
          <p:nvSpPr>
            <p:cNvPr id="203" name="Rectangle 202"/>
            <p:cNvSpPr/>
            <p:nvPr/>
          </p:nvSpPr>
          <p:spPr>
            <a:xfrm>
              <a:off x="6500990" y="2663201"/>
              <a:ext cx="1120684" cy="457841"/>
            </a:xfrm>
            <a:prstGeom prst="rect">
              <a:avLst/>
            </a:prstGeom>
          </p:spPr>
          <p:txBody>
            <a:bodyPr wrap="square">
              <a:spAutoFit/>
            </a:bodyPr>
            <a:lstStyle/>
            <a:p>
              <a:pPr marL="0" marR="0" lvl="0" indent="0" algn="l" defTabSz="685607"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Semibold" panose="020B0702040204020203" pitchFamily="34" charset="0"/>
                </a:rPr>
                <a:t>Automation Service</a:t>
              </a:r>
            </a:p>
          </p:txBody>
        </p:sp>
        <p:pic>
          <p:nvPicPr>
            <p:cNvPr id="204" name="Picture 15"/>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6023278" y="2656330"/>
              <a:ext cx="485976" cy="438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2" name="Group 191"/>
          <p:cNvGrpSpPr/>
          <p:nvPr/>
        </p:nvGrpSpPr>
        <p:grpSpPr>
          <a:xfrm>
            <a:off x="5553435" y="3735081"/>
            <a:ext cx="1245001" cy="407227"/>
            <a:chOff x="7349541" y="4635063"/>
            <a:chExt cx="1693288" cy="553857"/>
          </a:xfrm>
        </p:grpSpPr>
        <p:sp>
          <p:nvSpPr>
            <p:cNvPr id="195" name="TextBox 194"/>
            <p:cNvSpPr txBox="1"/>
            <p:nvPr/>
          </p:nvSpPr>
          <p:spPr>
            <a:xfrm>
              <a:off x="8148016" y="4635063"/>
              <a:ext cx="894813" cy="553857"/>
            </a:xfrm>
            <a:prstGeom prst="rect">
              <a:avLst/>
            </a:prstGeom>
            <a:noFill/>
          </p:spPr>
          <p:txBody>
            <a:bodyPr wrap="square" lIns="0" tIns="0" rIns="0" bIns="0" rtlCol="0">
              <a:spAutoFit/>
            </a:bodyPr>
            <a:lstStyle/>
            <a:p>
              <a:pPr marL="0" marR="0" lvl="0" indent="0" algn="l" defTabSz="685607"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zure Resource Management</a:t>
              </a:r>
            </a:p>
          </p:txBody>
        </p:sp>
        <p:grpSp>
          <p:nvGrpSpPr>
            <p:cNvPr id="196" name="Group 195"/>
            <p:cNvGrpSpPr/>
            <p:nvPr/>
          </p:nvGrpSpPr>
          <p:grpSpPr>
            <a:xfrm>
              <a:off x="7349541" y="4690662"/>
              <a:ext cx="682792" cy="442801"/>
              <a:chOff x="6236727" y="5075466"/>
              <a:chExt cx="1685512" cy="1093080"/>
            </a:xfrm>
          </p:grpSpPr>
          <p:grpSp>
            <p:nvGrpSpPr>
              <p:cNvPr id="197" name="Group 196"/>
              <p:cNvGrpSpPr/>
              <p:nvPr/>
            </p:nvGrpSpPr>
            <p:grpSpPr>
              <a:xfrm>
                <a:off x="6604927" y="5075466"/>
                <a:ext cx="1102201" cy="1054928"/>
                <a:chOff x="6604927" y="5075466"/>
                <a:chExt cx="1102201" cy="1054928"/>
              </a:xfrm>
            </p:grpSpPr>
            <p:sp>
              <p:nvSpPr>
                <p:cNvPr id="200" name="Diamond 199"/>
                <p:cNvSpPr/>
                <p:nvPr/>
              </p:nvSpPr>
              <p:spPr bwMode="auto">
                <a:xfrm>
                  <a:off x="6642893" y="5075466"/>
                  <a:ext cx="869548" cy="480973"/>
                </a:xfrm>
                <a:prstGeom prst="diamond">
                  <a:avLst/>
                </a:prstGeom>
                <a:solidFill>
                  <a:srgbClr val="3999C6"/>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01" name="Parallelogram 200"/>
                <p:cNvSpPr/>
                <p:nvPr/>
              </p:nvSpPr>
              <p:spPr bwMode="auto">
                <a:xfrm rot="19866714">
                  <a:off x="6966649" y="5556675"/>
                  <a:ext cx="740479" cy="430284"/>
                </a:xfrm>
                <a:prstGeom prst="parallelogram">
                  <a:avLst>
                    <a:gd name="adj" fmla="val 57886"/>
                  </a:avLst>
                </a:prstGeom>
                <a:solidFill>
                  <a:srgbClr val="ACDAEC"/>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02" name="Parallelogram 201"/>
                <p:cNvSpPr/>
                <p:nvPr/>
              </p:nvSpPr>
              <p:spPr bwMode="auto">
                <a:xfrm rot="5400000">
                  <a:off x="6449829" y="5545013"/>
                  <a:ext cx="740479" cy="430284"/>
                </a:xfrm>
                <a:prstGeom prst="parallelogram">
                  <a:avLst>
                    <a:gd name="adj" fmla="val 57886"/>
                  </a:avLst>
                </a:prstGeom>
                <a:solidFill>
                  <a:srgbClr val="59B4D9"/>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98" name="Freeform 197"/>
              <p:cNvSpPr/>
              <p:nvPr/>
            </p:nvSpPr>
            <p:spPr bwMode="auto">
              <a:xfrm rot="1753011">
                <a:off x="7202147" y="5162507"/>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99" name="Freeform 198"/>
              <p:cNvSpPr/>
              <p:nvPr/>
            </p:nvSpPr>
            <p:spPr bwMode="auto">
              <a:xfrm rot="12600000">
                <a:off x="6236727" y="5077283"/>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sp>
        <p:nvSpPr>
          <p:cNvPr id="193" name="TextBox 192"/>
          <p:cNvSpPr txBox="1"/>
          <p:nvPr/>
        </p:nvSpPr>
        <p:spPr>
          <a:xfrm>
            <a:off x="5554954" y="3549807"/>
            <a:ext cx="924933" cy="122149"/>
          </a:xfrm>
          <a:prstGeom prst="rect">
            <a:avLst/>
          </a:prstGeom>
          <a:noFill/>
        </p:spPr>
        <p:txBody>
          <a:bodyPr wrap="none" lIns="0" tIns="0" rIns="0" bIns="0" rtlCol="0">
            <a:spAutoFit/>
          </a:bodyPr>
          <a:lstStyle/>
          <a:p>
            <a:pPr marL="0" marR="0" lvl="0" indent="0" algn="l" defTabSz="685607"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PowerShell | WAML</a:t>
            </a:r>
          </a:p>
        </p:txBody>
      </p:sp>
      <p:sp>
        <p:nvSpPr>
          <p:cNvPr id="194" name="TextBox 193"/>
          <p:cNvSpPr txBox="1"/>
          <p:nvPr/>
        </p:nvSpPr>
        <p:spPr>
          <a:xfrm>
            <a:off x="5543167" y="4219254"/>
            <a:ext cx="939360" cy="122149"/>
          </a:xfrm>
          <a:prstGeom prst="rect">
            <a:avLst/>
          </a:prstGeom>
          <a:noFill/>
        </p:spPr>
        <p:txBody>
          <a:bodyPr wrap="none" lIns="0" tIns="0" rIns="0" bIns="0" rtlCol="0">
            <a:spAutoFit/>
          </a:bodyPr>
          <a:lstStyle/>
          <a:p>
            <a:pPr marL="0" marR="0" lvl="0" indent="0" algn="l" defTabSz="685607"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xPlat</a:t>
            </a:r>
            <a:r>
              <a:rPr kumimoji="0" lang="en-US" sz="882"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 Command Line</a:t>
            </a:r>
          </a:p>
        </p:txBody>
      </p:sp>
      <p:sp>
        <p:nvSpPr>
          <p:cNvPr id="206" name="TextBox 205"/>
          <p:cNvSpPr txBox="1"/>
          <p:nvPr/>
        </p:nvSpPr>
        <p:spPr>
          <a:xfrm rot="16200000">
            <a:off x="6748883" y="3013665"/>
            <a:ext cx="1598818" cy="318677"/>
          </a:xfrm>
          <a:prstGeom prst="rect">
            <a:avLst/>
          </a:prstGeom>
          <a:noFill/>
        </p:spPr>
        <p:txBody>
          <a:bodyPr wrap="square" rtlCol="0">
            <a:spAutoFit/>
          </a:bodyPr>
          <a:lstStyle/>
          <a:p>
            <a:pPr marL="0" marR="0" lvl="0" indent="0" algn="r" defTabSz="672358" rtl="0" eaLnBrk="1" fontAlgn="auto" latinLnBrk="0" hangingPunct="1">
              <a:lnSpc>
                <a:spcPct val="100000"/>
              </a:lnSpc>
              <a:spcBef>
                <a:spcPts val="0"/>
              </a:spcBef>
              <a:spcAft>
                <a:spcPts val="0"/>
              </a:spcAft>
              <a:buClrTx/>
              <a:buSzTx/>
              <a:buFontTx/>
              <a:buNone/>
              <a:tabLst/>
              <a:defRPr/>
            </a:pPr>
            <a:r>
              <a:rPr kumimoji="0" lang="en-US" sz="1471" b="0" i="0" u="none" strike="noStrike" kern="1200" cap="none" spc="37"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onitor + Learn</a:t>
            </a:r>
          </a:p>
        </p:txBody>
      </p:sp>
      <p:sp>
        <p:nvSpPr>
          <p:cNvPr id="207" name="Rectangle 4"/>
          <p:cNvSpPr/>
          <p:nvPr/>
        </p:nvSpPr>
        <p:spPr bwMode="gray">
          <a:xfrm>
            <a:off x="7706727" y="2355710"/>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5226D"/>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Monitor</a:t>
            </a:r>
          </a:p>
        </p:txBody>
      </p:sp>
      <p:sp>
        <p:nvSpPr>
          <p:cNvPr id="208" name="Rectangle 207"/>
          <p:cNvSpPr/>
          <p:nvPr/>
        </p:nvSpPr>
        <p:spPr>
          <a:xfrm rot="18900000">
            <a:off x="1547421" y="249444"/>
            <a:ext cx="765933" cy="765933"/>
          </a:xfrm>
          <a:prstGeom prst="rect">
            <a:avLst/>
          </a:prstGeom>
          <a:solidFill>
            <a:srgbClr val="7549A7"/>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1" name="TextBox 210"/>
          <p:cNvSpPr txBox="1"/>
          <p:nvPr/>
        </p:nvSpPr>
        <p:spPr>
          <a:xfrm>
            <a:off x="7876422" y="3850310"/>
            <a:ext cx="900888" cy="122149"/>
          </a:xfrm>
          <a:prstGeom prst="rect">
            <a:avLst/>
          </a:prstGeom>
          <a:noFill/>
        </p:spPr>
        <p:txBody>
          <a:bodyPr wrap="none" lIns="0" tIns="0" rIns="0" bIns="0" rtlCol="0">
            <a:spAutoFit/>
          </a:bodyPr>
          <a:lstStyle/>
          <a:p>
            <a:pPr marL="0" marR="0" lvl="0" indent="0" algn="l" defTabSz="685607" rtl="0" eaLnBrk="1" fontAlgn="auto" latinLnBrk="0" hangingPunct="1">
              <a:lnSpc>
                <a:spcPct val="90000"/>
              </a:lnSpc>
              <a:spcBef>
                <a:spcPts val="0"/>
              </a:spcBef>
              <a:spcAft>
                <a:spcPts val="0"/>
              </a:spcAft>
              <a:buClrTx/>
              <a:buSzTx/>
              <a:buFontTx/>
              <a:buNone/>
              <a:tabLst/>
              <a:defRPr/>
            </a:pPr>
            <a:r>
              <a:rPr kumimoji="0" lang="en-US" sz="882"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 Insights</a:t>
            </a:r>
          </a:p>
        </p:txBody>
      </p:sp>
      <p:pic>
        <p:nvPicPr>
          <p:cNvPr id="212" name="Picture 2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87894" y="2709130"/>
            <a:ext cx="1034747" cy="411533"/>
          </a:xfrm>
          <a:prstGeom prst="rect">
            <a:avLst/>
          </a:prstGeom>
        </p:spPr>
      </p:pic>
      <p:sp>
        <p:nvSpPr>
          <p:cNvPr id="234" name="Freeform 6"/>
          <p:cNvSpPr>
            <a:spLocks/>
          </p:cNvSpPr>
          <p:nvPr/>
        </p:nvSpPr>
        <p:spPr bwMode="auto">
          <a:xfrm>
            <a:off x="1271602" y="2071722"/>
            <a:ext cx="861466" cy="566925"/>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2F5597">
              <a:alpha val="5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441"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35" name="Picture 234"/>
          <p:cNvPicPr>
            <a:picLocks noChangeAspect="1"/>
          </p:cNvPicPr>
          <p:nvPr/>
        </p:nvPicPr>
        <p:blipFill>
          <a:blip r:embed="rId5"/>
          <a:stretch>
            <a:fillRect/>
          </a:stretch>
        </p:blipFill>
        <p:spPr>
          <a:xfrm>
            <a:off x="863362" y="2045777"/>
            <a:ext cx="881831" cy="472824"/>
          </a:xfrm>
          <a:prstGeom prst="rect">
            <a:avLst/>
          </a:prstGeom>
        </p:spPr>
      </p:pic>
      <p:grpSp>
        <p:nvGrpSpPr>
          <p:cNvPr id="236" name="Group 235"/>
          <p:cNvGrpSpPr/>
          <p:nvPr/>
        </p:nvGrpSpPr>
        <p:grpSpPr>
          <a:xfrm>
            <a:off x="1468266" y="2225760"/>
            <a:ext cx="582540" cy="570096"/>
            <a:chOff x="2065191" y="1914181"/>
            <a:chExt cx="883828" cy="864948"/>
          </a:xfrm>
        </p:grpSpPr>
        <p:sp>
          <p:nvSpPr>
            <p:cNvPr id="237" name="Freeform 95"/>
            <p:cNvSpPr>
              <a:spLocks/>
            </p:cNvSpPr>
            <p:nvPr/>
          </p:nvSpPr>
          <p:spPr bwMode="auto">
            <a:xfrm flipH="1">
              <a:off x="2065191" y="1914181"/>
              <a:ext cx="883828" cy="57397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205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8" name="Rectangle 237"/>
            <p:cNvSpPr/>
            <p:nvPr/>
          </p:nvSpPr>
          <p:spPr>
            <a:xfrm>
              <a:off x="2132017" y="2107867"/>
              <a:ext cx="677540" cy="502509"/>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39" name="Picture 238"/>
            <p:cNvPicPr>
              <a:picLocks noChangeAspect="1"/>
            </p:cNvPicPr>
            <p:nvPr/>
          </p:nvPicPr>
          <p:blipFill>
            <a:blip r:embed="rId6">
              <a:biLevel thresh="25000"/>
            </a:blip>
            <a:stretch>
              <a:fillRect/>
            </a:stretch>
          </p:blipFill>
          <p:spPr>
            <a:xfrm>
              <a:off x="2078496" y="2064654"/>
              <a:ext cx="777488" cy="714475"/>
            </a:xfrm>
            <a:prstGeom prst="rect">
              <a:avLst/>
            </a:prstGeom>
          </p:spPr>
        </p:pic>
      </p:grpSp>
      <p:sp>
        <p:nvSpPr>
          <p:cNvPr id="240" name="Rectangle 239"/>
          <p:cNvSpPr/>
          <p:nvPr/>
        </p:nvSpPr>
        <p:spPr>
          <a:xfrm rot="18900000">
            <a:off x="2201900" y="747423"/>
            <a:ext cx="765933" cy="765933"/>
          </a:xfrm>
          <a:prstGeom prst="rect">
            <a:avLst/>
          </a:prstGeom>
          <a:solidFill>
            <a:srgbClr val="7030A0"/>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1" name="Rectangle 240"/>
          <p:cNvSpPr/>
          <p:nvPr/>
        </p:nvSpPr>
        <p:spPr>
          <a:xfrm rot="18900000">
            <a:off x="4528935" y="750762"/>
            <a:ext cx="765933" cy="765933"/>
          </a:xfrm>
          <a:prstGeom prst="rect">
            <a:avLst/>
          </a:prstGeom>
          <a:solidFill>
            <a:srgbClr val="682A7A"/>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2" name="Rectangle 241"/>
          <p:cNvSpPr/>
          <p:nvPr/>
        </p:nvSpPr>
        <p:spPr>
          <a:xfrm rot="18900000">
            <a:off x="6847466" y="743800"/>
            <a:ext cx="765933" cy="765933"/>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3" name="Rounded Rectangle 242"/>
          <p:cNvSpPr/>
          <p:nvPr/>
        </p:nvSpPr>
        <p:spPr bwMode="auto">
          <a:xfrm>
            <a:off x="2004298" y="628438"/>
            <a:ext cx="6825721" cy="507281"/>
          </a:xfrm>
          <a:prstGeom prst="roundRect">
            <a:avLst/>
          </a:prstGeom>
          <a:solidFill>
            <a:srgbClr val="FFFFFF">
              <a:alpha val="20000"/>
            </a:srgbClr>
          </a:solidFill>
          <a:ln w="142875" cap="rnd" cmpd="sng" algn="ctr">
            <a:solidFill>
              <a:srgbClr val="FFFFFF">
                <a:alpha val="35000"/>
              </a:srgb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marL="0" marR="0" lvl="0" indent="0" algn="r" defTabSz="685647" rtl="0" eaLnBrk="1" fontAlgn="base" latinLnBrk="0" hangingPunct="1">
              <a:lnSpc>
                <a:spcPct val="90000"/>
              </a:lnSpc>
              <a:spcBef>
                <a:spcPct val="0"/>
              </a:spcBef>
              <a:spcAft>
                <a:spcPct val="0"/>
              </a:spcAft>
              <a:buClrTx/>
              <a:buSzTx/>
              <a:buFontTx/>
              <a:buNone/>
              <a:tabLst/>
              <a:defRPr/>
            </a:pP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p:cNvSpPr/>
          <p:nvPr/>
        </p:nvSpPr>
        <p:spPr>
          <a:xfrm>
            <a:off x="2353373" y="754082"/>
            <a:ext cx="1779654" cy="27328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People | Process | Tools</a:t>
            </a:r>
            <a:endParaRPr kumimoji="0" lang="en-US" sz="1176" b="0" i="0" u="none" strike="noStrike" kern="0" cap="none" spc="0" normalizeH="0" baseline="0" noProof="0" dirty="0">
              <a:ln>
                <a:noFill/>
              </a:ln>
              <a:solidFill>
                <a:srgbClr val="505050"/>
              </a:solidFill>
              <a:effectLst/>
              <a:uLnTx/>
              <a:uFillTx/>
              <a:latin typeface="Segoe UI"/>
              <a:ea typeface="+mn-ea"/>
              <a:cs typeface="+mn-cs"/>
            </a:endParaRPr>
          </a:p>
        </p:txBody>
      </p:sp>
      <p:sp>
        <p:nvSpPr>
          <p:cNvPr id="248" name="Freeform 7"/>
          <p:cNvSpPr>
            <a:spLocks/>
          </p:cNvSpPr>
          <p:nvPr/>
        </p:nvSpPr>
        <p:spPr bwMode="auto">
          <a:xfrm>
            <a:off x="8481395" y="4658833"/>
            <a:ext cx="662323" cy="434683"/>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chemeClr val="accent1">
              <a:lumMod val="60000"/>
              <a:lumOff val="40000"/>
              <a:alpha val="5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441"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0" name="Isosceles Triangle 3"/>
          <p:cNvSpPr/>
          <p:nvPr/>
        </p:nvSpPr>
        <p:spPr bwMode="auto">
          <a:xfrm rot="5400000">
            <a:off x="2111933" y="538201"/>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Isosceles Triangle 3"/>
          <p:cNvSpPr/>
          <p:nvPr/>
        </p:nvSpPr>
        <p:spPr bwMode="auto">
          <a:xfrm rot="5400000">
            <a:off x="4425366" y="538201"/>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Isosceles Triangle 3"/>
          <p:cNvSpPr/>
          <p:nvPr/>
        </p:nvSpPr>
        <p:spPr bwMode="auto">
          <a:xfrm rot="5400000">
            <a:off x="6716278" y="538202"/>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Isosceles Triangle 3"/>
          <p:cNvSpPr/>
          <p:nvPr/>
        </p:nvSpPr>
        <p:spPr bwMode="auto">
          <a:xfrm rot="16200000" flipH="1">
            <a:off x="2036812" y="1040264"/>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Isosceles Triangle 3"/>
          <p:cNvSpPr/>
          <p:nvPr/>
        </p:nvSpPr>
        <p:spPr bwMode="auto">
          <a:xfrm rot="16200000" flipH="1">
            <a:off x="4352604" y="1040265"/>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Isosceles Triangle 3"/>
          <p:cNvSpPr/>
          <p:nvPr/>
        </p:nvSpPr>
        <p:spPr bwMode="auto">
          <a:xfrm rot="16200000" flipH="1">
            <a:off x="6660272" y="1040266"/>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6" name="Group 255"/>
          <p:cNvGrpSpPr/>
          <p:nvPr/>
        </p:nvGrpSpPr>
        <p:grpSpPr>
          <a:xfrm>
            <a:off x="7093195" y="115391"/>
            <a:ext cx="1639471" cy="1067723"/>
            <a:chOff x="9698195" y="0"/>
            <a:chExt cx="2229794" cy="1452178"/>
          </a:xfrm>
        </p:grpSpPr>
        <p:pic>
          <p:nvPicPr>
            <p:cNvPr id="257" name="Picture 256"/>
            <p:cNvPicPr>
              <a:picLocks noChangeAspect="1"/>
            </p:cNvPicPr>
            <p:nvPr/>
          </p:nvPicPr>
          <p:blipFill>
            <a:blip r:embed="rId7"/>
            <a:stretch>
              <a:fillRect/>
            </a:stretch>
          </p:blipFill>
          <p:spPr>
            <a:xfrm>
              <a:off x="9698195" y="219347"/>
              <a:ext cx="1695143" cy="1232831"/>
            </a:xfrm>
            <a:prstGeom prst="rect">
              <a:avLst/>
            </a:prstGeom>
          </p:spPr>
        </p:pic>
        <p:grpSp>
          <p:nvGrpSpPr>
            <p:cNvPr id="258" name="Group 257"/>
            <p:cNvGrpSpPr/>
            <p:nvPr/>
          </p:nvGrpSpPr>
          <p:grpSpPr>
            <a:xfrm>
              <a:off x="11080289" y="0"/>
              <a:ext cx="847700" cy="1452178"/>
              <a:chOff x="10147300" y="798513"/>
              <a:chExt cx="1128713" cy="1933575"/>
            </a:xfrm>
          </p:grpSpPr>
          <p:sp>
            <p:nvSpPr>
              <p:cNvPr id="259" name="Freeform 5"/>
              <p:cNvSpPr>
                <a:spLocks/>
              </p:cNvSpPr>
              <p:nvPr/>
            </p:nvSpPr>
            <p:spPr bwMode="auto">
              <a:xfrm>
                <a:off x="10566400" y="1195388"/>
                <a:ext cx="609600" cy="1306513"/>
              </a:xfrm>
              <a:custGeom>
                <a:avLst/>
                <a:gdLst>
                  <a:gd name="T0" fmla="*/ 384 w 384"/>
                  <a:gd name="T1" fmla="*/ 823 h 823"/>
                  <a:gd name="T2" fmla="*/ 0 w 384"/>
                  <a:gd name="T3" fmla="*/ 823 h 823"/>
                  <a:gd name="T4" fmla="*/ 55 w 384"/>
                  <a:gd name="T5" fmla="*/ 0 h 823"/>
                  <a:gd name="T6" fmla="*/ 203 w 384"/>
                  <a:gd name="T7" fmla="*/ 46 h 823"/>
                  <a:gd name="T8" fmla="*/ 331 w 384"/>
                  <a:gd name="T9" fmla="*/ 0 h 823"/>
                  <a:gd name="T10" fmla="*/ 384 w 384"/>
                  <a:gd name="T11" fmla="*/ 823 h 823"/>
                </a:gdLst>
                <a:ahLst/>
                <a:cxnLst>
                  <a:cxn ang="0">
                    <a:pos x="T0" y="T1"/>
                  </a:cxn>
                  <a:cxn ang="0">
                    <a:pos x="T2" y="T3"/>
                  </a:cxn>
                  <a:cxn ang="0">
                    <a:pos x="T4" y="T5"/>
                  </a:cxn>
                  <a:cxn ang="0">
                    <a:pos x="T6" y="T7"/>
                  </a:cxn>
                  <a:cxn ang="0">
                    <a:pos x="T8" y="T9"/>
                  </a:cxn>
                  <a:cxn ang="0">
                    <a:pos x="T10" y="T11"/>
                  </a:cxn>
                </a:cxnLst>
                <a:rect l="0" t="0" r="r" b="b"/>
                <a:pathLst>
                  <a:path w="384" h="823">
                    <a:moveTo>
                      <a:pt x="384" y="823"/>
                    </a:moveTo>
                    <a:lnTo>
                      <a:pt x="0" y="823"/>
                    </a:lnTo>
                    <a:lnTo>
                      <a:pt x="55" y="0"/>
                    </a:lnTo>
                    <a:lnTo>
                      <a:pt x="203" y="46"/>
                    </a:lnTo>
                    <a:lnTo>
                      <a:pt x="331" y="0"/>
                    </a:lnTo>
                    <a:lnTo>
                      <a:pt x="384" y="8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0" name="Freeform 6"/>
              <p:cNvSpPr>
                <a:spLocks/>
              </p:cNvSpPr>
              <p:nvPr/>
            </p:nvSpPr>
            <p:spPr bwMode="auto">
              <a:xfrm>
                <a:off x="10721975" y="2654300"/>
                <a:ext cx="158750" cy="77788"/>
              </a:xfrm>
              <a:custGeom>
                <a:avLst/>
                <a:gdLst>
                  <a:gd name="T0" fmla="*/ 36 w 71"/>
                  <a:gd name="T1" fmla="*/ 0 h 35"/>
                  <a:gd name="T2" fmla="*/ 0 w 71"/>
                  <a:gd name="T3" fmla="*/ 35 h 35"/>
                  <a:gd name="T4" fmla="*/ 71 w 71"/>
                  <a:gd name="T5" fmla="*/ 35 h 35"/>
                  <a:gd name="T6" fmla="*/ 36 w 71"/>
                  <a:gd name="T7" fmla="*/ 0 h 35"/>
                </a:gdLst>
                <a:ahLst/>
                <a:cxnLst>
                  <a:cxn ang="0">
                    <a:pos x="T0" y="T1"/>
                  </a:cxn>
                  <a:cxn ang="0">
                    <a:pos x="T2" y="T3"/>
                  </a:cxn>
                  <a:cxn ang="0">
                    <a:pos x="T4" y="T5"/>
                  </a:cxn>
                  <a:cxn ang="0">
                    <a:pos x="T6" y="T7"/>
                  </a:cxn>
                </a:cxnLst>
                <a:rect l="0" t="0" r="r" b="b"/>
                <a:pathLst>
                  <a:path w="71" h="35">
                    <a:moveTo>
                      <a:pt x="36" y="0"/>
                    </a:moveTo>
                    <a:cubicBezTo>
                      <a:pt x="16" y="0"/>
                      <a:pt x="0" y="16"/>
                      <a:pt x="0" y="35"/>
                    </a:cubicBezTo>
                    <a:cubicBezTo>
                      <a:pt x="71" y="35"/>
                      <a:pt x="71" y="35"/>
                      <a:pt x="71" y="35"/>
                    </a:cubicBezTo>
                    <a:cubicBezTo>
                      <a:pt x="71" y="16"/>
                      <a:pt x="55"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1" name="Freeform 7"/>
              <p:cNvSpPr>
                <a:spLocks/>
              </p:cNvSpPr>
              <p:nvPr/>
            </p:nvSpPr>
            <p:spPr bwMode="auto">
              <a:xfrm>
                <a:off x="10147300" y="2632075"/>
                <a:ext cx="200025" cy="100013"/>
              </a:xfrm>
              <a:custGeom>
                <a:avLst/>
                <a:gdLst>
                  <a:gd name="T0" fmla="*/ 45 w 90"/>
                  <a:gd name="T1" fmla="*/ 0 h 45"/>
                  <a:gd name="T2" fmla="*/ 0 w 90"/>
                  <a:gd name="T3" fmla="*/ 45 h 45"/>
                  <a:gd name="T4" fmla="*/ 90 w 90"/>
                  <a:gd name="T5" fmla="*/ 45 h 45"/>
                  <a:gd name="T6" fmla="*/ 45 w 90"/>
                  <a:gd name="T7" fmla="*/ 0 h 45"/>
                </a:gdLst>
                <a:ahLst/>
                <a:cxnLst>
                  <a:cxn ang="0">
                    <a:pos x="T0" y="T1"/>
                  </a:cxn>
                  <a:cxn ang="0">
                    <a:pos x="T2" y="T3"/>
                  </a:cxn>
                  <a:cxn ang="0">
                    <a:pos x="T4" y="T5"/>
                  </a:cxn>
                  <a:cxn ang="0">
                    <a:pos x="T6" y="T7"/>
                  </a:cxn>
                </a:cxnLst>
                <a:rect l="0" t="0" r="r" b="b"/>
                <a:pathLst>
                  <a:path w="90" h="45">
                    <a:moveTo>
                      <a:pt x="45" y="0"/>
                    </a:moveTo>
                    <a:cubicBezTo>
                      <a:pt x="20" y="0"/>
                      <a:pt x="0" y="20"/>
                      <a:pt x="0" y="45"/>
                    </a:cubicBezTo>
                    <a:cubicBezTo>
                      <a:pt x="90" y="45"/>
                      <a:pt x="90" y="45"/>
                      <a:pt x="90" y="45"/>
                    </a:cubicBezTo>
                    <a:cubicBezTo>
                      <a:pt x="90"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2" name="Freeform 8"/>
              <p:cNvSpPr>
                <a:spLocks/>
              </p:cNvSpPr>
              <p:nvPr/>
            </p:nvSpPr>
            <p:spPr bwMode="auto">
              <a:xfrm>
                <a:off x="10460038" y="2632075"/>
                <a:ext cx="201613" cy="100013"/>
              </a:xfrm>
              <a:custGeom>
                <a:avLst/>
                <a:gdLst>
                  <a:gd name="T0" fmla="*/ 45 w 91"/>
                  <a:gd name="T1" fmla="*/ 0 h 45"/>
                  <a:gd name="T2" fmla="*/ 0 w 91"/>
                  <a:gd name="T3" fmla="*/ 45 h 45"/>
                  <a:gd name="T4" fmla="*/ 91 w 91"/>
                  <a:gd name="T5" fmla="*/ 45 h 45"/>
                  <a:gd name="T6" fmla="*/ 45 w 91"/>
                  <a:gd name="T7" fmla="*/ 0 h 45"/>
                </a:gdLst>
                <a:ahLst/>
                <a:cxnLst>
                  <a:cxn ang="0">
                    <a:pos x="T0" y="T1"/>
                  </a:cxn>
                  <a:cxn ang="0">
                    <a:pos x="T2" y="T3"/>
                  </a:cxn>
                  <a:cxn ang="0">
                    <a:pos x="T4" y="T5"/>
                  </a:cxn>
                  <a:cxn ang="0">
                    <a:pos x="T6" y="T7"/>
                  </a:cxn>
                </a:cxnLst>
                <a:rect l="0" t="0" r="r" b="b"/>
                <a:pathLst>
                  <a:path w="91" h="45">
                    <a:moveTo>
                      <a:pt x="45" y="0"/>
                    </a:moveTo>
                    <a:cubicBezTo>
                      <a:pt x="20" y="0"/>
                      <a:pt x="0" y="20"/>
                      <a:pt x="0" y="45"/>
                    </a:cubicBezTo>
                    <a:cubicBezTo>
                      <a:pt x="91" y="45"/>
                      <a:pt x="91" y="45"/>
                      <a:pt x="91" y="45"/>
                    </a:cubicBezTo>
                    <a:cubicBezTo>
                      <a:pt x="91"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3" name="Freeform 9"/>
              <p:cNvSpPr>
                <a:spLocks/>
              </p:cNvSpPr>
              <p:nvPr/>
            </p:nvSpPr>
            <p:spPr bwMode="auto">
              <a:xfrm>
                <a:off x="10898188" y="2654300"/>
                <a:ext cx="155575" cy="77788"/>
              </a:xfrm>
              <a:custGeom>
                <a:avLst/>
                <a:gdLst>
                  <a:gd name="T0" fmla="*/ 35 w 70"/>
                  <a:gd name="T1" fmla="*/ 0 h 35"/>
                  <a:gd name="T2" fmla="*/ 0 w 70"/>
                  <a:gd name="T3" fmla="*/ 35 h 35"/>
                  <a:gd name="T4" fmla="*/ 70 w 70"/>
                  <a:gd name="T5" fmla="*/ 35 h 35"/>
                  <a:gd name="T6" fmla="*/ 35 w 70"/>
                  <a:gd name="T7" fmla="*/ 0 h 35"/>
                </a:gdLst>
                <a:ahLst/>
                <a:cxnLst>
                  <a:cxn ang="0">
                    <a:pos x="T0" y="T1"/>
                  </a:cxn>
                  <a:cxn ang="0">
                    <a:pos x="T2" y="T3"/>
                  </a:cxn>
                  <a:cxn ang="0">
                    <a:pos x="T4" y="T5"/>
                  </a:cxn>
                  <a:cxn ang="0">
                    <a:pos x="T6" y="T7"/>
                  </a:cxn>
                </a:cxnLst>
                <a:rect l="0" t="0" r="r" b="b"/>
                <a:pathLst>
                  <a:path w="70" h="35">
                    <a:moveTo>
                      <a:pt x="35" y="0"/>
                    </a:moveTo>
                    <a:cubicBezTo>
                      <a:pt x="16" y="0"/>
                      <a:pt x="0" y="16"/>
                      <a:pt x="0" y="35"/>
                    </a:cubicBezTo>
                    <a:cubicBezTo>
                      <a:pt x="70" y="35"/>
                      <a:pt x="70" y="35"/>
                      <a:pt x="70" y="35"/>
                    </a:cubicBezTo>
                    <a:cubicBezTo>
                      <a:pt x="70" y="16"/>
                      <a:pt x="54" y="0"/>
                      <a:pt x="35"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4" name="Freeform 10"/>
              <p:cNvSpPr>
                <a:spLocks/>
              </p:cNvSpPr>
              <p:nvPr/>
            </p:nvSpPr>
            <p:spPr bwMode="auto">
              <a:xfrm>
                <a:off x="10780713" y="828675"/>
                <a:ext cx="241300" cy="293688"/>
              </a:xfrm>
              <a:custGeom>
                <a:avLst/>
                <a:gdLst>
                  <a:gd name="T0" fmla="*/ 98 w 109"/>
                  <a:gd name="T1" fmla="*/ 75 h 132"/>
                  <a:gd name="T2" fmla="*/ 38 w 109"/>
                  <a:gd name="T3" fmla="*/ 124 h 132"/>
                  <a:gd name="T4" fmla="*/ 10 w 109"/>
                  <a:gd name="T5" fmla="*/ 50 h 132"/>
                  <a:gd name="T6" fmla="*/ 76 w 109"/>
                  <a:gd name="T7" fmla="*/ 8 h 132"/>
                  <a:gd name="T8" fmla="*/ 98 w 109"/>
                  <a:gd name="T9" fmla="*/ 75 h 132"/>
                </a:gdLst>
                <a:ahLst/>
                <a:cxnLst>
                  <a:cxn ang="0">
                    <a:pos x="T0" y="T1"/>
                  </a:cxn>
                  <a:cxn ang="0">
                    <a:pos x="T2" y="T3"/>
                  </a:cxn>
                  <a:cxn ang="0">
                    <a:pos x="T4" y="T5"/>
                  </a:cxn>
                  <a:cxn ang="0">
                    <a:pos x="T6" y="T7"/>
                  </a:cxn>
                  <a:cxn ang="0">
                    <a:pos x="T8" y="T9"/>
                  </a:cxn>
                </a:cxnLst>
                <a:rect l="0" t="0" r="r" b="b"/>
                <a:pathLst>
                  <a:path w="109" h="132">
                    <a:moveTo>
                      <a:pt x="98" y="75"/>
                    </a:moveTo>
                    <a:cubicBezTo>
                      <a:pt x="88" y="107"/>
                      <a:pt x="64" y="132"/>
                      <a:pt x="38" y="124"/>
                    </a:cubicBezTo>
                    <a:cubicBezTo>
                      <a:pt x="12" y="115"/>
                      <a:pt x="0" y="82"/>
                      <a:pt x="10" y="50"/>
                    </a:cubicBezTo>
                    <a:cubicBezTo>
                      <a:pt x="21" y="19"/>
                      <a:pt x="50" y="0"/>
                      <a:pt x="76" y="8"/>
                    </a:cubicBezTo>
                    <a:cubicBezTo>
                      <a:pt x="102" y="17"/>
                      <a:pt x="109" y="43"/>
                      <a:pt x="98"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5" name="Freeform 11"/>
              <p:cNvSpPr>
                <a:spLocks/>
              </p:cNvSpPr>
              <p:nvPr/>
            </p:nvSpPr>
            <p:spPr bwMode="auto">
              <a:xfrm>
                <a:off x="10747375" y="798513"/>
                <a:ext cx="241300" cy="273050"/>
              </a:xfrm>
              <a:custGeom>
                <a:avLst/>
                <a:gdLst>
                  <a:gd name="T0" fmla="*/ 93 w 109"/>
                  <a:gd name="T1" fmla="*/ 39 h 123"/>
                  <a:gd name="T2" fmla="*/ 83 w 109"/>
                  <a:gd name="T3" fmla="*/ 111 h 123"/>
                  <a:gd name="T4" fmla="*/ 16 w 109"/>
                  <a:gd name="T5" fmla="*/ 84 h 123"/>
                  <a:gd name="T6" fmla="*/ 25 w 109"/>
                  <a:gd name="T7" fmla="*/ 12 h 123"/>
                  <a:gd name="T8" fmla="*/ 93 w 109"/>
                  <a:gd name="T9" fmla="*/ 39 h 123"/>
                </a:gdLst>
                <a:ahLst/>
                <a:cxnLst>
                  <a:cxn ang="0">
                    <a:pos x="T0" y="T1"/>
                  </a:cxn>
                  <a:cxn ang="0">
                    <a:pos x="T2" y="T3"/>
                  </a:cxn>
                  <a:cxn ang="0">
                    <a:pos x="T4" y="T5"/>
                  </a:cxn>
                  <a:cxn ang="0">
                    <a:pos x="T6" y="T7"/>
                  </a:cxn>
                  <a:cxn ang="0">
                    <a:pos x="T8" y="T9"/>
                  </a:cxn>
                </a:cxnLst>
                <a:rect l="0" t="0" r="r" b="b"/>
                <a:pathLst>
                  <a:path w="109" h="123">
                    <a:moveTo>
                      <a:pt x="93" y="39"/>
                    </a:moveTo>
                    <a:cubicBezTo>
                      <a:pt x="109" y="66"/>
                      <a:pt x="104" y="98"/>
                      <a:pt x="83" y="111"/>
                    </a:cubicBezTo>
                    <a:cubicBezTo>
                      <a:pt x="62" y="123"/>
                      <a:pt x="32" y="111"/>
                      <a:pt x="16" y="84"/>
                    </a:cubicBezTo>
                    <a:cubicBezTo>
                      <a:pt x="0" y="57"/>
                      <a:pt x="4" y="25"/>
                      <a:pt x="25" y="12"/>
                    </a:cubicBezTo>
                    <a:cubicBezTo>
                      <a:pt x="47" y="0"/>
                      <a:pt x="77" y="12"/>
                      <a:pt x="93"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6" name="Freeform 12"/>
              <p:cNvSpPr>
                <a:spLocks/>
              </p:cNvSpPr>
              <p:nvPr/>
            </p:nvSpPr>
            <p:spPr bwMode="auto">
              <a:xfrm>
                <a:off x="10826750" y="1050925"/>
                <a:ext cx="123825" cy="131763"/>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cubicBezTo>
                      <a:pt x="56" y="45"/>
                      <a:pt x="48" y="59"/>
                      <a:pt x="28" y="59"/>
                    </a:cubicBezTo>
                    <a:cubicBezTo>
                      <a:pt x="9" y="59"/>
                      <a:pt x="0" y="45"/>
                      <a:pt x="0" y="45"/>
                    </a:cubicBezTo>
                    <a:cubicBezTo>
                      <a:pt x="0" y="0"/>
                      <a:pt x="0" y="0"/>
                      <a:pt x="0" y="0"/>
                    </a:cubicBezTo>
                    <a:cubicBezTo>
                      <a:pt x="56" y="0"/>
                      <a:pt x="56" y="0"/>
                      <a:pt x="56" y="0"/>
                    </a:cubicBez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7" name="Freeform 13"/>
              <p:cNvSpPr>
                <a:spLocks/>
              </p:cNvSpPr>
              <p:nvPr/>
            </p:nvSpPr>
            <p:spPr bwMode="auto">
              <a:xfrm>
                <a:off x="10493375" y="1195388"/>
                <a:ext cx="304800" cy="690563"/>
              </a:xfrm>
              <a:custGeom>
                <a:avLst/>
                <a:gdLst>
                  <a:gd name="T0" fmla="*/ 137 w 137"/>
                  <a:gd name="T1" fmla="*/ 10 h 311"/>
                  <a:gd name="T2" fmla="*/ 72 w 137"/>
                  <a:gd name="T3" fmla="*/ 0 h 311"/>
                  <a:gd name="T4" fmla="*/ 0 w 137"/>
                  <a:gd name="T5" fmla="*/ 311 h 311"/>
                  <a:gd name="T6" fmla="*/ 49 w 137"/>
                  <a:gd name="T7" fmla="*/ 311 h 311"/>
                  <a:gd name="T8" fmla="*/ 137 w 137"/>
                  <a:gd name="T9" fmla="*/ 10 h 311"/>
                </a:gdLst>
                <a:ahLst/>
                <a:cxnLst>
                  <a:cxn ang="0">
                    <a:pos x="T0" y="T1"/>
                  </a:cxn>
                  <a:cxn ang="0">
                    <a:pos x="T2" y="T3"/>
                  </a:cxn>
                  <a:cxn ang="0">
                    <a:pos x="T4" y="T5"/>
                  </a:cxn>
                  <a:cxn ang="0">
                    <a:pos x="T6" y="T7"/>
                  </a:cxn>
                  <a:cxn ang="0">
                    <a:pos x="T8" y="T9"/>
                  </a:cxn>
                </a:cxnLst>
                <a:rect l="0" t="0" r="r" b="b"/>
                <a:pathLst>
                  <a:path w="137" h="311">
                    <a:moveTo>
                      <a:pt x="137" y="10"/>
                    </a:moveTo>
                    <a:cubicBezTo>
                      <a:pt x="121" y="6"/>
                      <a:pt x="88" y="5"/>
                      <a:pt x="72" y="0"/>
                    </a:cubicBezTo>
                    <a:cubicBezTo>
                      <a:pt x="26" y="101"/>
                      <a:pt x="10" y="201"/>
                      <a:pt x="0" y="311"/>
                    </a:cubicBezTo>
                    <a:cubicBezTo>
                      <a:pt x="49" y="311"/>
                      <a:pt x="49" y="311"/>
                      <a:pt x="49" y="311"/>
                    </a:cubicBezTo>
                    <a:cubicBezTo>
                      <a:pt x="60" y="206"/>
                      <a:pt x="92" y="106"/>
                      <a:pt x="137" y="1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8" name="Freeform 14"/>
              <p:cNvSpPr>
                <a:spLocks/>
              </p:cNvSpPr>
              <p:nvPr/>
            </p:nvSpPr>
            <p:spPr bwMode="auto">
              <a:xfrm>
                <a:off x="10983913" y="1189038"/>
                <a:ext cx="292100" cy="690563"/>
              </a:xfrm>
              <a:custGeom>
                <a:avLst/>
                <a:gdLst>
                  <a:gd name="T0" fmla="*/ 58 w 131"/>
                  <a:gd name="T1" fmla="*/ 177 h 311"/>
                  <a:gd name="T2" fmla="*/ 0 w 131"/>
                  <a:gd name="T3" fmla="*/ 13 h 311"/>
                  <a:gd name="T4" fmla="*/ 58 w 131"/>
                  <a:gd name="T5" fmla="*/ 0 h 311"/>
                  <a:gd name="T6" fmla="*/ 116 w 131"/>
                  <a:gd name="T7" fmla="*/ 192 h 311"/>
                  <a:gd name="T8" fmla="*/ 131 w 131"/>
                  <a:gd name="T9" fmla="*/ 311 h 311"/>
                  <a:gd name="T10" fmla="*/ 82 w 131"/>
                  <a:gd name="T11" fmla="*/ 311 h 311"/>
                  <a:gd name="T12" fmla="*/ 58 w 131"/>
                  <a:gd name="T13" fmla="*/ 177 h 311"/>
                </a:gdLst>
                <a:ahLst/>
                <a:cxnLst>
                  <a:cxn ang="0">
                    <a:pos x="T0" y="T1"/>
                  </a:cxn>
                  <a:cxn ang="0">
                    <a:pos x="T2" y="T3"/>
                  </a:cxn>
                  <a:cxn ang="0">
                    <a:pos x="T4" y="T5"/>
                  </a:cxn>
                  <a:cxn ang="0">
                    <a:pos x="T6" y="T7"/>
                  </a:cxn>
                  <a:cxn ang="0">
                    <a:pos x="T8" y="T9"/>
                  </a:cxn>
                  <a:cxn ang="0">
                    <a:pos x="T10" y="T11"/>
                  </a:cxn>
                  <a:cxn ang="0">
                    <a:pos x="T12" y="T13"/>
                  </a:cxn>
                </a:cxnLst>
                <a:rect l="0" t="0" r="r" b="b"/>
                <a:pathLst>
                  <a:path w="131" h="311">
                    <a:moveTo>
                      <a:pt x="58" y="177"/>
                    </a:moveTo>
                    <a:cubicBezTo>
                      <a:pt x="45" y="121"/>
                      <a:pt x="26" y="67"/>
                      <a:pt x="0" y="13"/>
                    </a:cubicBezTo>
                    <a:cubicBezTo>
                      <a:pt x="16" y="9"/>
                      <a:pt x="42" y="4"/>
                      <a:pt x="58" y="0"/>
                    </a:cubicBezTo>
                    <a:cubicBezTo>
                      <a:pt x="87" y="63"/>
                      <a:pt x="104" y="126"/>
                      <a:pt x="116" y="192"/>
                    </a:cubicBezTo>
                    <a:cubicBezTo>
                      <a:pt x="122" y="230"/>
                      <a:pt x="127" y="270"/>
                      <a:pt x="131" y="311"/>
                    </a:cubicBezTo>
                    <a:cubicBezTo>
                      <a:pt x="82" y="311"/>
                      <a:pt x="82" y="311"/>
                      <a:pt x="82" y="311"/>
                    </a:cubicBezTo>
                    <a:cubicBezTo>
                      <a:pt x="77" y="265"/>
                      <a:pt x="69" y="220"/>
                      <a:pt x="58" y="17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9" name="Freeform 15"/>
              <p:cNvSpPr>
                <a:spLocks/>
              </p:cNvSpPr>
              <p:nvPr/>
            </p:nvSpPr>
            <p:spPr bwMode="auto">
              <a:xfrm>
                <a:off x="10709275" y="1781175"/>
                <a:ext cx="173038" cy="887413"/>
              </a:xfrm>
              <a:custGeom>
                <a:avLst/>
                <a:gdLst>
                  <a:gd name="T0" fmla="*/ 94 w 109"/>
                  <a:gd name="T1" fmla="*/ 559 h 559"/>
                  <a:gd name="T2" fmla="*/ 22 w 109"/>
                  <a:gd name="T3" fmla="*/ 559 h 559"/>
                  <a:gd name="T4" fmla="*/ 0 w 109"/>
                  <a:gd name="T5" fmla="*/ 0 h 559"/>
                  <a:gd name="T6" fmla="*/ 109 w 109"/>
                  <a:gd name="T7" fmla="*/ 101 h 559"/>
                  <a:gd name="T8" fmla="*/ 94 w 109"/>
                  <a:gd name="T9" fmla="*/ 559 h 559"/>
                </a:gdLst>
                <a:ahLst/>
                <a:cxnLst>
                  <a:cxn ang="0">
                    <a:pos x="T0" y="T1"/>
                  </a:cxn>
                  <a:cxn ang="0">
                    <a:pos x="T2" y="T3"/>
                  </a:cxn>
                  <a:cxn ang="0">
                    <a:pos x="T4" y="T5"/>
                  </a:cxn>
                  <a:cxn ang="0">
                    <a:pos x="T6" y="T7"/>
                  </a:cxn>
                  <a:cxn ang="0">
                    <a:pos x="T8" y="T9"/>
                  </a:cxn>
                </a:cxnLst>
                <a:rect l="0" t="0" r="r" b="b"/>
                <a:pathLst>
                  <a:path w="109" h="559">
                    <a:moveTo>
                      <a:pt x="94" y="559"/>
                    </a:moveTo>
                    <a:lnTo>
                      <a:pt x="22" y="559"/>
                    </a:lnTo>
                    <a:lnTo>
                      <a:pt x="0" y="0"/>
                    </a:lnTo>
                    <a:lnTo>
                      <a:pt x="109" y="101"/>
                    </a:lnTo>
                    <a:lnTo>
                      <a:pt x="94"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0" name="Freeform 16"/>
              <p:cNvSpPr>
                <a:spLocks/>
              </p:cNvSpPr>
              <p:nvPr/>
            </p:nvSpPr>
            <p:spPr bwMode="auto">
              <a:xfrm>
                <a:off x="10888663" y="1781175"/>
                <a:ext cx="161925" cy="887413"/>
              </a:xfrm>
              <a:custGeom>
                <a:avLst/>
                <a:gdLst>
                  <a:gd name="T0" fmla="*/ 88 w 102"/>
                  <a:gd name="T1" fmla="*/ 559 h 559"/>
                  <a:gd name="T2" fmla="*/ 17 w 102"/>
                  <a:gd name="T3" fmla="*/ 559 h 559"/>
                  <a:gd name="T4" fmla="*/ 0 w 102"/>
                  <a:gd name="T5" fmla="*/ 101 h 559"/>
                  <a:gd name="T6" fmla="*/ 102 w 102"/>
                  <a:gd name="T7" fmla="*/ 0 h 559"/>
                  <a:gd name="T8" fmla="*/ 88 w 102"/>
                  <a:gd name="T9" fmla="*/ 559 h 559"/>
                </a:gdLst>
                <a:ahLst/>
                <a:cxnLst>
                  <a:cxn ang="0">
                    <a:pos x="T0" y="T1"/>
                  </a:cxn>
                  <a:cxn ang="0">
                    <a:pos x="T2" y="T3"/>
                  </a:cxn>
                  <a:cxn ang="0">
                    <a:pos x="T4" y="T5"/>
                  </a:cxn>
                  <a:cxn ang="0">
                    <a:pos x="T6" y="T7"/>
                  </a:cxn>
                  <a:cxn ang="0">
                    <a:pos x="T8" y="T9"/>
                  </a:cxn>
                </a:cxnLst>
                <a:rect l="0" t="0" r="r" b="b"/>
                <a:pathLst>
                  <a:path w="102" h="559">
                    <a:moveTo>
                      <a:pt x="88" y="559"/>
                    </a:moveTo>
                    <a:lnTo>
                      <a:pt x="17" y="559"/>
                    </a:lnTo>
                    <a:lnTo>
                      <a:pt x="0" y="101"/>
                    </a:lnTo>
                    <a:lnTo>
                      <a:pt x="102" y="0"/>
                    </a:lnTo>
                    <a:lnTo>
                      <a:pt x="88"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1" name="Freeform 17"/>
              <p:cNvSpPr>
                <a:spLocks/>
              </p:cNvSpPr>
              <p:nvPr/>
            </p:nvSpPr>
            <p:spPr bwMode="auto">
              <a:xfrm>
                <a:off x="10506075" y="1885950"/>
                <a:ext cx="80963" cy="88900"/>
              </a:xfrm>
              <a:custGeom>
                <a:avLst/>
                <a:gdLst>
                  <a:gd name="T0" fmla="*/ 0 w 36"/>
                  <a:gd name="T1" fmla="*/ 0 h 40"/>
                  <a:gd name="T2" fmla="*/ 0 w 36"/>
                  <a:gd name="T3" fmla="*/ 22 h 40"/>
                  <a:gd name="T4" fmla="*/ 18 w 36"/>
                  <a:gd name="T5" fmla="*/ 40 h 40"/>
                  <a:gd name="T6" fmla="*/ 36 w 36"/>
                  <a:gd name="T7" fmla="*/ 22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2"/>
                      <a:pt x="0" y="22"/>
                      <a:pt x="0" y="22"/>
                    </a:cubicBezTo>
                    <a:cubicBezTo>
                      <a:pt x="0" y="32"/>
                      <a:pt x="8" y="40"/>
                      <a:pt x="18" y="40"/>
                    </a:cubicBezTo>
                    <a:cubicBezTo>
                      <a:pt x="28" y="40"/>
                      <a:pt x="36" y="32"/>
                      <a:pt x="36" y="22"/>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2" name="Freeform 18"/>
              <p:cNvSpPr>
                <a:spLocks/>
              </p:cNvSpPr>
              <p:nvPr/>
            </p:nvSpPr>
            <p:spPr bwMode="auto">
              <a:xfrm>
                <a:off x="11180763" y="1879600"/>
                <a:ext cx="79375" cy="88900"/>
              </a:xfrm>
              <a:custGeom>
                <a:avLst/>
                <a:gdLst>
                  <a:gd name="T0" fmla="*/ 0 w 36"/>
                  <a:gd name="T1" fmla="*/ 0 h 40"/>
                  <a:gd name="T2" fmla="*/ 0 w 36"/>
                  <a:gd name="T3" fmla="*/ 21 h 40"/>
                  <a:gd name="T4" fmla="*/ 18 w 36"/>
                  <a:gd name="T5" fmla="*/ 40 h 40"/>
                  <a:gd name="T6" fmla="*/ 36 w 36"/>
                  <a:gd name="T7" fmla="*/ 21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1"/>
                      <a:pt x="0" y="21"/>
                      <a:pt x="0" y="21"/>
                    </a:cubicBezTo>
                    <a:cubicBezTo>
                      <a:pt x="0" y="31"/>
                      <a:pt x="8" y="40"/>
                      <a:pt x="18" y="40"/>
                    </a:cubicBezTo>
                    <a:cubicBezTo>
                      <a:pt x="28" y="40"/>
                      <a:pt x="36" y="31"/>
                      <a:pt x="36" y="21"/>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3" name="Freeform 19"/>
              <p:cNvSpPr>
                <a:spLocks/>
              </p:cNvSpPr>
              <p:nvPr/>
            </p:nvSpPr>
            <p:spPr bwMode="auto">
              <a:xfrm>
                <a:off x="10764838" y="901700"/>
                <a:ext cx="246063" cy="220663"/>
              </a:xfrm>
              <a:custGeom>
                <a:avLst/>
                <a:gdLst>
                  <a:gd name="T0" fmla="*/ 106 w 111"/>
                  <a:gd name="T1" fmla="*/ 24 h 99"/>
                  <a:gd name="T2" fmla="*/ 103 w 111"/>
                  <a:gd name="T3" fmla="*/ 23 h 99"/>
                  <a:gd name="T4" fmla="*/ 103 w 111"/>
                  <a:gd name="T5" fmla="*/ 16 h 99"/>
                  <a:gd name="T6" fmla="*/ 103 w 111"/>
                  <a:gd name="T7" fmla="*/ 14 h 99"/>
                  <a:gd name="T8" fmla="*/ 103 w 111"/>
                  <a:gd name="T9" fmla="*/ 13 h 99"/>
                  <a:gd name="T10" fmla="*/ 102 w 111"/>
                  <a:gd name="T11" fmla="*/ 12 h 99"/>
                  <a:gd name="T12" fmla="*/ 102 w 111"/>
                  <a:gd name="T13" fmla="*/ 11 h 99"/>
                  <a:gd name="T14" fmla="*/ 102 w 111"/>
                  <a:gd name="T15" fmla="*/ 10 h 99"/>
                  <a:gd name="T16" fmla="*/ 102 w 111"/>
                  <a:gd name="T17" fmla="*/ 9 h 99"/>
                  <a:gd name="T18" fmla="*/ 102 w 111"/>
                  <a:gd name="T19" fmla="*/ 9 h 99"/>
                  <a:gd name="T20" fmla="*/ 101 w 111"/>
                  <a:gd name="T21" fmla="*/ 6 h 99"/>
                  <a:gd name="T22" fmla="*/ 100 w 111"/>
                  <a:gd name="T23" fmla="*/ 6 h 99"/>
                  <a:gd name="T24" fmla="*/ 100 w 111"/>
                  <a:gd name="T25" fmla="*/ 5 h 99"/>
                  <a:gd name="T26" fmla="*/ 99 w 111"/>
                  <a:gd name="T27" fmla="*/ 4 h 99"/>
                  <a:gd name="T28" fmla="*/ 99 w 111"/>
                  <a:gd name="T29" fmla="*/ 3 h 99"/>
                  <a:gd name="T30" fmla="*/ 99 w 111"/>
                  <a:gd name="T31" fmla="*/ 3 h 99"/>
                  <a:gd name="T32" fmla="*/ 90 w 111"/>
                  <a:gd name="T33" fmla="*/ 4 h 99"/>
                  <a:gd name="T34" fmla="*/ 74 w 111"/>
                  <a:gd name="T35" fmla="*/ 0 h 99"/>
                  <a:gd name="T36" fmla="*/ 45 w 111"/>
                  <a:gd name="T37" fmla="*/ 4 h 99"/>
                  <a:gd name="T38" fmla="*/ 15 w 111"/>
                  <a:gd name="T39" fmla="*/ 0 h 99"/>
                  <a:gd name="T40" fmla="*/ 11 w 111"/>
                  <a:gd name="T41" fmla="*/ 5 h 99"/>
                  <a:gd name="T42" fmla="*/ 11 w 111"/>
                  <a:gd name="T43" fmla="*/ 5 h 99"/>
                  <a:gd name="T44" fmla="*/ 10 w 111"/>
                  <a:gd name="T45" fmla="*/ 7 h 99"/>
                  <a:gd name="T46" fmla="*/ 10 w 111"/>
                  <a:gd name="T47" fmla="*/ 7 h 99"/>
                  <a:gd name="T48" fmla="*/ 9 w 111"/>
                  <a:gd name="T49" fmla="*/ 9 h 99"/>
                  <a:gd name="T50" fmla="*/ 9 w 111"/>
                  <a:gd name="T51" fmla="*/ 9 h 99"/>
                  <a:gd name="T52" fmla="*/ 9 w 111"/>
                  <a:gd name="T53" fmla="*/ 11 h 99"/>
                  <a:gd name="T54" fmla="*/ 9 w 111"/>
                  <a:gd name="T55" fmla="*/ 12 h 99"/>
                  <a:gd name="T56" fmla="*/ 8 w 111"/>
                  <a:gd name="T57" fmla="*/ 13 h 99"/>
                  <a:gd name="T58" fmla="*/ 8 w 111"/>
                  <a:gd name="T59" fmla="*/ 14 h 99"/>
                  <a:gd name="T60" fmla="*/ 8 w 111"/>
                  <a:gd name="T61" fmla="*/ 16 h 99"/>
                  <a:gd name="T62" fmla="*/ 8 w 111"/>
                  <a:gd name="T63" fmla="*/ 23 h 99"/>
                  <a:gd name="T64" fmla="*/ 7 w 111"/>
                  <a:gd name="T65" fmla="*/ 23 h 99"/>
                  <a:gd name="T66" fmla="*/ 0 w 111"/>
                  <a:gd name="T67" fmla="*/ 31 h 99"/>
                  <a:gd name="T68" fmla="*/ 0 w 111"/>
                  <a:gd name="T69" fmla="*/ 49 h 99"/>
                  <a:gd name="T70" fmla="*/ 8 w 111"/>
                  <a:gd name="T71" fmla="*/ 57 h 99"/>
                  <a:gd name="T72" fmla="*/ 34 w 111"/>
                  <a:gd name="T73" fmla="*/ 99 h 99"/>
                  <a:gd name="T74" fmla="*/ 77 w 111"/>
                  <a:gd name="T75" fmla="*/ 99 h 99"/>
                  <a:gd name="T76" fmla="*/ 103 w 111"/>
                  <a:gd name="T77" fmla="*/ 57 h 99"/>
                  <a:gd name="T78" fmla="*/ 111 w 111"/>
                  <a:gd name="T79" fmla="*/ 49 h 99"/>
                  <a:gd name="T80" fmla="*/ 111 w 111"/>
                  <a:gd name="T81" fmla="*/ 31 h 99"/>
                  <a:gd name="T82" fmla="*/ 106 w 111"/>
                  <a:gd name="T83"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99">
                    <a:moveTo>
                      <a:pt x="106" y="24"/>
                    </a:moveTo>
                    <a:cubicBezTo>
                      <a:pt x="105" y="23"/>
                      <a:pt x="104" y="23"/>
                      <a:pt x="103" y="23"/>
                    </a:cubicBezTo>
                    <a:cubicBezTo>
                      <a:pt x="103" y="16"/>
                      <a:pt x="103" y="16"/>
                      <a:pt x="103" y="16"/>
                    </a:cubicBezTo>
                    <a:cubicBezTo>
                      <a:pt x="103" y="16"/>
                      <a:pt x="103" y="15"/>
                      <a:pt x="103" y="14"/>
                    </a:cubicBezTo>
                    <a:cubicBezTo>
                      <a:pt x="103" y="14"/>
                      <a:pt x="103" y="14"/>
                      <a:pt x="103" y="13"/>
                    </a:cubicBezTo>
                    <a:cubicBezTo>
                      <a:pt x="103" y="13"/>
                      <a:pt x="103" y="13"/>
                      <a:pt x="102" y="12"/>
                    </a:cubicBezTo>
                    <a:cubicBezTo>
                      <a:pt x="102" y="12"/>
                      <a:pt x="102" y="12"/>
                      <a:pt x="102" y="11"/>
                    </a:cubicBezTo>
                    <a:cubicBezTo>
                      <a:pt x="102" y="11"/>
                      <a:pt x="102" y="11"/>
                      <a:pt x="102" y="10"/>
                    </a:cubicBezTo>
                    <a:cubicBezTo>
                      <a:pt x="102" y="10"/>
                      <a:pt x="102" y="10"/>
                      <a:pt x="102" y="9"/>
                    </a:cubicBezTo>
                    <a:cubicBezTo>
                      <a:pt x="102" y="9"/>
                      <a:pt x="102" y="9"/>
                      <a:pt x="102" y="9"/>
                    </a:cubicBezTo>
                    <a:cubicBezTo>
                      <a:pt x="101" y="8"/>
                      <a:pt x="101" y="7"/>
                      <a:pt x="101" y="6"/>
                    </a:cubicBezTo>
                    <a:cubicBezTo>
                      <a:pt x="100" y="6"/>
                      <a:pt x="100" y="6"/>
                      <a:pt x="100" y="6"/>
                    </a:cubicBezTo>
                    <a:cubicBezTo>
                      <a:pt x="100" y="5"/>
                      <a:pt x="100" y="5"/>
                      <a:pt x="100" y="5"/>
                    </a:cubicBezTo>
                    <a:cubicBezTo>
                      <a:pt x="100" y="5"/>
                      <a:pt x="100" y="4"/>
                      <a:pt x="99" y="4"/>
                    </a:cubicBezTo>
                    <a:cubicBezTo>
                      <a:pt x="99" y="4"/>
                      <a:pt x="99" y="3"/>
                      <a:pt x="99" y="3"/>
                    </a:cubicBezTo>
                    <a:cubicBezTo>
                      <a:pt x="99" y="3"/>
                      <a:pt x="99" y="3"/>
                      <a:pt x="99" y="3"/>
                    </a:cubicBezTo>
                    <a:cubicBezTo>
                      <a:pt x="96" y="4"/>
                      <a:pt x="93" y="4"/>
                      <a:pt x="90" y="4"/>
                    </a:cubicBezTo>
                    <a:cubicBezTo>
                      <a:pt x="83" y="4"/>
                      <a:pt x="78" y="2"/>
                      <a:pt x="74" y="0"/>
                    </a:cubicBezTo>
                    <a:cubicBezTo>
                      <a:pt x="67" y="2"/>
                      <a:pt x="57" y="4"/>
                      <a:pt x="45" y="4"/>
                    </a:cubicBezTo>
                    <a:cubicBezTo>
                      <a:pt x="33" y="4"/>
                      <a:pt x="22" y="2"/>
                      <a:pt x="15" y="0"/>
                    </a:cubicBezTo>
                    <a:cubicBezTo>
                      <a:pt x="14" y="1"/>
                      <a:pt x="12" y="3"/>
                      <a:pt x="11" y="5"/>
                    </a:cubicBezTo>
                    <a:cubicBezTo>
                      <a:pt x="11" y="5"/>
                      <a:pt x="11" y="5"/>
                      <a:pt x="11" y="5"/>
                    </a:cubicBezTo>
                    <a:cubicBezTo>
                      <a:pt x="11" y="6"/>
                      <a:pt x="10" y="6"/>
                      <a:pt x="10" y="7"/>
                    </a:cubicBezTo>
                    <a:cubicBezTo>
                      <a:pt x="10" y="7"/>
                      <a:pt x="10" y="7"/>
                      <a:pt x="10" y="7"/>
                    </a:cubicBezTo>
                    <a:cubicBezTo>
                      <a:pt x="10" y="8"/>
                      <a:pt x="10" y="8"/>
                      <a:pt x="9" y="9"/>
                    </a:cubicBezTo>
                    <a:cubicBezTo>
                      <a:pt x="9" y="9"/>
                      <a:pt x="9" y="9"/>
                      <a:pt x="9" y="9"/>
                    </a:cubicBezTo>
                    <a:cubicBezTo>
                      <a:pt x="9" y="10"/>
                      <a:pt x="9" y="11"/>
                      <a:pt x="9" y="11"/>
                    </a:cubicBezTo>
                    <a:cubicBezTo>
                      <a:pt x="9" y="11"/>
                      <a:pt x="9" y="11"/>
                      <a:pt x="9" y="12"/>
                    </a:cubicBezTo>
                    <a:cubicBezTo>
                      <a:pt x="8" y="12"/>
                      <a:pt x="8" y="13"/>
                      <a:pt x="8" y="13"/>
                    </a:cubicBezTo>
                    <a:cubicBezTo>
                      <a:pt x="8" y="14"/>
                      <a:pt x="8" y="14"/>
                      <a:pt x="8" y="14"/>
                    </a:cubicBezTo>
                    <a:cubicBezTo>
                      <a:pt x="8" y="15"/>
                      <a:pt x="8" y="16"/>
                      <a:pt x="8" y="16"/>
                    </a:cubicBezTo>
                    <a:cubicBezTo>
                      <a:pt x="8" y="23"/>
                      <a:pt x="8" y="23"/>
                      <a:pt x="8" y="23"/>
                    </a:cubicBezTo>
                    <a:cubicBezTo>
                      <a:pt x="8" y="23"/>
                      <a:pt x="7" y="23"/>
                      <a:pt x="7" y="23"/>
                    </a:cubicBezTo>
                    <a:cubicBezTo>
                      <a:pt x="3" y="24"/>
                      <a:pt x="0" y="27"/>
                      <a:pt x="0" y="31"/>
                    </a:cubicBezTo>
                    <a:cubicBezTo>
                      <a:pt x="0" y="49"/>
                      <a:pt x="0" y="49"/>
                      <a:pt x="0" y="49"/>
                    </a:cubicBezTo>
                    <a:cubicBezTo>
                      <a:pt x="0" y="53"/>
                      <a:pt x="4" y="57"/>
                      <a:pt x="8" y="57"/>
                    </a:cubicBezTo>
                    <a:cubicBezTo>
                      <a:pt x="8" y="57"/>
                      <a:pt x="22" y="99"/>
                      <a:pt x="34" y="99"/>
                    </a:cubicBezTo>
                    <a:cubicBezTo>
                      <a:pt x="77" y="99"/>
                      <a:pt x="77" y="99"/>
                      <a:pt x="77" y="99"/>
                    </a:cubicBezTo>
                    <a:cubicBezTo>
                      <a:pt x="89" y="99"/>
                      <a:pt x="103" y="57"/>
                      <a:pt x="103" y="57"/>
                    </a:cubicBezTo>
                    <a:cubicBezTo>
                      <a:pt x="107" y="57"/>
                      <a:pt x="111" y="53"/>
                      <a:pt x="111" y="49"/>
                    </a:cubicBezTo>
                    <a:cubicBezTo>
                      <a:pt x="111" y="31"/>
                      <a:pt x="111" y="31"/>
                      <a:pt x="111" y="31"/>
                    </a:cubicBezTo>
                    <a:cubicBezTo>
                      <a:pt x="111" y="28"/>
                      <a:pt x="109" y="25"/>
                      <a:pt x="106"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4" name="Freeform 20"/>
              <p:cNvSpPr>
                <a:spLocks noEditPoints="1"/>
              </p:cNvSpPr>
              <p:nvPr/>
            </p:nvSpPr>
            <p:spPr bwMode="auto">
              <a:xfrm>
                <a:off x="10450513" y="2552700"/>
                <a:ext cx="207963" cy="100013"/>
              </a:xfrm>
              <a:custGeom>
                <a:avLst/>
                <a:gdLst>
                  <a:gd name="T0" fmla="*/ 92 w 93"/>
                  <a:gd name="T1" fmla="*/ 21 h 45"/>
                  <a:gd name="T2" fmla="*/ 69 w 93"/>
                  <a:gd name="T3" fmla="*/ 15 h 45"/>
                  <a:gd name="T4" fmla="*/ 46 w 93"/>
                  <a:gd name="T5" fmla="*/ 14 h 45"/>
                  <a:gd name="T6" fmla="*/ 25 w 93"/>
                  <a:gd name="T7" fmla="*/ 4 h 45"/>
                  <a:gd name="T8" fmla="*/ 1 w 93"/>
                  <a:gd name="T9" fmla="*/ 0 h 45"/>
                  <a:gd name="T10" fmla="*/ 0 w 93"/>
                  <a:gd name="T11" fmla="*/ 3 h 45"/>
                  <a:gd name="T12" fmla="*/ 2 w 93"/>
                  <a:gd name="T13" fmla="*/ 7 h 45"/>
                  <a:gd name="T14" fmla="*/ 3 w 93"/>
                  <a:gd name="T15" fmla="*/ 15 h 45"/>
                  <a:gd name="T16" fmla="*/ 22 w 93"/>
                  <a:gd name="T17" fmla="*/ 32 h 45"/>
                  <a:gd name="T18" fmla="*/ 41 w 93"/>
                  <a:gd name="T19" fmla="*/ 20 h 45"/>
                  <a:gd name="T20" fmla="*/ 45 w 93"/>
                  <a:gd name="T21" fmla="*/ 19 h 45"/>
                  <a:gd name="T22" fmla="*/ 48 w 93"/>
                  <a:gd name="T23" fmla="*/ 21 h 45"/>
                  <a:gd name="T24" fmla="*/ 59 w 93"/>
                  <a:gd name="T25" fmla="*/ 41 h 45"/>
                  <a:gd name="T26" fmla="*/ 83 w 93"/>
                  <a:gd name="T27" fmla="*/ 34 h 45"/>
                  <a:gd name="T28" fmla="*/ 88 w 93"/>
                  <a:gd name="T29" fmla="*/ 27 h 45"/>
                  <a:gd name="T30" fmla="*/ 91 w 93"/>
                  <a:gd name="T31" fmla="*/ 24 h 45"/>
                  <a:gd name="T32" fmla="*/ 92 w 93"/>
                  <a:gd name="T33" fmla="*/ 21 h 45"/>
                  <a:gd name="T34" fmla="*/ 31 w 93"/>
                  <a:gd name="T35" fmla="*/ 27 h 45"/>
                  <a:gd name="T36" fmla="*/ 13 w 93"/>
                  <a:gd name="T37" fmla="*/ 28 h 45"/>
                  <a:gd name="T38" fmla="*/ 7 w 93"/>
                  <a:gd name="T39" fmla="*/ 9 h 45"/>
                  <a:gd name="T40" fmla="*/ 25 w 93"/>
                  <a:gd name="T41" fmla="*/ 6 h 45"/>
                  <a:gd name="T42" fmla="*/ 36 w 93"/>
                  <a:gd name="T43" fmla="*/ 12 h 45"/>
                  <a:gd name="T44" fmla="*/ 31 w 93"/>
                  <a:gd name="T45" fmla="*/ 27 h 45"/>
                  <a:gd name="T46" fmla="*/ 68 w 93"/>
                  <a:gd name="T47" fmla="*/ 41 h 45"/>
                  <a:gd name="T48" fmla="*/ 53 w 93"/>
                  <a:gd name="T49" fmla="*/ 33 h 45"/>
                  <a:gd name="T50" fmla="*/ 56 w 93"/>
                  <a:gd name="T51" fmla="*/ 17 h 45"/>
                  <a:gd name="T52" fmla="*/ 68 w 93"/>
                  <a:gd name="T53" fmla="*/ 17 h 45"/>
                  <a:gd name="T54" fmla="*/ 83 w 93"/>
                  <a:gd name="T55" fmla="*/ 27 h 45"/>
                  <a:gd name="T56" fmla="*/ 68 w 93"/>
                  <a:gd name="T57"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45">
                    <a:moveTo>
                      <a:pt x="92" y="21"/>
                    </a:moveTo>
                    <a:cubicBezTo>
                      <a:pt x="92" y="21"/>
                      <a:pt x="79" y="16"/>
                      <a:pt x="69" y="15"/>
                    </a:cubicBezTo>
                    <a:cubicBezTo>
                      <a:pt x="59" y="14"/>
                      <a:pt x="50" y="15"/>
                      <a:pt x="46" y="14"/>
                    </a:cubicBezTo>
                    <a:cubicBezTo>
                      <a:pt x="41" y="13"/>
                      <a:pt x="34" y="8"/>
                      <a:pt x="25" y="4"/>
                    </a:cubicBezTo>
                    <a:cubicBezTo>
                      <a:pt x="15" y="1"/>
                      <a:pt x="1" y="0"/>
                      <a:pt x="1" y="0"/>
                    </a:cubicBezTo>
                    <a:cubicBezTo>
                      <a:pt x="0" y="0"/>
                      <a:pt x="0" y="1"/>
                      <a:pt x="0" y="3"/>
                    </a:cubicBezTo>
                    <a:cubicBezTo>
                      <a:pt x="0" y="4"/>
                      <a:pt x="0" y="5"/>
                      <a:pt x="2" y="7"/>
                    </a:cubicBezTo>
                    <a:cubicBezTo>
                      <a:pt x="4" y="8"/>
                      <a:pt x="3" y="15"/>
                      <a:pt x="3" y="15"/>
                    </a:cubicBezTo>
                    <a:cubicBezTo>
                      <a:pt x="3" y="26"/>
                      <a:pt x="10" y="31"/>
                      <a:pt x="22" y="32"/>
                    </a:cubicBezTo>
                    <a:cubicBezTo>
                      <a:pt x="34" y="33"/>
                      <a:pt x="39" y="21"/>
                      <a:pt x="41" y="20"/>
                    </a:cubicBezTo>
                    <a:cubicBezTo>
                      <a:pt x="43" y="18"/>
                      <a:pt x="45" y="19"/>
                      <a:pt x="45" y="19"/>
                    </a:cubicBezTo>
                    <a:cubicBezTo>
                      <a:pt x="45" y="19"/>
                      <a:pt x="47" y="19"/>
                      <a:pt x="48" y="21"/>
                    </a:cubicBezTo>
                    <a:cubicBezTo>
                      <a:pt x="49" y="23"/>
                      <a:pt x="48" y="36"/>
                      <a:pt x="59" y="41"/>
                    </a:cubicBezTo>
                    <a:cubicBezTo>
                      <a:pt x="70" y="45"/>
                      <a:pt x="79" y="44"/>
                      <a:pt x="83" y="34"/>
                    </a:cubicBezTo>
                    <a:cubicBezTo>
                      <a:pt x="83" y="34"/>
                      <a:pt x="85" y="28"/>
                      <a:pt x="88" y="27"/>
                    </a:cubicBezTo>
                    <a:cubicBezTo>
                      <a:pt x="90" y="27"/>
                      <a:pt x="90" y="26"/>
                      <a:pt x="91" y="24"/>
                    </a:cubicBezTo>
                    <a:cubicBezTo>
                      <a:pt x="92" y="23"/>
                      <a:pt x="93" y="22"/>
                      <a:pt x="92" y="21"/>
                    </a:cubicBezTo>
                    <a:close/>
                    <a:moveTo>
                      <a:pt x="31" y="27"/>
                    </a:moveTo>
                    <a:cubicBezTo>
                      <a:pt x="27" y="31"/>
                      <a:pt x="21" y="31"/>
                      <a:pt x="13" y="28"/>
                    </a:cubicBezTo>
                    <a:cubicBezTo>
                      <a:pt x="6" y="25"/>
                      <a:pt x="4" y="19"/>
                      <a:pt x="7" y="9"/>
                    </a:cubicBezTo>
                    <a:cubicBezTo>
                      <a:pt x="9" y="0"/>
                      <a:pt x="25" y="6"/>
                      <a:pt x="25" y="6"/>
                    </a:cubicBezTo>
                    <a:cubicBezTo>
                      <a:pt x="31" y="9"/>
                      <a:pt x="31" y="9"/>
                      <a:pt x="36" y="12"/>
                    </a:cubicBezTo>
                    <a:cubicBezTo>
                      <a:pt x="40" y="15"/>
                      <a:pt x="35" y="24"/>
                      <a:pt x="31" y="27"/>
                    </a:cubicBezTo>
                    <a:close/>
                    <a:moveTo>
                      <a:pt x="68" y="41"/>
                    </a:moveTo>
                    <a:cubicBezTo>
                      <a:pt x="61" y="40"/>
                      <a:pt x="55" y="37"/>
                      <a:pt x="53" y="33"/>
                    </a:cubicBezTo>
                    <a:cubicBezTo>
                      <a:pt x="51" y="28"/>
                      <a:pt x="50" y="18"/>
                      <a:pt x="56" y="17"/>
                    </a:cubicBezTo>
                    <a:cubicBezTo>
                      <a:pt x="61" y="16"/>
                      <a:pt x="61" y="16"/>
                      <a:pt x="68" y="17"/>
                    </a:cubicBezTo>
                    <a:cubicBezTo>
                      <a:pt x="68" y="17"/>
                      <a:pt x="85" y="18"/>
                      <a:pt x="83" y="27"/>
                    </a:cubicBezTo>
                    <a:cubicBezTo>
                      <a:pt x="80" y="37"/>
                      <a:pt x="76" y="42"/>
                      <a:pt x="6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5" name="Freeform 21"/>
              <p:cNvSpPr>
                <a:spLocks/>
              </p:cNvSpPr>
              <p:nvPr/>
            </p:nvSpPr>
            <p:spPr bwMode="auto">
              <a:xfrm>
                <a:off x="10455275" y="2554288"/>
                <a:ext cx="6350" cy="7938"/>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3"/>
                      <a:pt x="2" y="3"/>
                      <a:pt x="1" y="3"/>
                    </a:cubicBezTo>
                    <a:cubicBezTo>
                      <a:pt x="0" y="3"/>
                      <a:pt x="0" y="2"/>
                      <a:pt x="0" y="1"/>
                    </a:cubicBezTo>
                    <a:cubicBezTo>
                      <a:pt x="0" y="1"/>
                      <a:pt x="1" y="0"/>
                      <a:pt x="2" y="0"/>
                    </a:cubicBezTo>
                    <a:cubicBezTo>
                      <a:pt x="2" y="1"/>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6" name="Freeform 22"/>
              <p:cNvSpPr>
                <a:spLocks/>
              </p:cNvSpPr>
              <p:nvPr/>
            </p:nvSpPr>
            <p:spPr bwMode="auto">
              <a:xfrm>
                <a:off x="10644188" y="2601913"/>
                <a:ext cx="6350" cy="6350"/>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3" y="2"/>
                      <a:pt x="2" y="3"/>
                      <a:pt x="1" y="3"/>
                    </a:cubicBezTo>
                    <a:cubicBezTo>
                      <a:pt x="0" y="2"/>
                      <a:pt x="0" y="2"/>
                      <a:pt x="0" y="1"/>
                    </a:cubicBezTo>
                    <a:cubicBezTo>
                      <a:pt x="0" y="0"/>
                      <a:pt x="1" y="0"/>
                      <a:pt x="2" y="0"/>
                    </a:cubicBezTo>
                    <a:cubicBezTo>
                      <a:pt x="3" y="0"/>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7" name="Rectangle 23"/>
              <p:cNvSpPr>
                <a:spLocks noChangeArrowheads="1"/>
              </p:cNvSpPr>
              <p:nvPr/>
            </p:nvSpPr>
            <p:spPr bwMode="auto">
              <a:xfrm>
                <a:off x="10247313" y="2632075"/>
                <a:ext cx="312738" cy="1000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8" name="Freeform 24"/>
              <p:cNvSpPr>
                <a:spLocks/>
              </p:cNvSpPr>
              <p:nvPr/>
            </p:nvSpPr>
            <p:spPr bwMode="auto">
              <a:xfrm>
                <a:off x="10328275" y="2601913"/>
                <a:ext cx="96838"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9" name="Freeform 25"/>
              <p:cNvSpPr>
                <a:spLocks/>
              </p:cNvSpPr>
              <p:nvPr/>
            </p:nvSpPr>
            <p:spPr bwMode="auto">
              <a:xfrm>
                <a:off x="10477500" y="2601913"/>
                <a:ext cx="95250"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0" name="Rectangle 26"/>
              <p:cNvSpPr>
                <a:spLocks noChangeArrowheads="1"/>
              </p:cNvSpPr>
              <p:nvPr/>
            </p:nvSpPr>
            <p:spPr bwMode="auto">
              <a:xfrm>
                <a:off x="10377488" y="2601913"/>
                <a:ext cx="14922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1" name="Freeform 27"/>
              <p:cNvSpPr>
                <a:spLocks/>
              </p:cNvSpPr>
              <p:nvPr/>
            </p:nvSpPr>
            <p:spPr bwMode="auto">
              <a:xfrm>
                <a:off x="10653713" y="1166813"/>
                <a:ext cx="460375" cy="614363"/>
              </a:xfrm>
              <a:custGeom>
                <a:avLst/>
                <a:gdLst>
                  <a:gd name="T0" fmla="*/ 203 w 290"/>
                  <a:gd name="T1" fmla="*/ 3 h 387"/>
                  <a:gd name="T2" fmla="*/ 148 w 290"/>
                  <a:gd name="T3" fmla="*/ 47 h 387"/>
                  <a:gd name="T4" fmla="*/ 92 w 290"/>
                  <a:gd name="T5" fmla="*/ 0 h 387"/>
                  <a:gd name="T6" fmla="*/ 0 w 290"/>
                  <a:gd name="T7" fmla="*/ 18 h 387"/>
                  <a:gd name="T8" fmla="*/ 35 w 290"/>
                  <a:gd name="T9" fmla="*/ 387 h 387"/>
                  <a:gd name="T10" fmla="*/ 250 w 290"/>
                  <a:gd name="T11" fmla="*/ 387 h 387"/>
                  <a:gd name="T12" fmla="*/ 290 w 290"/>
                  <a:gd name="T13" fmla="*/ 14 h 387"/>
                  <a:gd name="T14" fmla="*/ 203 w 290"/>
                  <a:gd name="T15" fmla="*/ 3 h 3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387">
                    <a:moveTo>
                      <a:pt x="203" y="3"/>
                    </a:moveTo>
                    <a:lnTo>
                      <a:pt x="148" y="47"/>
                    </a:lnTo>
                    <a:lnTo>
                      <a:pt x="92" y="0"/>
                    </a:lnTo>
                    <a:lnTo>
                      <a:pt x="0" y="18"/>
                    </a:lnTo>
                    <a:lnTo>
                      <a:pt x="35" y="387"/>
                    </a:lnTo>
                    <a:lnTo>
                      <a:pt x="250" y="387"/>
                    </a:lnTo>
                    <a:lnTo>
                      <a:pt x="290" y="14"/>
                    </a:lnTo>
                    <a:lnTo>
                      <a:pt x="203" y="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2" name="Freeform 28"/>
              <p:cNvSpPr>
                <a:spLocks/>
              </p:cNvSpPr>
              <p:nvPr/>
            </p:nvSpPr>
            <p:spPr bwMode="auto">
              <a:xfrm>
                <a:off x="10709275" y="1781175"/>
                <a:ext cx="341313" cy="182563"/>
              </a:xfrm>
              <a:custGeom>
                <a:avLst/>
                <a:gdLst>
                  <a:gd name="T0" fmla="*/ 154 w 154"/>
                  <a:gd name="T1" fmla="*/ 0 h 82"/>
                  <a:gd name="T2" fmla="*/ 0 w 154"/>
                  <a:gd name="T3" fmla="*/ 0 h 82"/>
                  <a:gd name="T4" fmla="*/ 60 w 154"/>
                  <a:gd name="T5" fmla="*/ 70 h 82"/>
                  <a:gd name="T6" fmla="*/ 79 w 154"/>
                  <a:gd name="T7" fmla="*/ 82 h 82"/>
                  <a:gd name="T8" fmla="*/ 98 w 154"/>
                  <a:gd name="T9" fmla="*/ 70 h 82"/>
                  <a:gd name="T10" fmla="*/ 154 w 154"/>
                  <a:gd name="T11" fmla="*/ 0 h 82"/>
                </a:gdLst>
                <a:ahLst/>
                <a:cxnLst>
                  <a:cxn ang="0">
                    <a:pos x="T0" y="T1"/>
                  </a:cxn>
                  <a:cxn ang="0">
                    <a:pos x="T2" y="T3"/>
                  </a:cxn>
                  <a:cxn ang="0">
                    <a:pos x="T4" y="T5"/>
                  </a:cxn>
                  <a:cxn ang="0">
                    <a:pos x="T6" y="T7"/>
                  </a:cxn>
                  <a:cxn ang="0">
                    <a:pos x="T8" y="T9"/>
                  </a:cxn>
                  <a:cxn ang="0">
                    <a:pos x="T10" y="T11"/>
                  </a:cxn>
                </a:cxnLst>
                <a:rect l="0" t="0" r="r" b="b"/>
                <a:pathLst>
                  <a:path w="154" h="82">
                    <a:moveTo>
                      <a:pt x="154" y="0"/>
                    </a:moveTo>
                    <a:cubicBezTo>
                      <a:pt x="0" y="0"/>
                      <a:pt x="0" y="0"/>
                      <a:pt x="0" y="0"/>
                    </a:cubicBezTo>
                    <a:cubicBezTo>
                      <a:pt x="60" y="70"/>
                      <a:pt x="60" y="70"/>
                      <a:pt x="60" y="70"/>
                    </a:cubicBezTo>
                    <a:cubicBezTo>
                      <a:pt x="63" y="77"/>
                      <a:pt x="71" y="82"/>
                      <a:pt x="79" y="82"/>
                    </a:cubicBezTo>
                    <a:cubicBezTo>
                      <a:pt x="87" y="82"/>
                      <a:pt x="94" y="77"/>
                      <a:pt x="98" y="70"/>
                    </a:cubicBez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3" name="Rectangle 29"/>
              <p:cNvSpPr>
                <a:spLocks noChangeArrowheads="1"/>
              </p:cNvSpPr>
              <p:nvPr/>
            </p:nvSpPr>
            <p:spPr bwMode="auto">
              <a:xfrm>
                <a:off x="10836275" y="1411288"/>
                <a:ext cx="22225"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4" name="Freeform 30"/>
              <p:cNvSpPr>
                <a:spLocks/>
              </p:cNvSpPr>
              <p:nvPr/>
            </p:nvSpPr>
            <p:spPr bwMode="auto">
              <a:xfrm>
                <a:off x="10872788" y="1411288"/>
                <a:ext cx="85725" cy="106363"/>
              </a:xfrm>
              <a:custGeom>
                <a:avLst/>
                <a:gdLst>
                  <a:gd name="T0" fmla="*/ 54 w 54"/>
                  <a:gd name="T1" fmla="*/ 11 h 67"/>
                  <a:gd name="T2" fmla="*/ 34 w 54"/>
                  <a:gd name="T3" fmla="*/ 11 h 67"/>
                  <a:gd name="T4" fmla="*/ 34 w 54"/>
                  <a:gd name="T5" fmla="*/ 67 h 67"/>
                  <a:gd name="T6" fmla="*/ 20 w 54"/>
                  <a:gd name="T7" fmla="*/ 67 h 67"/>
                  <a:gd name="T8" fmla="*/ 20 w 54"/>
                  <a:gd name="T9" fmla="*/ 11 h 67"/>
                  <a:gd name="T10" fmla="*/ 0 w 54"/>
                  <a:gd name="T11" fmla="*/ 11 h 67"/>
                  <a:gd name="T12" fmla="*/ 0 w 54"/>
                  <a:gd name="T13" fmla="*/ 0 h 67"/>
                  <a:gd name="T14" fmla="*/ 54 w 54"/>
                  <a:gd name="T15" fmla="*/ 0 h 67"/>
                  <a:gd name="T16" fmla="*/ 54 w 54"/>
                  <a:gd name="T17"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7">
                    <a:moveTo>
                      <a:pt x="54" y="11"/>
                    </a:moveTo>
                    <a:lnTo>
                      <a:pt x="34" y="11"/>
                    </a:lnTo>
                    <a:lnTo>
                      <a:pt x="34" y="67"/>
                    </a:lnTo>
                    <a:lnTo>
                      <a:pt x="20" y="67"/>
                    </a:lnTo>
                    <a:lnTo>
                      <a:pt x="20" y="11"/>
                    </a:lnTo>
                    <a:lnTo>
                      <a:pt x="0" y="11"/>
                    </a:lnTo>
                    <a:lnTo>
                      <a:pt x="0" y="0"/>
                    </a:lnTo>
                    <a:lnTo>
                      <a:pt x="54" y="0"/>
                    </a:lnTo>
                    <a:lnTo>
                      <a:pt x="5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5" name="Freeform 31"/>
              <p:cNvSpPr>
                <a:spLocks noEditPoints="1"/>
              </p:cNvSpPr>
              <p:nvPr/>
            </p:nvSpPr>
            <p:spPr bwMode="auto">
              <a:xfrm>
                <a:off x="10769600" y="1323975"/>
                <a:ext cx="241300" cy="277813"/>
              </a:xfrm>
              <a:custGeom>
                <a:avLst/>
                <a:gdLst>
                  <a:gd name="T0" fmla="*/ 75 w 152"/>
                  <a:gd name="T1" fmla="*/ 0 h 175"/>
                  <a:gd name="T2" fmla="*/ 0 w 152"/>
                  <a:gd name="T3" fmla="*/ 44 h 175"/>
                  <a:gd name="T4" fmla="*/ 0 w 152"/>
                  <a:gd name="T5" fmla="*/ 132 h 175"/>
                  <a:gd name="T6" fmla="*/ 77 w 152"/>
                  <a:gd name="T7" fmla="*/ 175 h 175"/>
                  <a:gd name="T8" fmla="*/ 152 w 152"/>
                  <a:gd name="T9" fmla="*/ 132 h 175"/>
                  <a:gd name="T10" fmla="*/ 152 w 152"/>
                  <a:gd name="T11" fmla="*/ 44 h 175"/>
                  <a:gd name="T12" fmla="*/ 75 w 152"/>
                  <a:gd name="T13" fmla="*/ 0 h 175"/>
                  <a:gd name="T14" fmla="*/ 141 w 152"/>
                  <a:gd name="T15" fmla="*/ 125 h 175"/>
                  <a:gd name="T16" fmla="*/ 77 w 152"/>
                  <a:gd name="T17" fmla="*/ 163 h 175"/>
                  <a:gd name="T18" fmla="*/ 11 w 152"/>
                  <a:gd name="T19" fmla="*/ 125 h 175"/>
                  <a:gd name="T20" fmla="*/ 11 w 152"/>
                  <a:gd name="T21" fmla="*/ 51 h 175"/>
                  <a:gd name="T22" fmla="*/ 75 w 152"/>
                  <a:gd name="T23" fmla="*/ 13 h 175"/>
                  <a:gd name="T24" fmla="*/ 141 w 152"/>
                  <a:gd name="T25" fmla="*/ 51 h 175"/>
                  <a:gd name="T26" fmla="*/ 141 w 152"/>
                  <a:gd name="T27" fmla="*/ 1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75">
                    <a:moveTo>
                      <a:pt x="75" y="0"/>
                    </a:moveTo>
                    <a:lnTo>
                      <a:pt x="0" y="44"/>
                    </a:lnTo>
                    <a:lnTo>
                      <a:pt x="0" y="132"/>
                    </a:lnTo>
                    <a:lnTo>
                      <a:pt x="77" y="175"/>
                    </a:lnTo>
                    <a:lnTo>
                      <a:pt x="152" y="132"/>
                    </a:lnTo>
                    <a:lnTo>
                      <a:pt x="152" y="44"/>
                    </a:lnTo>
                    <a:lnTo>
                      <a:pt x="75" y="0"/>
                    </a:lnTo>
                    <a:close/>
                    <a:moveTo>
                      <a:pt x="141" y="125"/>
                    </a:moveTo>
                    <a:lnTo>
                      <a:pt x="77" y="163"/>
                    </a:lnTo>
                    <a:lnTo>
                      <a:pt x="11" y="125"/>
                    </a:lnTo>
                    <a:lnTo>
                      <a:pt x="11" y="51"/>
                    </a:lnTo>
                    <a:lnTo>
                      <a:pt x="75" y="13"/>
                    </a:lnTo>
                    <a:lnTo>
                      <a:pt x="141" y="51"/>
                    </a:lnTo>
                    <a:lnTo>
                      <a:pt x="141"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6" name="Rectangle 32"/>
              <p:cNvSpPr>
                <a:spLocks noChangeArrowheads="1"/>
              </p:cNvSpPr>
              <p:nvPr/>
            </p:nvSpPr>
            <p:spPr bwMode="auto">
              <a:xfrm>
                <a:off x="10694988" y="1758950"/>
                <a:ext cx="374650" cy="53975"/>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7" name="Freeform 33"/>
              <p:cNvSpPr>
                <a:spLocks/>
              </p:cNvSpPr>
              <p:nvPr/>
            </p:nvSpPr>
            <p:spPr bwMode="auto">
              <a:xfrm>
                <a:off x="10847388" y="1736725"/>
                <a:ext cx="85725" cy="100013"/>
              </a:xfrm>
              <a:custGeom>
                <a:avLst/>
                <a:gdLst>
                  <a:gd name="T0" fmla="*/ 28 w 54"/>
                  <a:gd name="T1" fmla="*/ 0 h 63"/>
                  <a:gd name="T2" fmla="*/ 0 w 54"/>
                  <a:gd name="T3" fmla="*/ 16 h 63"/>
                  <a:gd name="T4" fmla="*/ 0 w 54"/>
                  <a:gd name="T5" fmla="*/ 48 h 63"/>
                  <a:gd name="T6" fmla="*/ 28 w 54"/>
                  <a:gd name="T7" fmla="*/ 63 h 63"/>
                  <a:gd name="T8" fmla="*/ 54 w 54"/>
                  <a:gd name="T9" fmla="*/ 48 h 63"/>
                  <a:gd name="T10" fmla="*/ 54 w 54"/>
                  <a:gd name="T11" fmla="*/ 16 h 63"/>
                  <a:gd name="T12" fmla="*/ 28 w 54"/>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54" h="63">
                    <a:moveTo>
                      <a:pt x="28" y="0"/>
                    </a:moveTo>
                    <a:lnTo>
                      <a:pt x="0" y="16"/>
                    </a:lnTo>
                    <a:lnTo>
                      <a:pt x="0" y="48"/>
                    </a:lnTo>
                    <a:lnTo>
                      <a:pt x="28" y="63"/>
                    </a:lnTo>
                    <a:lnTo>
                      <a:pt x="54" y="48"/>
                    </a:lnTo>
                    <a:lnTo>
                      <a:pt x="54" y="16"/>
                    </a:lnTo>
                    <a:lnTo>
                      <a:pt x="28"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288" name="Picture 28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30764" y="4255447"/>
            <a:ext cx="605338" cy="398217"/>
          </a:xfrm>
          <a:prstGeom prst="rect">
            <a:avLst/>
          </a:prstGeom>
        </p:spPr>
      </p:pic>
      <p:sp>
        <p:nvSpPr>
          <p:cNvPr id="290" name="Freeform 7"/>
          <p:cNvSpPr>
            <a:spLocks/>
          </p:cNvSpPr>
          <p:nvPr/>
        </p:nvSpPr>
        <p:spPr bwMode="auto">
          <a:xfrm>
            <a:off x="3160147" y="4457140"/>
            <a:ext cx="662323" cy="434683"/>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ysClr val="window" lastClr="FFFFFF">
              <a:alpha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441"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0" name="Rectangle 179"/>
          <p:cNvSpPr/>
          <p:nvPr/>
        </p:nvSpPr>
        <p:spPr>
          <a:xfrm>
            <a:off x="3115310" y="4007747"/>
            <a:ext cx="1318631" cy="216854"/>
          </a:xfrm>
          <a:prstGeom prst="rect">
            <a:avLst/>
          </a:prstGeom>
        </p:spPr>
        <p:txBody>
          <a:bodyPr wrap="none">
            <a:spAutoFit/>
          </a:bodyPr>
          <a:lstStyle/>
          <a:p>
            <a:pPr marL="0" marR="0" lvl="0" indent="0" algn="l" defTabSz="672358" rtl="0" eaLnBrk="1" fontAlgn="auto" latinLnBrk="0" hangingPunct="1">
              <a:lnSpc>
                <a:spcPct val="100000"/>
              </a:lnSpc>
              <a:spcBef>
                <a:spcPts val="0"/>
              </a:spcBef>
              <a:spcAft>
                <a:spcPts val="0"/>
              </a:spcAft>
              <a:buClrTx/>
              <a:buSzTx/>
              <a:buFontTx/>
              <a:buNone/>
              <a:tabLst/>
              <a:defRPr/>
            </a:pPr>
            <a:r>
              <a:rPr kumimoji="0" lang="en-US" sz="809" b="0" i="0" u="none" strike="noStrike" kern="0" cap="none" spc="15"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Test Manager</a:t>
            </a:r>
            <a:endParaRPr kumimoji="0" lang="en-US" sz="1324" b="0" i="0" u="none" strike="noStrike" kern="0" cap="none" spc="15" normalizeH="0" baseline="0" noProof="0" dirty="0">
              <a:ln>
                <a:noFill/>
              </a:ln>
              <a:solidFill>
                <a:sysClr val="windowText" lastClr="000000"/>
              </a:solidFill>
              <a:effectLst/>
              <a:uLnTx/>
              <a:uFillTx/>
              <a:latin typeface="Calibri" panose="020F0502020204030204"/>
              <a:ea typeface="+mn-ea"/>
              <a:cs typeface="+mn-cs"/>
            </a:endParaRPr>
          </a:p>
        </p:txBody>
      </p:sp>
      <p:pic>
        <p:nvPicPr>
          <p:cNvPr id="305" name="Picture 304"/>
          <p:cNvPicPr>
            <a:picLocks noChangeAspect="1"/>
          </p:cNvPicPr>
          <p:nvPr/>
        </p:nvPicPr>
        <p:blipFill>
          <a:blip r:embed="rId9"/>
          <a:stretch>
            <a:fillRect/>
          </a:stretch>
        </p:blipFill>
        <p:spPr>
          <a:xfrm>
            <a:off x="3126464" y="3322912"/>
            <a:ext cx="1083256" cy="336343"/>
          </a:xfrm>
          <a:prstGeom prst="rect">
            <a:avLst/>
          </a:prstGeom>
        </p:spPr>
      </p:pic>
      <p:pic>
        <p:nvPicPr>
          <p:cNvPr id="306" name="Picture 305"/>
          <p:cNvPicPr>
            <a:picLocks noChangeAspect="1"/>
          </p:cNvPicPr>
          <p:nvPr/>
        </p:nvPicPr>
        <p:blipFill>
          <a:blip r:embed="rId10"/>
          <a:stretch>
            <a:fillRect/>
          </a:stretch>
        </p:blipFill>
        <p:spPr>
          <a:xfrm>
            <a:off x="3126464" y="3634055"/>
            <a:ext cx="1183094" cy="338360"/>
          </a:xfrm>
          <a:prstGeom prst="rect">
            <a:avLst/>
          </a:prstGeom>
        </p:spPr>
      </p:pic>
      <p:pic>
        <p:nvPicPr>
          <p:cNvPr id="310" name="Picture 309"/>
          <p:cNvPicPr>
            <a:picLocks noChangeAspect="1"/>
          </p:cNvPicPr>
          <p:nvPr/>
        </p:nvPicPr>
        <p:blipFill>
          <a:blip r:embed="rId9"/>
          <a:stretch>
            <a:fillRect/>
          </a:stretch>
        </p:blipFill>
        <p:spPr>
          <a:xfrm>
            <a:off x="3126464" y="2267026"/>
            <a:ext cx="1083256" cy="336343"/>
          </a:xfrm>
          <a:prstGeom prst="rect">
            <a:avLst/>
          </a:prstGeom>
        </p:spPr>
      </p:pic>
      <p:pic>
        <p:nvPicPr>
          <p:cNvPr id="311" name="Picture 310"/>
          <p:cNvPicPr>
            <a:picLocks noChangeAspect="1"/>
          </p:cNvPicPr>
          <p:nvPr/>
        </p:nvPicPr>
        <p:blipFill>
          <a:blip r:embed="rId10"/>
          <a:stretch>
            <a:fillRect/>
          </a:stretch>
        </p:blipFill>
        <p:spPr>
          <a:xfrm>
            <a:off x="3126464" y="2578169"/>
            <a:ext cx="1183094" cy="338360"/>
          </a:xfrm>
          <a:prstGeom prst="rect">
            <a:avLst/>
          </a:prstGeom>
        </p:spPr>
      </p:pic>
      <p:pic>
        <p:nvPicPr>
          <p:cNvPr id="313" name="Picture 312"/>
          <p:cNvPicPr>
            <a:picLocks noChangeAspect="1"/>
          </p:cNvPicPr>
          <p:nvPr/>
        </p:nvPicPr>
        <p:blipFill>
          <a:blip r:embed="rId9"/>
          <a:stretch>
            <a:fillRect/>
          </a:stretch>
        </p:blipFill>
        <p:spPr>
          <a:xfrm>
            <a:off x="874249" y="3244069"/>
            <a:ext cx="1083256" cy="336343"/>
          </a:xfrm>
          <a:prstGeom prst="rect">
            <a:avLst/>
          </a:prstGeom>
        </p:spPr>
      </p:pic>
      <p:pic>
        <p:nvPicPr>
          <p:cNvPr id="314" name="Picture 313"/>
          <p:cNvPicPr>
            <a:picLocks noChangeAspect="1"/>
          </p:cNvPicPr>
          <p:nvPr/>
        </p:nvPicPr>
        <p:blipFill>
          <a:blip r:embed="rId10"/>
          <a:stretch>
            <a:fillRect/>
          </a:stretch>
        </p:blipFill>
        <p:spPr>
          <a:xfrm>
            <a:off x="874248" y="3555212"/>
            <a:ext cx="1183094" cy="338360"/>
          </a:xfrm>
          <a:prstGeom prst="rect">
            <a:avLst/>
          </a:prstGeom>
        </p:spPr>
      </p:pic>
      <p:sp>
        <p:nvSpPr>
          <p:cNvPr id="247" name="TextBox 246"/>
          <p:cNvSpPr txBox="1"/>
          <p:nvPr/>
        </p:nvSpPr>
        <p:spPr>
          <a:xfrm>
            <a:off x="0" y="4807399"/>
            <a:ext cx="9144001" cy="338654"/>
          </a:xfrm>
          <a:prstGeom prst="rect">
            <a:avLst/>
          </a:prstGeom>
          <a:solidFill>
            <a:srgbClr val="2E1648">
              <a:alpha val="55000"/>
            </a:srgbClr>
          </a:solidFill>
        </p:spPr>
        <p:txBody>
          <a:bodyPr wrap="square" lIns="0" tIns="0" rIns="0" bIns="0" rtlCol="0" anchor="ctr">
            <a:noAutofit/>
          </a:bodyPr>
          <a:lstStyle/>
          <a:p>
            <a:pPr marL="0" marR="0" lvl="0" indent="0" algn="ctr" defTabSz="68560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On-Premises | Hybrid | Cloud</a:t>
            </a:r>
          </a:p>
        </p:txBody>
      </p:sp>
      <p:pic>
        <p:nvPicPr>
          <p:cNvPr id="161" name="Picture 160"/>
          <p:cNvPicPr>
            <a:picLocks noChangeAspect="1"/>
          </p:cNvPicPr>
          <p:nvPr/>
        </p:nvPicPr>
        <p:blipFill rotWithShape="1">
          <a:blip r:embed="rId11"/>
          <a:srcRect l="36309" r="1" b="29163"/>
          <a:stretch/>
        </p:blipFill>
        <p:spPr>
          <a:xfrm>
            <a:off x="283" y="3749863"/>
            <a:ext cx="1455555" cy="1396191"/>
          </a:xfrm>
          <a:prstGeom prst="rect">
            <a:avLst/>
          </a:prstGeom>
        </p:spPr>
      </p:pic>
      <p:pic>
        <p:nvPicPr>
          <p:cNvPr id="289" name="Picture 28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711626" y="4308574"/>
            <a:ext cx="1725912" cy="617013"/>
          </a:xfrm>
          <a:prstGeom prst="rect">
            <a:avLst/>
          </a:prstGeom>
        </p:spPr>
      </p:pic>
      <p:grpSp>
        <p:nvGrpSpPr>
          <p:cNvPr id="213" name="Group 212"/>
          <p:cNvGrpSpPr/>
          <p:nvPr/>
        </p:nvGrpSpPr>
        <p:grpSpPr>
          <a:xfrm>
            <a:off x="6942797" y="3919219"/>
            <a:ext cx="2201204" cy="1226834"/>
            <a:chOff x="6610350" y="4013200"/>
            <a:chExt cx="3446463" cy="1920876"/>
          </a:xfrm>
        </p:grpSpPr>
        <p:sp>
          <p:nvSpPr>
            <p:cNvPr id="214" name="Freeform 5"/>
            <p:cNvSpPr>
              <a:spLocks/>
            </p:cNvSpPr>
            <p:nvPr/>
          </p:nvSpPr>
          <p:spPr bwMode="auto">
            <a:xfrm>
              <a:off x="7473950" y="4635500"/>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5" name="Freeform 6"/>
            <p:cNvSpPr>
              <a:spLocks/>
            </p:cNvSpPr>
            <p:nvPr/>
          </p:nvSpPr>
          <p:spPr bwMode="auto">
            <a:xfrm>
              <a:off x="7480300" y="4013200"/>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6" name="Freeform 7"/>
            <p:cNvSpPr>
              <a:spLocks/>
            </p:cNvSpPr>
            <p:nvPr/>
          </p:nvSpPr>
          <p:spPr bwMode="auto">
            <a:xfrm>
              <a:off x="7485063" y="4987925"/>
              <a:ext cx="2332038" cy="6334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7" name="Freeform 8"/>
            <p:cNvSpPr>
              <a:spLocks/>
            </p:cNvSpPr>
            <p:nvPr/>
          </p:nvSpPr>
          <p:spPr bwMode="auto">
            <a:xfrm>
              <a:off x="6610350" y="552767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8" name="Freeform 9"/>
            <p:cNvSpPr>
              <a:spLocks/>
            </p:cNvSpPr>
            <p:nvPr/>
          </p:nvSpPr>
          <p:spPr bwMode="auto">
            <a:xfrm>
              <a:off x="7407275" y="5329238"/>
              <a:ext cx="2649538" cy="604838"/>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9" name="Freeform 10"/>
            <p:cNvSpPr>
              <a:spLocks/>
            </p:cNvSpPr>
            <p:nvPr/>
          </p:nvSpPr>
          <p:spPr bwMode="auto">
            <a:xfrm>
              <a:off x="8377238" y="5329238"/>
              <a:ext cx="935038" cy="493713"/>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0" name="Freeform 11"/>
            <p:cNvSpPr>
              <a:spLocks/>
            </p:cNvSpPr>
            <p:nvPr/>
          </p:nvSpPr>
          <p:spPr bwMode="auto">
            <a:xfrm>
              <a:off x="8426450" y="4878388"/>
              <a:ext cx="517525" cy="471488"/>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1" name="Freeform 12"/>
            <p:cNvSpPr>
              <a:spLocks/>
            </p:cNvSpPr>
            <p:nvPr/>
          </p:nvSpPr>
          <p:spPr bwMode="auto">
            <a:xfrm>
              <a:off x="8626475" y="5000625"/>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2" name="Freeform 13"/>
            <p:cNvSpPr>
              <a:spLocks/>
            </p:cNvSpPr>
            <p:nvPr/>
          </p:nvSpPr>
          <p:spPr bwMode="auto">
            <a:xfrm>
              <a:off x="8154988" y="4922838"/>
              <a:ext cx="471488" cy="75723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3" name="Freeform 14"/>
            <p:cNvSpPr>
              <a:spLocks/>
            </p:cNvSpPr>
            <p:nvPr/>
          </p:nvSpPr>
          <p:spPr bwMode="auto">
            <a:xfrm>
              <a:off x="8626475" y="5172075"/>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4" name="Freeform 15"/>
            <p:cNvSpPr>
              <a:spLocks/>
            </p:cNvSpPr>
            <p:nvPr/>
          </p:nvSpPr>
          <p:spPr bwMode="auto">
            <a:xfrm>
              <a:off x="8291513" y="5349875"/>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5" name="Freeform 16"/>
            <p:cNvSpPr>
              <a:spLocks/>
            </p:cNvSpPr>
            <p:nvPr/>
          </p:nvSpPr>
          <p:spPr bwMode="auto">
            <a:xfrm>
              <a:off x="8413750" y="5349875"/>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6" name="Freeform 17"/>
            <p:cNvSpPr>
              <a:spLocks/>
            </p:cNvSpPr>
            <p:nvPr/>
          </p:nvSpPr>
          <p:spPr bwMode="auto">
            <a:xfrm>
              <a:off x="8416925" y="5621338"/>
              <a:ext cx="1452563" cy="312738"/>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7" name="Rectangle 18"/>
            <p:cNvSpPr>
              <a:spLocks noChangeArrowheads="1"/>
            </p:cNvSpPr>
            <p:nvPr/>
          </p:nvSpPr>
          <p:spPr bwMode="auto">
            <a:xfrm>
              <a:off x="7546975" y="5568950"/>
              <a:ext cx="120650" cy="3651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8" name="Freeform 19"/>
            <p:cNvSpPr>
              <a:spLocks/>
            </p:cNvSpPr>
            <p:nvPr/>
          </p:nvSpPr>
          <p:spPr bwMode="auto">
            <a:xfrm>
              <a:off x="7110413" y="5627688"/>
              <a:ext cx="120650" cy="306388"/>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9" name="Freeform 20"/>
            <p:cNvSpPr>
              <a:spLocks/>
            </p:cNvSpPr>
            <p:nvPr/>
          </p:nvSpPr>
          <p:spPr bwMode="auto">
            <a:xfrm>
              <a:off x="7256463" y="5334000"/>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30" name="Freeform 21"/>
            <p:cNvSpPr>
              <a:spLocks/>
            </p:cNvSpPr>
            <p:nvPr/>
          </p:nvSpPr>
          <p:spPr bwMode="auto">
            <a:xfrm>
              <a:off x="7400925" y="5067300"/>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31" name="Freeform 22"/>
            <p:cNvSpPr>
              <a:spLocks/>
            </p:cNvSpPr>
            <p:nvPr/>
          </p:nvSpPr>
          <p:spPr bwMode="auto">
            <a:xfrm>
              <a:off x="7693025" y="5343525"/>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32" name="Freeform 23"/>
            <p:cNvSpPr>
              <a:spLocks/>
            </p:cNvSpPr>
            <p:nvPr/>
          </p:nvSpPr>
          <p:spPr bwMode="auto">
            <a:xfrm>
              <a:off x="6818313" y="5640388"/>
              <a:ext cx="122238" cy="293688"/>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33" name="Freeform 24"/>
            <p:cNvSpPr>
              <a:spLocks/>
            </p:cNvSpPr>
            <p:nvPr/>
          </p:nvSpPr>
          <p:spPr bwMode="auto">
            <a:xfrm>
              <a:off x="6965950" y="5157788"/>
              <a:ext cx="119063" cy="776288"/>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grpSp>
      <p:sp>
        <p:nvSpPr>
          <p:cNvPr id="321" name="Title 2"/>
          <p:cNvSpPr>
            <a:spLocks noGrp="1"/>
          </p:cNvSpPr>
          <p:nvPr>
            <p:ph type="title"/>
          </p:nvPr>
        </p:nvSpPr>
        <p:spPr>
          <a:xfrm>
            <a:off x="201931" y="220140"/>
            <a:ext cx="8741880" cy="673888"/>
          </a:xfrm>
        </p:spPr>
        <p:txBody>
          <a:bodyPr/>
          <a:lstStyle/>
          <a:p>
            <a:r>
              <a:rPr lang="de-DE" spc="-147" dirty="0">
                <a:solidFill>
                  <a:schemeClr val="tx1">
                    <a:lumMod val="40000"/>
                    <a:lumOff val="60000"/>
                  </a:schemeClr>
                </a:solidFill>
              </a:rPr>
              <a:t>Microsoft</a:t>
            </a:r>
            <a:br>
              <a:rPr lang="de-DE" dirty="0">
                <a:solidFill>
                  <a:schemeClr val="tx1">
                    <a:lumMod val="40000"/>
                    <a:lumOff val="60000"/>
                  </a:schemeClr>
                </a:solidFill>
              </a:rPr>
            </a:br>
            <a:r>
              <a:rPr lang="de-DE" dirty="0">
                <a:solidFill>
                  <a:schemeClr val="tx1">
                    <a:lumMod val="40000"/>
                    <a:lumOff val="60000"/>
                  </a:schemeClr>
                </a:solidFill>
              </a:rPr>
              <a:t>Tooling</a:t>
            </a:r>
          </a:p>
        </p:txBody>
      </p:sp>
      <p:pic>
        <p:nvPicPr>
          <p:cNvPr id="292" name="Picture 29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468425" y="4436769"/>
            <a:ext cx="656800" cy="432071"/>
          </a:xfrm>
          <a:prstGeom prst="rect">
            <a:avLst/>
          </a:prstGeom>
        </p:spPr>
      </p:pic>
      <p:pic>
        <p:nvPicPr>
          <p:cNvPr id="130" name="Picture 129"/>
          <p:cNvPicPr>
            <a:picLocks noChangeAspect="1"/>
          </p:cNvPicPr>
          <p:nvPr/>
        </p:nvPicPr>
        <p:blipFill>
          <a:blip r:embed="rId9"/>
          <a:stretch>
            <a:fillRect/>
          </a:stretch>
        </p:blipFill>
        <p:spPr>
          <a:xfrm>
            <a:off x="7821541" y="3132016"/>
            <a:ext cx="1083256" cy="336343"/>
          </a:xfrm>
          <a:prstGeom prst="rect">
            <a:avLst/>
          </a:prstGeom>
        </p:spPr>
      </p:pic>
      <p:pic>
        <p:nvPicPr>
          <p:cNvPr id="131" name="Picture 130"/>
          <p:cNvPicPr>
            <a:picLocks noChangeAspect="1"/>
          </p:cNvPicPr>
          <p:nvPr/>
        </p:nvPicPr>
        <p:blipFill>
          <a:blip r:embed="rId10"/>
          <a:stretch>
            <a:fillRect/>
          </a:stretch>
        </p:blipFill>
        <p:spPr>
          <a:xfrm>
            <a:off x="7821540" y="3443159"/>
            <a:ext cx="1183094" cy="338360"/>
          </a:xfrm>
          <a:prstGeom prst="rect">
            <a:avLst/>
          </a:prstGeom>
        </p:spPr>
      </p:pic>
    </p:spTree>
    <p:extLst>
      <p:ext uri="{BB962C8B-B14F-4D97-AF65-F5344CB8AC3E}">
        <p14:creationId xmlns:p14="http://schemas.microsoft.com/office/powerpoint/2010/main" val="68165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ECCD09-842B-43E4-AEB1-564338056697}"/>
              </a:ext>
            </a:extLst>
          </p:cNvPr>
          <p:cNvSpPr>
            <a:spLocks noGrp="1"/>
          </p:cNvSpPr>
          <p:nvPr>
            <p:ph type="title"/>
          </p:nvPr>
        </p:nvSpPr>
        <p:spPr/>
        <p:txBody>
          <a:bodyPr/>
          <a:lstStyle/>
          <a:p>
            <a:r>
              <a:rPr lang="de-AT" dirty="0" err="1"/>
              <a:t>Overview</a:t>
            </a:r>
            <a:r>
              <a:rPr lang="de-AT" dirty="0"/>
              <a:t> Azure App Service</a:t>
            </a:r>
          </a:p>
        </p:txBody>
      </p:sp>
      <p:sp>
        <p:nvSpPr>
          <p:cNvPr id="5" name="Content Placeholder 4">
            <a:extLst>
              <a:ext uri="{FF2B5EF4-FFF2-40B4-BE49-F238E27FC236}">
                <a16:creationId xmlns:a16="http://schemas.microsoft.com/office/drawing/2014/main" id="{71D1C6B0-70CB-456B-9C1A-C3EA5FE2F385}"/>
              </a:ext>
            </a:extLst>
          </p:cNvPr>
          <p:cNvSpPr>
            <a:spLocks noGrp="1"/>
          </p:cNvSpPr>
          <p:nvPr>
            <p:ph sz="quarter" idx="12"/>
          </p:nvPr>
        </p:nvSpPr>
        <p:spPr/>
        <p:txBody>
          <a:bodyPr/>
          <a:lstStyle/>
          <a:p>
            <a:r>
              <a:rPr lang="de-AT" dirty="0"/>
              <a:t>App Service Environment</a:t>
            </a:r>
          </a:p>
          <a:p>
            <a:pPr lvl="1"/>
            <a:r>
              <a:rPr lang="en-US" dirty="0"/>
              <a:t>Isolated to running only a single customer's applications</a:t>
            </a:r>
          </a:p>
          <a:p>
            <a:pPr lvl="1"/>
            <a:r>
              <a:rPr lang="en-US" dirty="0"/>
              <a:t>Deployed into a virtual network with VPNs to on-premises resources</a:t>
            </a:r>
            <a:endParaRPr lang="de-AT" dirty="0">
              <a:hlinkClick r:id="rId2"/>
            </a:endParaRPr>
          </a:p>
          <a:p>
            <a:pPr lvl="1"/>
            <a:r>
              <a:rPr lang="de-AT" dirty="0">
                <a:hlinkClick r:id="rId2"/>
              </a:rPr>
              <a:t>https://docs.microsoft.com/en-us/azure/app-service/environment/intro</a:t>
            </a:r>
            <a:endParaRPr lang="de-AT" dirty="0"/>
          </a:p>
          <a:p>
            <a:r>
              <a:rPr lang="de-AT" dirty="0" err="1"/>
              <a:t>Pricing</a:t>
            </a:r>
            <a:endParaRPr lang="de-AT" dirty="0"/>
          </a:p>
          <a:p>
            <a:pPr lvl="1"/>
            <a:r>
              <a:rPr lang="de-AT" dirty="0">
                <a:hlinkClick r:id="rId3"/>
              </a:rPr>
              <a:t>https://azure.microsoft.com/en-us/pricing/details/app-service/windows/</a:t>
            </a:r>
            <a:endParaRPr lang="de-AT" dirty="0"/>
          </a:p>
          <a:p>
            <a:r>
              <a:rPr lang="de-AT" dirty="0"/>
              <a:t>Kudu: Engine </a:t>
            </a:r>
            <a:r>
              <a:rPr lang="de-AT" dirty="0" err="1"/>
              <a:t>behind</a:t>
            </a:r>
            <a:r>
              <a:rPr lang="de-AT" dirty="0"/>
              <a:t> App Service</a:t>
            </a:r>
          </a:p>
          <a:p>
            <a:pPr lvl="1"/>
            <a:r>
              <a:rPr lang="de-AT" dirty="0">
                <a:hlinkClick r:id="rId4"/>
              </a:rPr>
              <a:t>https://github.com/projectkudu/kudu/wiki</a:t>
            </a:r>
            <a:r>
              <a:rPr lang="de-AT" dirty="0"/>
              <a:t> </a:t>
            </a:r>
          </a:p>
          <a:p>
            <a:pPr lvl="1"/>
            <a:r>
              <a:rPr lang="de-AT" dirty="0"/>
              <a:t>Windows: Sandbox (</a:t>
            </a:r>
            <a:r>
              <a:rPr lang="de-AT" dirty="0">
                <a:hlinkClick r:id="rId5"/>
              </a:rPr>
              <a:t>https://github.com/projectkudu/kudu/wiki/Azure-Web-App-sandbox</a:t>
            </a:r>
            <a:r>
              <a:rPr lang="de-AT" dirty="0"/>
              <a:t>) </a:t>
            </a:r>
          </a:p>
        </p:txBody>
      </p:sp>
      <p:sp>
        <p:nvSpPr>
          <p:cNvPr id="6" name="Text Placeholder 5">
            <a:extLst>
              <a:ext uri="{FF2B5EF4-FFF2-40B4-BE49-F238E27FC236}">
                <a16:creationId xmlns:a16="http://schemas.microsoft.com/office/drawing/2014/main" id="{6F4B8A1B-9E8B-46D8-947A-914936FCEF81}"/>
              </a:ext>
            </a:extLst>
          </p:cNvPr>
          <p:cNvSpPr>
            <a:spLocks noGrp="1"/>
          </p:cNvSpPr>
          <p:nvPr>
            <p:ph type="body" sz="quarter" idx="23"/>
          </p:nvPr>
        </p:nvSpPr>
        <p:spPr/>
        <p:txBody>
          <a:bodyPr/>
          <a:lstStyle/>
          <a:p>
            <a:endParaRPr lang="de-AT" dirty="0"/>
          </a:p>
        </p:txBody>
      </p:sp>
    </p:spTree>
    <p:extLst>
      <p:ext uri="{BB962C8B-B14F-4D97-AF65-F5344CB8AC3E}">
        <p14:creationId xmlns:p14="http://schemas.microsoft.com/office/powerpoint/2010/main" val="1145784921"/>
      </p:ext>
    </p:extLst>
  </p:cSld>
  <p:clrMapOvr>
    <a:masterClrMapping/>
  </p:clrMapOvr>
  <p:transition spd="slow">
    <p:push/>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Rectangle 170"/>
          <p:cNvSpPr/>
          <p:nvPr/>
        </p:nvSpPr>
        <p:spPr>
          <a:xfrm>
            <a:off x="2322742" y="3282"/>
            <a:ext cx="2194393" cy="5142771"/>
          </a:xfrm>
          <a:prstGeom prst="rect">
            <a:avLst/>
          </a:prstGeom>
          <a:solidFill>
            <a:srgbClr val="4472C4">
              <a:lumMod val="75000"/>
            </a:srgbClr>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2" name="Rectangle 171"/>
          <p:cNvSpPr/>
          <p:nvPr/>
        </p:nvSpPr>
        <p:spPr>
          <a:xfrm>
            <a:off x="4636175" y="3282"/>
            <a:ext cx="2194393" cy="5142771"/>
          </a:xfrm>
          <a:prstGeom prst="rect">
            <a:avLst/>
          </a:prstGeom>
          <a:solidFill>
            <a:srgbClr val="4472C4">
              <a:lumMod val="50000"/>
            </a:srgbClr>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7" name="Picture 176"/>
          <p:cNvPicPr>
            <a:picLocks noChangeAspect="1"/>
          </p:cNvPicPr>
          <p:nvPr/>
        </p:nvPicPr>
        <p:blipFill>
          <a:blip r:embed="rId2"/>
          <a:stretch>
            <a:fillRect/>
          </a:stretch>
        </p:blipFill>
        <p:spPr>
          <a:xfrm>
            <a:off x="4712010" y="4377222"/>
            <a:ext cx="812441" cy="502393"/>
          </a:xfrm>
          <a:prstGeom prst="rect">
            <a:avLst/>
          </a:prstGeom>
        </p:spPr>
      </p:pic>
      <p:pic>
        <p:nvPicPr>
          <p:cNvPr id="179" name="Picture 178"/>
          <p:cNvPicPr>
            <a:picLocks noChangeAspect="1"/>
          </p:cNvPicPr>
          <p:nvPr/>
        </p:nvPicPr>
        <p:blipFill rotWithShape="1">
          <a:blip r:embed="rId2"/>
          <a:srcRect r="66202"/>
          <a:stretch/>
        </p:blipFill>
        <p:spPr>
          <a:xfrm>
            <a:off x="2392505" y="4389909"/>
            <a:ext cx="274592" cy="502393"/>
          </a:xfrm>
          <a:prstGeom prst="rect">
            <a:avLst/>
          </a:prstGeom>
        </p:spPr>
      </p:pic>
      <p:sp>
        <p:nvSpPr>
          <p:cNvPr id="167" name="Rectangle 166"/>
          <p:cNvSpPr/>
          <p:nvPr/>
        </p:nvSpPr>
        <p:spPr>
          <a:xfrm>
            <a:off x="2" y="3282"/>
            <a:ext cx="2203701" cy="5142771"/>
          </a:xfrm>
          <a:prstGeom prst="rect">
            <a:avLst/>
          </a:prstGeom>
          <a:solidFill>
            <a:srgbClr val="5B9BD5"/>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6" name="Rectangle 175"/>
          <p:cNvSpPr/>
          <p:nvPr/>
        </p:nvSpPr>
        <p:spPr>
          <a:xfrm>
            <a:off x="6949608" y="3282"/>
            <a:ext cx="2194393" cy="5142771"/>
          </a:xfrm>
          <a:prstGeom prst="rect">
            <a:avLst/>
          </a:prstGeom>
          <a:solidFill>
            <a:srgbClr val="002060"/>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8" name="Rectangle 157"/>
          <p:cNvSpPr/>
          <p:nvPr/>
        </p:nvSpPr>
        <p:spPr>
          <a:xfrm>
            <a:off x="7704549" y="2355711"/>
            <a:ext cx="1439451" cy="2303123"/>
          </a:xfrm>
          <a:prstGeom prst="rect">
            <a:avLst/>
          </a:prstGeom>
          <a:solidFill>
            <a:srgbClr val="34495E"/>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9" name="Freeform 6"/>
          <p:cNvSpPr>
            <a:spLocks/>
          </p:cNvSpPr>
          <p:nvPr/>
        </p:nvSpPr>
        <p:spPr bwMode="auto">
          <a:xfrm>
            <a:off x="8202481" y="4389909"/>
            <a:ext cx="861466" cy="566925"/>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FFFFFF">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441"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0" name="Rectangle 159"/>
          <p:cNvSpPr/>
          <p:nvPr/>
        </p:nvSpPr>
        <p:spPr>
          <a:xfrm>
            <a:off x="764251" y="1683398"/>
            <a:ext cx="1439451" cy="2370354"/>
          </a:xfrm>
          <a:prstGeom prst="rect">
            <a:avLst/>
          </a:prstGeom>
          <a:solidFill>
            <a:srgbClr val="34495E"/>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3" name="Rectangle 162"/>
          <p:cNvSpPr/>
          <p:nvPr/>
        </p:nvSpPr>
        <p:spPr>
          <a:xfrm rot="18900000">
            <a:off x="6151057" y="249444"/>
            <a:ext cx="765933" cy="765933"/>
          </a:xfrm>
          <a:prstGeom prst="rect">
            <a:avLst/>
          </a:prstGeom>
          <a:solidFill>
            <a:srgbClr val="203864"/>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4" name="Rectangle 163"/>
          <p:cNvSpPr/>
          <p:nvPr/>
        </p:nvSpPr>
        <p:spPr>
          <a:xfrm rot="18900000">
            <a:off x="3855195" y="249444"/>
            <a:ext cx="765933" cy="765933"/>
          </a:xfrm>
          <a:prstGeom prst="rect">
            <a:avLst/>
          </a:prstGeom>
          <a:solidFill>
            <a:srgbClr val="2F5597"/>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8" name="TextBox 167"/>
          <p:cNvSpPr txBox="1"/>
          <p:nvPr/>
        </p:nvSpPr>
        <p:spPr>
          <a:xfrm rot="16200000">
            <a:off x="-104793" y="2245955"/>
            <a:ext cx="1439792" cy="318677"/>
          </a:xfrm>
          <a:prstGeom prst="rect">
            <a:avLst/>
          </a:prstGeom>
          <a:noFill/>
        </p:spPr>
        <p:txBody>
          <a:bodyPr wrap="square" rtlCol="0">
            <a:spAutoFit/>
          </a:bodyPr>
          <a:lstStyle/>
          <a:p>
            <a:pPr marL="0" marR="0" lvl="0" indent="0" algn="r" defTabSz="672358" rtl="0" eaLnBrk="1" fontAlgn="auto" latinLnBrk="0" hangingPunct="1">
              <a:lnSpc>
                <a:spcPct val="100000"/>
              </a:lnSpc>
              <a:spcBef>
                <a:spcPts val="0"/>
              </a:spcBef>
              <a:spcAft>
                <a:spcPts val="0"/>
              </a:spcAft>
              <a:buClrTx/>
              <a:buSzTx/>
              <a:buFontTx/>
              <a:buNone/>
              <a:tabLst/>
              <a:defRPr/>
            </a:pPr>
            <a:r>
              <a:rPr kumimoji="0" lang="en-US" sz="1471" b="0" i="0" u="none" strike="noStrike" kern="1200" cap="none" spc="37"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velop</a:t>
            </a:r>
          </a:p>
        </p:txBody>
      </p:sp>
      <p:sp>
        <p:nvSpPr>
          <p:cNvPr id="169" name="Rectangle 4"/>
          <p:cNvSpPr/>
          <p:nvPr/>
        </p:nvSpPr>
        <p:spPr bwMode="gray">
          <a:xfrm>
            <a:off x="764250" y="1683399"/>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Developer IDE</a:t>
            </a:r>
          </a:p>
        </p:txBody>
      </p:sp>
      <p:sp>
        <p:nvSpPr>
          <p:cNvPr id="170" name="Rectangle 4"/>
          <p:cNvSpPr/>
          <p:nvPr/>
        </p:nvSpPr>
        <p:spPr bwMode="gray">
          <a:xfrm>
            <a:off x="764250" y="2851884"/>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Team Collaboration</a:t>
            </a:r>
          </a:p>
        </p:txBody>
      </p:sp>
      <p:sp>
        <p:nvSpPr>
          <p:cNvPr id="173" name="Rectangle 172"/>
          <p:cNvSpPr/>
          <p:nvPr/>
        </p:nvSpPr>
        <p:spPr>
          <a:xfrm>
            <a:off x="3059283" y="1885092"/>
            <a:ext cx="1439451" cy="2370354"/>
          </a:xfrm>
          <a:prstGeom prst="rect">
            <a:avLst/>
          </a:prstGeom>
          <a:solidFill>
            <a:srgbClr val="34495E"/>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4" name="TextBox 173"/>
          <p:cNvSpPr txBox="1"/>
          <p:nvPr/>
        </p:nvSpPr>
        <p:spPr>
          <a:xfrm rot="16200000">
            <a:off x="2211137" y="2450904"/>
            <a:ext cx="1439792" cy="318677"/>
          </a:xfrm>
          <a:prstGeom prst="rect">
            <a:avLst/>
          </a:prstGeom>
          <a:noFill/>
        </p:spPr>
        <p:txBody>
          <a:bodyPr wrap="square" rtlCol="0">
            <a:spAutoFit/>
          </a:bodyPr>
          <a:lstStyle/>
          <a:p>
            <a:pPr marL="0" marR="0" lvl="0" indent="0" algn="r" defTabSz="672358" rtl="0" eaLnBrk="1" fontAlgn="auto" latinLnBrk="0" hangingPunct="1">
              <a:lnSpc>
                <a:spcPct val="100000"/>
              </a:lnSpc>
              <a:spcBef>
                <a:spcPts val="0"/>
              </a:spcBef>
              <a:spcAft>
                <a:spcPts val="0"/>
              </a:spcAft>
              <a:buClrTx/>
              <a:buSzTx/>
              <a:buFontTx/>
              <a:buNone/>
              <a:tabLst/>
              <a:defRPr/>
            </a:pPr>
            <a:r>
              <a:rPr kumimoji="0" lang="en-US" sz="1471" b="0" i="0" u="none" strike="noStrike" kern="1200" cap="none" spc="37"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uild + Test</a:t>
            </a:r>
          </a:p>
        </p:txBody>
      </p:sp>
      <p:sp>
        <p:nvSpPr>
          <p:cNvPr id="175" name="Rectangle 4"/>
          <p:cNvSpPr/>
          <p:nvPr/>
        </p:nvSpPr>
        <p:spPr bwMode="gray">
          <a:xfrm>
            <a:off x="3059283" y="1885093"/>
            <a:ext cx="1439451"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Build/CI</a:t>
            </a:r>
          </a:p>
        </p:txBody>
      </p:sp>
      <p:sp>
        <p:nvSpPr>
          <p:cNvPr id="178" name="Rectangle 4"/>
          <p:cNvSpPr/>
          <p:nvPr/>
        </p:nvSpPr>
        <p:spPr bwMode="gray">
          <a:xfrm>
            <a:off x="3061461" y="3321141"/>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Test</a:t>
            </a:r>
          </a:p>
        </p:txBody>
      </p:sp>
      <p:sp>
        <p:nvSpPr>
          <p:cNvPr id="187" name="TextBox 186"/>
          <p:cNvSpPr txBox="1"/>
          <p:nvPr/>
        </p:nvSpPr>
        <p:spPr>
          <a:xfrm rot="16200000">
            <a:off x="4513512" y="2670591"/>
            <a:ext cx="1439792" cy="318677"/>
          </a:xfrm>
          <a:prstGeom prst="rect">
            <a:avLst/>
          </a:prstGeom>
          <a:noFill/>
        </p:spPr>
        <p:txBody>
          <a:bodyPr wrap="square" rtlCol="0">
            <a:spAutoFit/>
          </a:bodyPr>
          <a:lstStyle/>
          <a:p>
            <a:pPr marL="0" marR="0" lvl="0" indent="0" algn="r" defTabSz="672358" rtl="0" eaLnBrk="1" fontAlgn="auto" latinLnBrk="0" hangingPunct="1">
              <a:lnSpc>
                <a:spcPct val="100000"/>
              </a:lnSpc>
              <a:spcBef>
                <a:spcPts val="0"/>
              </a:spcBef>
              <a:spcAft>
                <a:spcPts val="0"/>
              </a:spcAft>
              <a:buClrTx/>
              <a:buSzTx/>
              <a:buFontTx/>
              <a:buNone/>
              <a:tabLst/>
              <a:defRPr/>
            </a:pPr>
            <a:r>
              <a:rPr kumimoji="0" lang="en-US" sz="1471" b="0" i="0" u="none" strike="noStrike" kern="1200" cap="none" spc="37"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ploy</a:t>
            </a:r>
          </a:p>
        </p:txBody>
      </p:sp>
      <p:sp>
        <p:nvSpPr>
          <p:cNvPr id="206" name="TextBox 205"/>
          <p:cNvSpPr txBox="1"/>
          <p:nvPr/>
        </p:nvSpPr>
        <p:spPr>
          <a:xfrm rot="16200000">
            <a:off x="6748883" y="3013665"/>
            <a:ext cx="1598818" cy="318677"/>
          </a:xfrm>
          <a:prstGeom prst="rect">
            <a:avLst/>
          </a:prstGeom>
          <a:noFill/>
        </p:spPr>
        <p:txBody>
          <a:bodyPr wrap="square" rtlCol="0">
            <a:spAutoFit/>
          </a:bodyPr>
          <a:lstStyle/>
          <a:p>
            <a:pPr marL="0" marR="0" lvl="0" indent="0" algn="r" defTabSz="672358" rtl="0" eaLnBrk="1" fontAlgn="auto" latinLnBrk="0" hangingPunct="1">
              <a:lnSpc>
                <a:spcPct val="100000"/>
              </a:lnSpc>
              <a:spcBef>
                <a:spcPts val="0"/>
              </a:spcBef>
              <a:spcAft>
                <a:spcPts val="0"/>
              </a:spcAft>
              <a:buClrTx/>
              <a:buSzTx/>
              <a:buFontTx/>
              <a:buNone/>
              <a:tabLst/>
              <a:defRPr/>
            </a:pPr>
            <a:r>
              <a:rPr kumimoji="0" lang="en-US" sz="1471" b="0" i="0" u="none" strike="noStrike" kern="1200" cap="none" spc="37"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onitor + Learn</a:t>
            </a:r>
          </a:p>
        </p:txBody>
      </p:sp>
      <p:sp>
        <p:nvSpPr>
          <p:cNvPr id="207" name="Rectangle 4"/>
          <p:cNvSpPr/>
          <p:nvPr/>
        </p:nvSpPr>
        <p:spPr bwMode="gray">
          <a:xfrm>
            <a:off x="7706727" y="2355710"/>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Monitor</a:t>
            </a:r>
          </a:p>
        </p:txBody>
      </p:sp>
      <p:sp>
        <p:nvSpPr>
          <p:cNvPr id="208" name="Rectangle 207"/>
          <p:cNvSpPr/>
          <p:nvPr/>
        </p:nvSpPr>
        <p:spPr>
          <a:xfrm rot="18900000">
            <a:off x="1547421" y="249444"/>
            <a:ext cx="765933" cy="765933"/>
          </a:xfrm>
          <a:prstGeom prst="rect">
            <a:avLst/>
          </a:prstGeom>
          <a:solidFill>
            <a:srgbClr val="5B9BD5"/>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4" name="Freeform 6"/>
          <p:cNvSpPr>
            <a:spLocks/>
          </p:cNvSpPr>
          <p:nvPr/>
        </p:nvSpPr>
        <p:spPr bwMode="auto">
          <a:xfrm>
            <a:off x="1271602" y="2071722"/>
            <a:ext cx="861466" cy="566925"/>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2F5597">
              <a:alpha val="5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44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Rectangle 239"/>
          <p:cNvSpPr/>
          <p:nvPr/>
        </p:nvSpPr>
        <p:spPr>
          <a:xfrm rot="18900000">
            <a:off x="2201900" y="747423"/>
            <a:ext cx="765933" cy="765933"/>
          </a:xfrm>
          <a:prstGeom prst="rect">
            <a:avLst/>
          </a:prstGeom>
          <a:solidFill>
            <a:srgbClr val="2F5597"/>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1" name="Rectangle 240"/>
          <p:cNvSpPr/>
          <p:nvPr/>
        </p:nvSpPr>
        <p:spPr>
          <a:xfrm rot="18900000">
            <a:off x="4528935" y="750762"/>
            <a:ext cx="765933" cy="765933"/>
          </a:xfrm>
          <a:prstGeom prst="rect">
            <a:avLst/>
          </a:prstGeom>
          <a:solidFill>
            <a:srgbClr val="203864"/>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2" name="Rectangle 241"/>
          <p:cNvSpPr/>
          <p:nvPr/>
        </p:nvSpPr>
        <p:spPr>
          <a:xfrm rot="18900000">
            <a:off x="6847466" y="743800"/>
            <a:ext cx="765933" cy="765933"/>
          </a:xfrm>
          <a:prstGeom prst="rect">
            <a:avLst/>
          </a:prstGeom>
          <a:solidFill>
            <a:srgbClr val="002060"/>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3" name="Rounded Rectangle 242"/>
          <p:cNvSpPr/>
          <p:nvPr/>
        </p:nvSpPr>
        <p:spPr bwMode="auto">
          <a:xfrm>
            <a:off x="2004298" y="628438"/>
            <a:ext cx="6825721" cy="507281"/>
          </a:xfrm>
          <a:prstGeom prst="roundRect">
            <a:avLst/>
          </a:prstGeom>
          <a:solidFill>
            <a:srgbClr val="FFFFFF">
              <a:alpha val="20000"/>
            </a:srgbClr>
          </a:solidFill>
          <a:ln w="142875" cap="rnd" cmpd="sng" algn="ctr">
            <a:solidFill>
              <a:srgbClr val="FFFFFF">
                <a:alpha val="35000"/>
              </a:srgb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marL="0" marR="0" lvl="0" indent="0" algn="r" defTabSz="685647" rtl="0" eaLnBrk="1" fontAlgn="base" latinLnBrk="0" hangingPunct="1">
              <a:lnSpc>
                <a:spcPct val="90000"/>
              </a:lnSpc>
              <a:spcBef>
                <a:spcPct val="0"/>
              </a:spcBef>
              <a:spcAft>
                <a:spcPct val="0"/>
              </a:spcAft>
              <a:buClrTx/>
              <a:buSzTx/>
              <a:buFontTx/>
              <a:buNone/>
              <a:tabLst/>
              <a:defRPr/>
            </a:pP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p:cNvSpPr/>
          <p:nvPr/>
        </p:nvSpPr>
        <p:spPr>
          <a:xfrm>
            <a:off x="2353373" y="754082"/>
            <a:ext cx="1779654" cy="27328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People | Process | Tools</a:t>
            </a:r>
            <a:endParaRPr kumimoji="0" lang="en-US" sz="1176" b="0" i="0" u="none" strike="noStrike" kern="0" cap="none" spc="0" normalizeH="0" baseline="0" noProof="0" dirty="0">
              <a:ln>
                <a:noFill/>
              </a:ln>
              <a:solidFill>
                <a:srgbClr val="505050"/>
              </a:solidFill>
              <a:effectLst/>
              <a:uLnTx/>
              <a:uFillTx/>
              <a:latin typeface="Segoe UI"/>
              <a:ea typeface="+mn-ea"/>
              <a:cs typeface="+mn-cs"/>
            </a:endParaRPr>
          </a:p>
        </p:txBody>
      </p:sp>
      <p:sp>
        <p:nvSpPr>
          <p:cNvPr id="248" name="Freeform 7"/>
          <p:cNvSpPr>
            <a:spLocks/>
          </p:cNvSpPr>
          <p:nvPr/>
        </p:nvSpPr>
        <p:spPr bwMode="auto">
          <a:xfrm>
            <a:off x="8481395" y="4658833"/>
            <a:ext cx="662323" cy="434683"/>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chemeClr val="accent1">
              <a:lumMod val="60000"/>
              <a:lumOff val="40000"/>
              <a:alpha val="5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441"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0" name="Isosceles Triangle 3"/>
          <p:cNvSpPr/>
          <p:nvPr/>
        </p:nvSpPr>
        <p:spPr bwMode="auto">
          <a:xfrm rot="5400000">
            <a:off x="2111933" y="538201"/>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Isosceles Triangle 3"/>
          <p:cNvSpPr/>
          <p:nvPr/>
        </p:nvSpPr>
        <p:spPr bwMode="auto">
          <a:xfrm rot="5400000">
            <a:off x="4425366" y="538201"/>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Isosceles Triangle 3"/>
          <p:cNvSpPr/>
          <p:nvPr/>
        </p:nvSpPr>
        <p:spPr bwMode="auto">
          <a:xfrm rot="5400000">
            <a:off x="6716278" y="538202"/>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Isosceles Triangle 3"/>
          <p:cNvSpPr/>
          <p:nvPr/>
        </p:nvSpPr>
        <p:spPr bwMode="auto">
          <a:xfrm rot="16200000" flipH="1">
            <a:off x="2036812" y="1040264"/>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Isosceles Triangle 3"/>
          <p:cNvSpPr/>
          <p:nvPr/>
        </p:nvSpPr>
        <p:spPr bwMode="auto">
          <a:xfrm rot="16200000" flipH="1">
            <a:off x="4352604" y="1040265"/>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Isosceles Triangle 3"/>
          <p:cNvSpPr/>
          <p:nvPr/>
        </p:nvSpPr>
        <p:spPr bwMode="auto">
          <a:xfrm rot="16200000" flipH="1">
            <a:off x="6660272" y="1040266"/>
            <a:ext cx="374295" cy="190758"/>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rgbClr val="FFFFFF">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6" name="Group 255"/>
          <p:cNvGrpSpPr/>
          <p:nvPr/>
        </p:nvGrpSpPr>
        <p:grpSpPr>
          <a:xfrm>
            <a:off x="7093195" y="115391"/>
            <a:ext cx="1639471" cy="1067723"/>
            <a:chOff x="9698195" y="0"/>
            <a:chExt cx="2229794" cy="1452178"/>
          </a:xfrm>
        </p:grpSpPr>
        <p:pic>
          <p:nvPicPr>
            <p:cNvPr id="257" name="Picture 256"/>
            <p:cNvPicPr>
              <a:picLocks noChangeAspect="1"/>
            </p:cNvPicPr>
            <p:nvPr/>
          </p:nvPicPr>
          <p:blipFill>
            <a:blip r:embed="rId3"/>
            <a:stretch>
              <a:fillRect/>
            </a:stretch>
          </p:blipFill>
          <p:spPr>
            <a:xfrm>
              <a:off x="9698195" y="219347"/>
              <a:ext cx="1695143" cy="1232831"/>
            </a:xfrm>
            <a:prstGeom prst="rect">
              <a:avLst/>
            </a:prstGeom>
          </p:spPr>
        </p:pic>
        <p:grpSp>
          <p:nvGrpSpPr>
            <p:cNvPr id="258" name="Group 257"/>
            <p:cNvGrpSpPr/>
            <p:nvPr/>
          </p:nvGrpSpPr>
          <p:grpSpPr>
            <a:xfrm>
              <a:off x="11080289" y="0"/>
              <a:ext cx="847700" cy="1452178"/>
              <a:chOff x="10147300" y="798513"/>
              <a:chExt cx="1128713" cy="1933575"/>
            </a:xfrm>
          </p:grpSpPr>
          <p:sp>
            <p:nvSpPr>
              <p:cNvPr id="259" name="Freeform 5"/>
              <p:cNvSpPr>
                <a:spLocks/>
              </p:cNvSpPr>
              <p:nvPr/>
            </p:nvSpPr>
            <p:spPr bwMode="auto">
              <a:xfrm>
                <a:off x="10566400" y="1195388"/>
                <a:ext cx="609600" cy="1306513"/>
              </a:xfrm>
              <a:custGeom>
                <a:avLst/>
                <a:gdLst>
                  <a:gd name="T0" fmla="*/ 384 w 384"/>
                  <a:gd name="T1" fmla="*/ 823 h 823"/>
                  <a:gd name="T2" fmla="*/ 0 w 384"/>
                  <a:gd name="T3" fmla="*/ 823 h 823"/>
                  <a:gd name="T4" fmla="*/ 55 w 384"/>
                  <a:gd name="T5" fmla="*/ 0 h 823"/>
                  <a:gd name="T6" fmla="*/ 203 w 384"/>
                  <a:gd name="T7" fmla="*/ 46 h 823"/>
                  <a:gd name="T8" fmla="*/ 331 w 384"/>
                  <a:gd name="T9" fmla="*/ 0 h 823"/>
                  <a:gd name="T10" fmla="*/ 384 w 384"/>
                  <a:gd name="T11" fmla="*/ 823 h 823"/>
                </a:gdLst>
                <a:ahLst/>
                <a:cxnLst>
                  <a:cxn ang="0">
                    <a:pos x="T0" y="T1"/>
                  </a:cxn>
                  <a:cxn ang="0">
                    <a:pos x="T2" y="T3"/>
                  </a:cxn>
                  <a:cxn ang="0">
                    <a:pos x="T4" y="T5"/>
                  </a:cxn>
                  <a:cxn ang="0">
                    <a:pos x="T6" y="T7"/>
                  </a:cxn>
                  <a:cxn ang="0">
                    <a:pos x="T8" y="T9"/>
                  </a:cxn>
                  <a:cxn ang="0">
                    <a:pos x="T10" y="T11"/>
                  </a:cxn>
                </a:cxnLst>
                <a:rect l="0" t="0" r="r" b="b"/>
                <a:pathLst>
                  <a:path w="384" h="823">
                    <a:moveTo>
                      <a:pt x="384" y="823"/>
                    </a:moveTo>
                    <a:lnTo>
                      <a:pt x="0" y="823"/>
                    </a:lnTo>
                    <a:lnTo>
                      <a:pt x="55" y="0"/>
                    </a:lnTo>
                    <a:lnTo>
                      <a:pt x="203" y="46"/>
                    </a:lnTo>
                    <a:lnTo>
                      <a:pt x="331" y="0"/>
                    </a:lnTo>
                    <a:lnTo>
                      <a:pt x="384" y="8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0" name="Freeform 6"/>
              <p:cNvSpPr>
                <a:spLocks/>
              </p:cNvSpPr>
              <p:nvPr/>
            </p:nvSpPr>
            <p:spPr bwMode="auto">
              <a:xfrm>
                <a:off x="10721975" y="2654300"/>
                <a:ext cx="158750" cy="77788"/>
              </a:xfrm>
              <a:custGeom>
                <a:avLst/>
                <a:gdLst>
                  <a:gd name="T0" fmla="*/ 36 w 71"/>
                  <a:gd name="T1" fmla="*/ 0 h 35"/>
                  <a:gd name="T2" fmla="*/ 0 w 71"/>
                  <a:gd name="T3" fmla="*/ 35 h 35"/>
                  <a:gd name="T4" fmla="*/ 71 w 71"/>
                  <a:gd name="T5" fmla="*/ 35 h 35"/>
                  <a:gd name="T6" fmla="*/ 36 w 71"/>
                  <a:gd name="T7" fmla="*/ 0 h 35"/>
                </a:gdLst>
                <a:ahLst/>
                <a:cxnLst>
                  <a:cxn ang="0">
                    <a:pos x="T0" y="T1"/>
                  </a:cxn>
                  <a:cxn ang="0">
                    <a:pos x="T2" y="T3"/>
                  </a:cxn>
                  <a:cxn ang="0">
                    <a:pos x="T4" y="T5"/>
                  </a:cxn>
                  <a:cxn ang="0">
                    <a:pos x="T6" y="T7"/>
                  </a:cxn>
                </a:cxnLst>
                <a:rect l="0" t="0" r="r" b="b"/>
                <a:pathLst>
                  <a:path w="71" h="35">
                    <a:moveTo>
                      <a:pt x="36" y="0"/>
                    </a:moveTo>
                    <a:cubicBezTo>
                      <a:pt x="16" y="0"/>
                      <a:pt x="0" y="16"/>
                      <a:pt x="0" y="35"/>
                    </a:cubicBezTo>
                    <a:cubicBezTo>
                      <a:pt x="71" y="35"/>
                      <a:pt x="71" y="35"/>
                      <a:pt x="71" y="35"/>
                    </a:cubicBezTo>
                    <a:cubicBezTo>
                      <a:pt x="71" y="16"/>
                      <a:pt x="55"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1" name="Freeform 7"/>
              <p:cNvSpPr>
                <a:spLocks/>
              </p:cNvSpPr>
              <p:nvPr/>
            </p:nvSpPr>
            <p:spPr bwMode="auto">
              <a:xfrm>
                <a:off x="10147300" y="2632075"/>
                <a:ext cx="200025" cy="100013"/>
              </a:xfrm>
              <a:custGeom>
                <a:avLst/>
                <a:gdLst>
                  <a:gd name="T0" fmla="*/ 45 w 90"/>
                  <a:gd name="T1" fmla="*/ 0 h 45"/>
                  <a:gd name="T2" fmla="*/ 0 w 90"/>
                  <a:gd name="T3" fmla="*/ 45 h 45"/>
                  <a:gd name="T4" fmla="*/ 90 w 90"/>
                  <a:gd name="T5" fmla="*/ 45 h 45"/>
                  <a:gd name="T6" fmla="*/ 45 w 90"/>
                  <a:gd name="T7" fmla="*/ 0 h 45"/>
                </a:gdLst>
                <a:ahLst/>
                <a:cxnLst>
                  <a:cxn ang="0">
                    <a:pos x="T0" y="T1"/>
                  </a:cxn>
                  <a:cxn ang="0">
                    <a:pos x="T2" y="T3"/>
                  </a:cxn>
                  <a:cxn ang="0">
                    <a:pos x="T4" y="T5"/>
                  </a:cxn>
                  <a:cxn ang="0">
                    <a:pos x="T6" y="T7"/>
                  </a:cxn>
                </a:cxnLst>
                <a:rect l="0" t="0" r="r" b="b"/>
                <a:pathLst>
                  <a:path w="90" h="45">
                    <a:moveTo>
                      <a:pt x="45" y="0"/>
                    </a:moveTo>
                    <a:cubicBezTo>
                      <a:pt x="20" y="0"/>
                      <a:pt x="0" y="20"/>
                      <a:pt x="0" y="45"/>
                    </a:cubicBezTo>
                    <a:cubicBezTo>
                      <a:pt x="90" y="45"/>
                      <a:pt x="90" y="45"/>
                      <a:pt x="90" y="45"/>
                    </a:cubicBezTo>
                    <a:cubicBezTo>
                      <a:pt x="90"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2" name="Freeform 8"/>
              <p:cNvSpPr>
                <a:spLocks/>
              </p:cNvSpPr>
              <p:nvPr/>
            </p:nvSpPr>
            <p:spPr bwMode="auto">
              <a:xfrm>
                <a:off x="10460038" y="2632075"/>
                <a:ext cx="201613" cy="100013"/>
              </a:xfrm>
              <a:custGeom>
                <a:avLst/>
                <a:gdLst>
                  <a:gd name="T0" fmla="*/ 45 w 91"/>
                  <a:gd name="T1" fmla="*/ 0 h 45"/>
                  <a:gd name="T2" fmla="*/ 0 w 91"/>
                  <a:gd name="T3" fmla="*/ 45 h 45"/>
                  <a:gd name="T4" fmla="*/ 91 w 91"/>
                  <a:gd name="T5" fmla="*/ 45 h 45"/>
                  <a:gd name="T6" fmla="*/ 45 w 91"/>
                  <a:gd name="T7" fmla="*/ 0 h 45"/>
                </a:gdLst>
                <a:ahLst/>
                <a:cxnLst>
                  <a:cxn ang="0">
                    <a:pos x="T0" y="T1"/>
                  </a:cxn>
                  <a:cxn ang="0">
                    <a:pos x="T2" y="T3"/>
                  </a:cxn>
                  <a:cxn ang="0">
                    <a:pos x="T4" y="T5"/>
                  </a:cxn>
                  <a:cxn ang="0">
                    <a:pos x="T6" y="T7"/>
                  </a:cxn>
                </a:cxnLst>
                <a:rect l="0" t="0" r="r" b="b"/>
                <a:pathLst>
                  <a:path w="91" h="45">
                    <a:moveTo>
                      <a:pt x="45" y="0"/>
                    </a:moveTo>
                    <a:cubicBezTo>
                      <a:pt x="20" y="0"/>
                      <a:pt x="0" y="20"/>
                      <a:pt x="0" y="45"/>
                    </a:cubicBezTo>
                    <a:cubicBezTo>
                      <a:pt x="91" y="45"/>
                      <a:pt x="91" y="45"/>
                      <a:pt x="91" y="45"/>
                    </a:cubicBezTo>
                    <a:cubicBezTo>
                      <a:pt x="91"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3" name="Freeform 9"/>
              <p:cNvSpPr>
                <a:spLocks/>
              </p:cNvSpPr>
              <p:nvPr/>
            </p:nvSpPr>
            <p:spPr bwMode="auto">
              <a:xfrm>
                <a:off x="10898188" y="2654300"/>
                <a:ext cx="155575" cy="77788"/>
              </a:xfrm>
              <a:custGeom>
                <a:avLst/>
                <a:gdLst>
                  <a:gd name="T0" fmla="*/ 35 w 70"/>
                  <a:gd name="T1" fmla="*/ 0 h 35"/>
                  <a:gd name="T2" fmla="*/ 0 w 70"/>
                  <a:gd name="T3" fmla="*/ 35 h 35"/>
                  <a:gd name="T4" fmla="*/ 70 w 70"/>
                  <a:gd name="T5" fmla="*/ 35 h 35"/>
                  <a:gd name="T6" fmla="*/ 35 w 70"/>
                  <a:gd name="T7" fmla="*/ 0 h 35"/>
                </a:gdLst>
                <a:ahLst/>
                <a:cxnLst>
                  <a:cxn ang="0">
                    <a:pos x="T0" y="T1"/>
                  </a:cxn>
                  <a:cxn ang="0">
                    <a:pos x="T2" y="T3"/>
                  </a:cxn>
                  <a:cxn ang="0">
                    <a:pos x="T4" y="T5"/>
                  </a:cxn>
                  <a:cxn ang="0">
                    <a:pos x="T6" y="T7"/>
                  </a:cxn>
                </a:cxnLst>
                <a:rect l="0" t="0" r="r" b="b"/>
                <a:pathLst>
                  <a:path w="70" h="35">
                    <a:moveTo>
                      <a:pt x="35" y="0"/>
                    </a:moveTo>
                    <a:cubicBezTo>
                      <a:pt x="16" y="0"/>
                      <a:pt x="0" y="16"/>
                      <a:pt x="0" y="35"/>
                    </a:cubicBezTo>
                    <a:cubicBezTo>
                      <a:pt x="70" y="35"/>
                      <a:pt x="70" y="35"/>
                      <a:pt x="70" y="35"/>
                    </a:cubicBezTo>
                    <a:cubicBezTo>
                      <a:pt x="70" y="16"/>
                      <a:pt x="54" y="0"/>
                      <a:pt x="35"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4" name="Freeform 10"/>
              <p:cNvSpPr>
                <a:spLocks/>
              </p:cNvSpPr>
              <p:nvPr/>
            </p:nvSpPr>
            <p:spPr bwMode="auto">
              <a:xfrm>
                <a:off x="10780713" y="828675"/>
                <a:ext cx="241300" cy="293688"/>
              </a:xfrm>
              <a:custGeom>
                <a:avLst/>
                <a:gdLst>
                  <a:gd name="T0" fmla="*/ 98 w 109"/>
                  <a:gd name="T1" fmla="*/ 75 h 132"/>
                  <a:gd name="T2" fmla="*/ 38 w 109"/>
                  <a:gd name="T3" fmla="*/ 124 h 132"/>
                  <a:gd name="T4" fmla="*/ 10 w 109"/>
                  <a:gd name="T5" fmla="*/ 50 h 132"/>
                  <a:gd name="T6" fmla="*/ 76 w 109"/>
                  <a:gd name="T7" fmla="*/ 8 h 132"/>
                  <a:gd name="T8" fmla="*/ 98 w 109"/>
                  <a:gd name="T9" fmla="*/ 75 h 132"/>
                </a:gdLst>
                <a:ahLst/>
                <a:cxnLst>
                  <a:cxn ang="0">
                    <a:pos x="T0" y="T1"/>
                  </a:cxn>
                  <a:cxn ang="0">
                    <a:pos x="T2" y="T3"/>
                  </a:cxn>
                  <a:cxn ang="0">
                    <a:pos x="T4" y="T5"/>
                  </a:cxn>
                  <a:cxn ang="0">
                    <a:pos x="T6" y="T7"/>
                  </a:cxn>
                  <a:cxn ang="0">
                    <a:pos x="T8" y="T9"/>
                  </a:cxn>
                </a:cxnLst>
                <a:rect l="0" t="0" r="r" b="b"/>
                <a:pathLst>
                  <a:path w="109" h="132">
                    <a:moveTo>
                      <a:pt x="98" y="75"/>
                    </a:moveTo>
                    <a:cubicBezTo>
                      <a:pt x="88" y="107"/>
                      <a:pt x="64" y="132"/>
                      <a:pt x="38" y="124"/>
                    </a:cubicBezTo>
                    <a:cubicBezTo>
                      <a:pt x="12" y="115"/>
                      <a:pt x="0" y="82"/>
                      <a:pt x="10" y="50"/>
                    </a:cubicBezTo>
                    <a:cubicBezTo>
                      <a:pt x="21" y="19"/>
                      <a:pt x="50" y="0"/>
                      <a:pt x="76" y="8"/>
                    </a:cubicBezTo>
                    <a:cubicBezTo>
                      <a:pt x="102" y="17"/>
                      <a:pt x="109" y="43"/>
                      <a:pt x="98"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5" name="Freeform 11"/>
              <p:cNvSpPr>
                <a:spLocks/>
              </p:cNvSpPr>
              <p:nvPr/>
            </p:nvSpPr>
            <p:spPr bwMode="auto">
              <a:xfrm>
                <a:off x="10747375" y="798513"/>
                <a:ext cx="241300" cy="273050"/>
              </a:xfrm>
              <a:custGeom>
                <a:avLst/>
                <a:gdLst>
                  <a:gd name="T0" fmla="*/ 93 w 109"/>
                  <a:gd name="T1" fmla="*/ 39 h 123"/>
                  <a:gd name="T2" fmla="*/ 83 w 109"/>
                  <a:gd name="T3" fmla="*/ 111 h 123"/>
                  <a:gd name="T4" fmla="*/ 16 w 109"/>
                  <a:gd name="T5" fmla="*/ 84 h 123"/>
                  <a:gd name="T6" fmla="*/ 25 w 109"/>
                  <a:gd name="T7" fmla="*/ 12 h 123"/>
                  <a:gd name="T8" fmla="*/ 93 w 109"/>
                  <a:gd name="T9" fmla="*/ 39 h 123"/>
                </a:gdLst>
                <a:ahLst/>
                <a:cxnLst>
                  <a:cxn ang="0">
                    <a:pos x="T0" y="T1"/>
                  </a:cxn>
                  <a:cxn ang="0">
                    <a:pos x="T2" y="T3"/>
                  </a:cxn>
                  <a:cxn ang="0">
                    <a:pos x="T4" y="T5"/>
                  </a:cxn>
                  <a:cxn ang="0">
                    <a:pos x="T6" y="T7"/>
                  </a:cxn>
                  <a:cxn ang="0">
                    <a:pos x="T8" y="T9"/>
                  </a:cxn>
                </a:cxnLst>
                <a:rect l="0" t="0" r="r" b="b"/>
                <a:pathLst>
                  <a:path w="109" h="123">
                    <a:moveTo>
                      <a:pt x="93" y="39"/>
                    </a:moveTo>
                    <a:cubicBezTo>
                      <a:pt x="109" y="66"/>
                      <a:pt x="104" y="98"/>
                      <a:pt x="83" y="111"/>
                    </a:cubicBezTo>
                    <a:cubicBezTo>
                      <a:pt x="62" y="123"/>
                      <a:pt x="32" y="111"/>
                      <a:pt x="16" y="84"/>
                    </a:cubicBezTo>
                    <a:cubicBezTo>
                      <a:pt x="0" y="57"/>
                      <a:pt x="4" y="25"/>
                      <a:pt x="25" y="12"/>
                    </a:cubicBezTo>
                    <a:cubicBezTo>
                      <a:pt x="47" y="0"/>
                      <a:pt x="77" y="12"/>
                      <a:pt x="93"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6" name="Freeform 12"/>
              <p:cNvSpPr>
                <a:spLocks/>
              </p:cNvSpPr>
              <p:nvPr/>
            </p:nvSpPr>
            <p:spPr bwMode="auto">
              <a:xfrm>
                <a:off x="10826750" y="1050925"/>
                <a:ext cx="123825" cy="131763"/>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cubicBezTo>
                      <a:pt x="56" y="45"/>
                      <a:pt x="48" y="59"/>
                      <a:pt x="28" y="59"/>
                    </a:cubicBezTo>
                    <a:cubicBezTo>
                      <a:pt x="9" y="59"/>
                      <a:pt x="0" y="45"/>
                      <a:pt x="0" y="45"/>
                    </a:cubicBezTo>
                    <a:cubicBezTo>
                      <a:pt x="0" y="0"/>
                      <a:pt x="0" y="0"/>
                      <a:pt x="0" y="0"/>
                    </a:cubicBezTo>
                    <a:cubicBezTo>
                      <a:pt x="56" y="0"/>
                      <a:pt x="56" y="0"/>
                      <a:pt x="56" y="0"/>
                    </a:cubicBez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7" name="Freeform 13"/>
              <p:cNvSpPr>
                <a:spLocks/>
              </p:cNvSpPr>
              <p:nvPr/>
            </p:nvSpPr>
            <p:spPr bwMode="auto">
              <a:xfrm>
                <a:off x="10493375" y="1195388"/>
                <a:ext cx="304800" cy="690563"/>
              </a:xfrm>
              <a:custGeom>
                <a:avLst/>
                <a:gdLst>
                  <a:gd name="T0" fmla="*/ 137 w 137"/>
                  <a:gd name="T1" fmla="*/ 10 h 311"/>
                  <a:gd name="T2" fmla="*/ 72 w 137"/>
                  <a:gd name="T3" fmla="*/ 0 h 311"/>
                  <a:gd name="T4" fmla="*/ 0 w 137"/>
                  <a:gd name="T5" fmla="*/ 311 h 311"/>
                  <a:gd name="T6" fmla="*/ 49 w 137"/>
                  <a:gd name="T7" fmla="*/ 311 h 311"/>
                  <a:gd name="T8" fmla="*/ 137 w 137"/>
                  <a:gd name="T9" fmla="*/ 10 h 311"/>
                </a:gdLst>
                <a:ahLst/>
                <a:cxnLst>
                  <a:cxn ang="0">
                    <a:pos x="T0" y="T1"/>
                  </a:cxn>
                  <a:cxn ang="0">
                    <a:pos x="T2" y="T3"/>
                  </a:cxn>
                  <a:cxn ang="0">
                    <a:pos x="T4" y="T5"/>
                  </a:cxn>
                  <a:cxn ang="0">
                    <a:pos x="T6" y="T7"/>
                  </a:cxn>
                  <a:cxn ang="0">
                    <a:pos x="T8" y="T9"/>
                  </a:cxn>
                </a:cxnLst>
                <a:rect l="0" t="0" r="r" b="b"/>
                <a:pathLst>
                  <a:path w="137" h="311">
                    <a:moveTo>
                      <a:pt x="137" y="10"/>
                    </a:moveTo>
                    <a:cubicBezTo>
                      <a:pt x="121" y="6"/>
                      <a:pt x="88" y="5"/>
                      <a:pt x="72" y="0"/>
                    </a:cubicBezTo>
                    <a:cubicBezTo>
                      <a:pt x="26" y="101"/>
                      <a:pt x="10" y="201"/>
                      <a:pt x="0" y="311"/>
                    </a:cubicBezTo>
                    <a:cubicBezTo>
                      <a:pt x="49" y="311"/>
                      <a:pt x="49" y="311"/>
                      <a:pt x="49" y="311"/>
                    </a:cubicBezTo>
                    <a:cubicBezTo>
                      <a:pt x="60" y="206"/>
                      <a:pt x="92" y="106"/>
                      <a:pt x="137" y="1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8" name="Freeform 14"/>
              <p:cNvSpPr>
                <a:spLocks/>
              </p:cNvSpPr>
              <p:nvPr/>
            </p:nvSpPr>
            <p:spPr bwMode="auto">
              <a:xfrm>
                <a:off x="10983913" y="1189038"/>
                <a:ext cx="292100" cy="690563"/>
              </a:xfrm>
              <a:custGeom>
                <a:avLst/>
                <a:gdLst>
                  <a:gd name="T0" fmla="*/ 58 w 131"/>
                  <a:gd name="T1" fmla="*/ 177 h 311"/>
                  <a:gd name="T2" fmla="*/ 0 w 131"/>
                  <a:gd name="T3" fmla="*/ 13 h 311"/>
                  <a:gd name="T4" fmla="*/ 58 w 131"/>
                  <a:gd name="T5" fmla="*/ 0 h 311"/>
                  <a:gd name="T6" fmla="*/ 116 w 131"/>
                  <a:gd name="T7" fmla="*/ 192 h 311"/>
                  <a:gd name="T8" fmla="*/ 131 w 131"/>
                  <a:gd name="T9" fmla="*/ 311 h 311"/>
                  <a:gd name="T10" fmla="*/ 82 w 131"/>
                  <a:gd name="T11" fmla="*/ 311 h 311"/>
                  <a:gd name="T12" fmla="*/ 58 w 131"/>
                  <a:gd name="T13" fmla="*/ 177 h 311"/>
                </a:gdLst>
                <a:ahLst/>
                <a:cxnLst>
                  <a:cxn ang="0">
                    <a:pos x="T0" y="T1"/>
                  </a:cxn>
                  <a:cxn ang="0">
                    <a:pos x="T2" y="T3"/>
                  </a:cxn>
                  <a:cxn ang="0">
                    <a:pos x="T4" y="T5"/>
                  </a:cxn>
                  <a:cxn ang="0">
                    <a:pos x="T6" y="T7"/>
                  </a:cxn>
                  <a:cxn ang="0">
                    <a:pos x="T8" y="T9"/>
                  </a:cxn>
                  <a:cxn ang="0">
                    <a:pos x="T10" y="T11"/>
                  </a:cxn>
                  <a:cxn ang="0">
                    <a:pos x="T12" y="T13"/>
                  </a:cxn>
                </a:cxnLst>
                <a:rect l="0" t="0" r="r" b="b"/>
                <a:pathLst>
                  <a:path w="131" h="311">
                    <a:moveTo>
                      <a:pt x="58" y="177"/>
                    </a:moveTo>
                    <a:cubicBezTo>
                      <a:pt x="45" y="121"/>
                      <a:pt x="26" y="67"/>
                      <a:pt x="0" y="13"/>
                    </a:cubicBezTo>
                    <a:cubicBezTo>
                      <a:pt x="16" y="9"/>
                      <a:pt x="42" y="4"/>
                      <a:pt x="58" y="0"/>
                    </a:cubicBezTo>
                    <a:cubicBezTo>
                      <a:pt x="87" y="63"/>
                      <a:pt x="104" y="126"/>
                      <a:pt x="116" y="192"/>
                    </a:cubicBezTo>
                    <a:cubicBezTo>
                      <a:pt x="122" y="230"/>
                      <a:pt x="127" y="270"/>
                      <a:pt x="131" y="311"/>
                    </a:cubicBezTo>
                    <a:cubicBezTo>
                      <a:pt x="82" y="311"/>
                      <a:pt x="82" y="311"/>
                      <a:pt x="82" y="311"/>
                    </a:cubicBezTo>
                    <a:cubicBezTo>
                      <a:pt x="77" y="265"/>
                      <a:pt x="69" y="220"/>
                      <a:pt x="58" y="17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69" name="Freeform 15"/>
              <p:cNvSpPr>
                <a:spLocks/>
              </p:cNvSpPr>
              <p:nvPr/>
            </p:nvSpPr>
            <p:spPr bwMode="auto">
              <a:xfrm>
                <a:off x="10709275" y="1781175"/>
                <a:ext cx="173038" cy="887413"/>
              </a:xfrm>
              <a:custGeom>
                <a:avLst/>
                <a:gdLst>
                  <a:gd name="T0" fmla="*/ 94 w 109"/>
                  <a:gd name="T1" fmla="*/ 559 h 559"/>
                  <a:gd name="T2" fmla="*/ 22 w 109"/>
                  <a:gd name="T3" fmla="*/ 559 h 559"/>
                  <a:gd name="T4" fmla="*/ 0 w 109"/>
                  <a:gd name="T5" fmla="*/ 0 h 559"/>
                  <a:gd name="T6" fmla="*/ 109 w 109"/>
                  <a:gd name="T7" fmla="*/ 101 h 559"/>
                  <a:gd name="T8" fmla="*/ 94 w 109"/>
                  <a:gd name="T9" fmla="*/ 559 h 559"/>
                </a:gdLst>
                <a:ahLst/>
                <a:cxnLst>
                  <a:cxn ang="0">
                    <a:pos x="T0" y="T1"/>
                  </a:cxn>
                  <a:cxn ang="0">
                    <a:pos x="T2" y="T3"/>
                  </a:cxn>
                  <a:cxn ang="0">
                    <a:pos x="T4" y="T5"/>
                  </a:cxn>
                  <a:cxn ang="0">
                    <a:pos x="T6" y="T7"/>
                  </a:cxn>
                  <a:cxn ang="0">
                    <a:pos x="T8" y="T9"/>
                  </a:cxn>
                </a:cxnLst>
                <a:rect l="0" t="0" r="r" b="b"/>
                <a:pathLst>
                  <a:path w="109" h="559">
                    <a:moveTo>
                      <a:pt x="94" y="559"/>
                    </a:moveTo>
                    <a:lnTo>
                      <a:pt x="22" y="559"/>
                    </a:lnTo>
                    <a:lnTo>
                      <a:pt x="0" y="0"/>
                    </a:lnTo>
                    <a:lnTo>
                      <a:pt x="109" y="101"/>
                    </a:lnTo>
                    <a:lnTo>
                      <a:pt x="94"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0" name="Freeform 16"/>
              <p:cNvSpPr>
                <a:spLocks/>
              </p:cNvSpPr>
              <p:nvPr/>
            </p:nvSpPr>
            <p:spPr bwMode="auto">
              <a:xfrm>
                <a:off x="10888663" y="1781175"/>
                <a:ext cx="161925" cy="887413"/>
              </a:xfrm>
              <a:custGeom>
                <a:avLst/>
                <a:gdLst>
                  <a:gd name="T0" fmla="*/ 88 w 102"/>
                  <a:gd name="T1" fmla="*/ 559 h 559"/>
                  <a:gd name="T2" fmla="*/ 17 w 102"/>
                  <a:gd name="T3" fmla="*/ 559 h 559"/>
                  <a:gd name="T4" fmla="*/ 0 w 102"/>
                  <a:gd name="T5" fmla="*/ 101 h 559"/>
                  <a:gd name="T6" fmla="*/ 102 w 102"/>
                  <a:gd name="T7" fmla="*/ 0 h 559"/>
                  <a:gd name="T8" fmla="*/ 88 w 102"/>
                  <a:gd name="T9" fmla="*/ 559 h 559"/>
                </a:gdLst>
                <a:ahLst/>
                <a:cxnLst>
                  <a:cxn ang="0">
                    <a:pos x="T0" y="T1"/>
                  </a:cxn>
                  <a:cxn ang="0">
                    <a:pos x="T2" y="T3"/>
                  </a:cxn>
                  <a:cxn ang="0">
                    <a:pos x="T4" y="T5"/>
                  </a:cxn>
                  <a:cxn ang="0">
                    <a:pos x="T6" y="T7"/>
                  </a:cxn>
                  <a:cxn ang="0">
                    <a:pos x="T8" y="T9"/>
                  </a:cxn>
                </a:cxnLst>
                <a:rect l="0" t="0" r="r" b="b"/>
                <a:pathLst>
                  <a:path w="102" h="559">
                    <a:moveTo>
                      <a:pt x="88" y="559"/>
                    </a:moveTo>
                    <a:lnTo>
                      <a:pt x="17" y="559"/>
                    </a:lnTo>
                    <a:lnTo>
                      <a:pt x="0" y="101"/>
                    </a:lnTo>
                    <a:lnTo>
                      <a:pt x="102" y="0"/>
                    </a:lnTo>
                    <a:lnTo>
                      <a:pt x="88"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1" name="Freeform 17"/>
              <p:cNvSpPr>
                <a:spLocks/>
              </p:cNvSpPr>
              <p:nvPr/>
            </p:nvSpPr>
            <p:spPr bwMode="auto">
              <a:xfrm>
                <a:off x="10506075" y="1885950"/>
                <a:ext cx="80963" cy="88900"/>
              </a:xfrm>
              <a:custGeom>
                <a:avLst/>
                <a:gdLst>
                  <a:gd name="T0" fmla="*/ 0 w 36"/>
                  <a:gd name="T1" fmla="*/ 0 h 40"/>
                  <a:gd name="T2" fmla="*/ 0 w 36"/>
                  <a:gd name="T3" fmla="*/ 22 h 40"/>
                  <a:gd name="T4" fmla="*/ 18 w 36"/>
                  <a:gd name="T5" fmla="*/ 40 h 40"/>
                  <a:gd name="T6" fmla="*/ 36 w 36"/>
                  <a:gd name="T7" fmla="*/ 22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2"/>
                      <a:pt x="0" y="22"/>
                      <a:pt x="0" y="22"/>
                    </a:cubicBezTo>
                    <a:cubicBezTo>
                      <a:pt x="0" y="32"/>
                      <a:pt x="8" y="40"/>
                      <a:pt x="18" y="40"/>
                    </a:cubicBezTo>
                    <a:cubicBezTo>
                      <a:pt x="28" y="40"/>
                      <a:pt x="36" y="32"/>
                      <a:pt x="36" y="22"/>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2" name="Freeform 18"/>
              <p:cNvSpPr>
                <a:spLocks/>
              </p:cNvSpPr>
              <p:nvPr/>
            </p:nvSpPr>
            <p:spPr bwMode="auto">
              <a:xfrm>
                <a:off x="11180763" y="1879600"/>
                <a:ext cx="79375" cy="88900"/>
              </a:xfrm>
              <a:custGeom>
                <a:avLst/>
                <a:gdLst>
                  <a:gd name="T0" fmla="*/ 0 w 36"/>
                  <a:gd name="T1" fmla="*/ 0 h 40"/>
                  <a:gd name="T2" fmla="*/ 0 w 36"/>
                  <a:gd name="T3" fmla="*/ 21 h 40"/>
                  <a:gd name="T4" fmla="*/ 18 w 36"/>
                  <a:gd name="T5" fmla="*/ 40 h 40"/>
                  <a:gd name="T6" fmla="*/ 36 w 36"/>
                  <a:gd name="T7" fmla="*/ 21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1"/>
                      <a:pt x="0" y="21"/>
                      <a:pt x="0" y="21"/>
                    </a:cubicBezTo>
                    <a:cubicBezTo>
                      <a:pt x="0" y="31"/>
                      <a:pt x="8" y="40"/>
                      <a:pt x="18" y="40"/>
                    </a:cubicBezTo>
                    <a:cubicBezTo>
                      <a:pt x="28" y="40"/>
                      <a:pt x="36" y="31"/>
                      <a:pt x="36" y="21"/>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3" name="Freeform 19"/>
              <p:cNvSpPr>
                <a:spLocks/>
              </p:cNvSpPr>
              <p:nvPr/>
            </p:nvSpPr>
            <p:spPr bwMode="auto">
              <a:xfrm>
                <a:off x="10764838" y="901700"/>
                <a:ext cx="246063" cy="220663"/>
              </a:xfrm>
              <a:custGeom>
                <a:avLst/>
                <a:gdLst>
                  <a:gd name="T0" fmla="*/ 106 w 111"/>
                  <a:gd name="T1" fmla="*/ 24 h 99"/>
                  <a:gd name="T2" fmla="*/ 103 w 111"/>
                  <a:gd name="T3" fmla="*/ 23 h 99"/>
                  <a:gd name="T4" fmla="*/ 103 w 111"/>
                  <a:gd name="T5" fmla="*/ 16 h 99"/>
                  <a:gd name="T6" fmla="*/ 103 w 111"/>
                  <a:gd name="T7" fmla="*/ 14 h 99"/>
                  <a:gd name="T8" fmla="*/ 103 w 111"/>
                  <a:gd name="T9" fmla="*/ 13 h 99"/>
                  <a:gd name="T10" fmla="*/ 102 w 111"/>
                  <a:gd name="T11" fmla="*/ 12 h 99"/>
                  <a:gd name="T12" fmla="*/ 102 w 111"/>
                  <a:gd name="T13" fmla="*/ 11 h 99"/>
                  <a:gd name="T14" fmla="*/ 102 w 111"/>
                  <a:gd name="T15" fmla="*/ 10 h 99"/>
                  <a:gd name="T16" fmla="*/ 102 w 111"/>
                  <a:gd name="T17" fmla="*/ 9 h 99"/>
                  <a:gd name="T18" fmla="*/ 102 w 111"/>
                  <a:gd name="T19" fmla="*/ 9 h 99"/>
                  <a:gd name="T20" fmla="*/ 101 w 111"/>
                  <a:gd name="T21" fmla="*/ 6 h 99"/>
                  <a:gd name="T22" fmla="*/ 100 w 111"/>
                  <a:gd name="T23" fmla="*/ 6 h 99"/>
                  <a:gd name="T24" fmla="*/ 100 w 111"/>
                  <a:gd name="T25" fmla="*/ 5 h 99"/>
                  <a:gd name="T26" fmla="*/ 99 w 111"/>
                  <a:gd name="T27" fmla="*/ 4 h 99"/>
                  <a:gd name="T28" fmla="*/ 99 w 111"/>
                  <a:gd name="T29" fmla="*/ 3 h 99"/>
                  <a:gd name="T30" fmla="*/ 99 w 111"/>
                  <a:gd name="T31" fmla="*/ 3 h 99"/>
                  <a:gd name="T32" fmla="*/ 90 w 111"/>
                  <a:gd name="T33" fmla="*/ 4 h 99"/>
                  <a:gd name="T34" fmla="*/ 74 w 111"/>
                  <a:gd name="T35" fmla="*/ 0 h 99"/>
                  <a:gd name="T36" fmla="*/ 45 w 111"/>
                  <a:gd name="T37" fmla="*/ 4 h 99"/>
                  <a:gd name="T38" fmla="*/ 15 w 111"/>
                  <a:gd name="T39" fmla="*/ 0 h 99"/>
                  <a:gd name="T40" fmla="*/ 11 w 111"/>
                  <a:gd name="T41" fmla="*/ 5 h 99"/>
                  <a:gd name="T42" fmla="*/ 11 w 111"/>
                  <a:gd name="T43" fmla="*/ 5 h 99"/>
                  <a:gd name="T44" fmla="*/ 10 w 111"/>
                  <a:gd name="T45" fmla="*/ 7 h 99"/>
                  <a:gd name="T46" fmla="*/ 10 w 111"/>
                  <a:gd name="T47" fmla="*/ 7 h 99"/>
                  <a:gd name="T48" fmla="*/ 9 w 111"/>
                  <a:gd name="T49" fmla="*/ 9 h 99"/>
                  <a:gd name="T50" fmla="*/ 9 w 111"/>
                  <a:gd name="T51" fmla="*/ 9 h 99"/>
                  <a:gd name="T52" fmla="*/ 9 w 111"/>
                  <a:gd name="T53" fmla="*/ 11 h 99"/>
                  <a:gd name="T54" fmla="*/ 9 w 111"/>
                  <a:gd name="T55" fmla="*/ 12 h 99"/>
                  <a:gd name="T56" fmla="*/ 8 w 111"/>
                  <a:gd name="T57" fmla="*/ 13 h 99"/>
                  <a:gd name="T58" fmla="*/ 8 w 111"/>
                  <a:gd name="T59" fmla="*/ 14 h 99"/>
                  <a:gd name="T60" fmla="*/ 8 w 111"/>
                  <a:gd name="T61" fmla="*/ 16 h 99"/>
                  <a:gd name="T62" fmla="*/ 8 w 111"/>
                  <a:gd name="T63" fmla="*/ 23 h 99"/>
                  <a:gd name="T64" fmla="*/ 7 w 111"/>
                  <a:gd name="T65" fmla="*/ 23 h 99"/>
                  <a:gd name="T66" fmla="*/ 0 w 111"/>
                  <a:gd name="T67" fmla="*/ 31 h 99"/>
                  <a:gd name="T68" fmla="*/ 0 w 111"/>
                  <a:gd name="T69" fmla="*/ 49 h 99"/>
                  <a:gd name="T70" fmla="*/ 8 w 111"/>
                  <a:gd name="T71" fmla="*/ 57 h 99"/>
                  <a:gd name="T72" fmla="*/ 34 w 111"/>
                  <a:gd name="T73" fmla="*/ 99 h 99"/>
                  <a:gd name="T74" fmla="*/ 77 w 111"/>
                  <a:gd name="T75" fmla="*/ 99 h 99"/>
                  <a:gd name="T76" fmla="*/ 103 w 111"/>
                  <a:gd name="T77" fmla="*/ 57 h 99"/>
                  <a:gd name="T78" fmla="*/ 111 w 111"/>
                  <a:gd name="T79" fmla="*/ 49 h 99"/>
                  <a:gd name="T80" fmla="*/ 111 w 111"/>
                  <a:gd name="T81" fmla="*/ 31 h 99"/>
                  <a:gd name="T82" fmla="*/ 106 w 111"/>
                  <a:gd name="T83"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99">
                    <a:moveTo>
                      <a:pt x="106" y="24"/>
                    </a:moveTo>
                    <a:cubicBezTo>
                      <a:pt x="105" y="23"/>
                      <a:pt x="104" y="23"/>
                      <a:pt x="103" y="23"/>
                    </a:cubicBezTo>
                    <a:cubicBezTo>
                      <a:pt x="103" y="16"/>
                      <a:pt x="103" y="16"/>
                      <a:pt x="103" y="16"/>
                    </a:cubicBezTo>
                    <a:cubicBezTo>
                      <a:pt x="103" y="16"/>
                      <a:pt x="103" y="15"/>
                      <a:pt x="103" y="14"/>
                    </a:cubicBezTo>
                    <a:cubicBezTo>
                      <a:pt x="103" y="14"/>
                      <a:pt x="103" y="14"/>
                      <a:pt x="103" y="13"/>
                    </a:cubicBezTo>
                    <a:cubicBezTo>
                      <a:pt x="103" y="13"/>
                      <a:pt x="103" y="13"/>
                      <a:pt x="102" y="12"/>
                    </a:cubicBezTo>
                    <a:cubicBezTo>
                      <a:pt x="102" y="12"/>
                      <a:pt x="102" y="12"/>
                      <a:pt x="102" y="11"/>
                    </a:cubicBezTo>
                    <a:cubicBezTo>
                      <a:pt x="102" y="11"/>
                      <a:pt x="102" y="11"/>
                      <a:pt x="102" y="10"/>
                    </a:cubicBezTo>
                    <a:cubicBezTo>
                      <a:pt x="102" y="10"/>
                      <a:pt x="102" y="10"/>
                      <a:pt x="102" y="9"/>
                    </a:cubicBezTo>
                    <a:cubicBezTo>
                      <a:pt x="102" y="9"/>
                      <a:pt x="102" y="9"/>
                      <a:pt x="102" y="9"/>
                    </a:cubicBezTo>
                    <a:cubicBezTo>
                      <a:pt x="101" y="8"/>
                      <a:pt x="101" y="7"/>
                      <a:pt x="101" y="6"/>
                    </a:cubicBezTo>
                    <a:cubicBezTo>
                      <a:pt x="100" y="6"/>
                      <a:pt x="100" y="6"/>
                      <a:pt x="100" y="6"/>
                    </a:cubicBezTo>
                    <a:cubicBezTo>
                      <a:pt x="100" y="5"/>
                      <a:pt x="100" y="5"/>
                      <a:pt x="100" y="5"/>
                    </a:cubicBezTo>
                    <a:cubicBezTo>
                      <a:pt x="100" y="5"/>
                      <a:pt x="100" y="4"/>
                      <a:pt x="99" y="4"/>
                    </a:cubicBezTo>
                    <a:cubicBezTo>
                      <a:pt x="99" y="4"/>
                      <a:pt x="99" y="3"/>
                      <a:pt x="99" y="3"/>
                    </a:cubicBezTo>
                    <a:cubicBezTo>
                      <a:pt x="99" y="3"/>
                      <a:pt x="99" y="3"/>
                      <a:pt x="99" y="3"/>
                    </a:cubicBezTo>
                    <a:cubicBezTo>
                      <a:pt x="96" y="4"/>
                      <a:pt x="93" y="4"/>
                      <a:pt x="90" y="4"/>
                    </a:cubicBezTo>
                    <a:cubicBezTo>
                      <a:pt x="83" y="4"/>
                      <a:pt x="78" y="2"/>
                      <a:pt x="74" y="0"/>
                    </a:cubicBezTo>
                    <a:cubicBezTo>
                      <a:pt x="67" y="2"/>
                      <a:pt x="57" y="4"/>
                      <a:pt x="45" y="4"/>
                    </a:cubicBezTo>
                    <a:cubicBezTo>
                      <a:pt x="33" y="4"/>
                      <a:pt x="22" y="2"/>
                      <a:pt x="15" y="0"/>
                    </a:cubicBezTo>
                    <a:cubicBezTo>
                      <a:pt x="14" y="1"/>
                      <a:pt x="12" y="3"/>
                      <a:pt x="11" y="5"/>
                    </a:cubicBezTo>
                    <a:cubicBezTo>
                      <a:pt x="11" y="5"/>
                      <a:pt x="11" y="5"/>
                      <a:pt x="11" y="5"/>
                    </a:cubicBezTo>
                    <a:cubicBezTo>
                      <a:pt x="11" y="6"/>
                      <a:pt x="10" y="6"/>
                      <a:pt x="10" y="7"/>
                    </a:cubicBezTo>
                    <a:cubicBezTo>
                      <a:pt x="10" y="7"/>
                      <a:pt x="10" y="7"/>
                      <a:pt x="10" y="7"/>
                    </a:cubicBezTo>
                    <a:cubicBezTo>
                      <a:pt x="10" y="8"/>
                      <a:pt x="10" y="8"/>
                      <a:pt x="9" y="9"/>
                    </a:cubicBezTo>
                    <a:cubicBezTo>
                      <a:pt x="9" y="9"/>
                      <a:pt x="9" y="9"/>
                      <a:pt x="9" y="9"/>
                    </a:cubicBezTo>
                    <a:cubicBezTo>
                      <a:pt x="9" y="10"/>
                      <a:pt x="9" y="11"/>
                      <a:pt x="9" y="11"/>
                    </a:cubicBezTo>
                    <a:cubicBezTo>
                      <a:pt x="9" y="11"/>
                      <a:pt x="9" y="11"/>
                      <a:pt x="9" y="12"/>
                    </a:cubicBezTo>
                    <a:cubicBezTo>
                      <a:pt x="8" y="12"/>
                      <a:pt x="8" y="13"/>
                      <a:pt x="8" y="13"/>
                    </a:cubicBezTo>
                    <a:cubicBezTo>
                      <a:pt x="8" y="14"/>
                      <a:pt x="8" y="14"/>
                      <a:pt x="8" y="14"/>
                    </a:cubicBezTo>
                    <a:cubicBezTo>
                      <a:pt x="8" y="15"/>
                      <a:pt x="8" y="16"/>
                      <a:pt x="8" y="16"/>
                    </a:cubicBezTo>
                    <a:cubicBezTo>
                      <a:pt x="8" y="23"/>
                      <a:pt x="8" y="23"/>
                      <a:pt x="8" y="23"/>
                    </a:cubicBezTo>
                    <a:cubicBezTo>
                      <a:pt x="8" y="23"/>
                      <a:pt x="7" y="23"/>
                      <a:pt x="7" y="23"/>
                    </a:cubicBezTo>
                    <a:cubicBezTo>
                      <a:pt x="3" y="24"/>
                      <a:pt x="0" y="27"/>
                      <a:pt x="0" y="31"/>
                    </a:cubicBezTo>
                    <a:cubicBezTo>
                      <a:pt x="0" y="49"/>
                      <a:pt x="0" y="49"/>
                      <a:pt x="0" y="49"/>
                    </a:cubicBezTo>
                    <a:cubicBezTo>
                      <a:pt x="0" y="53"/>
                      <a:pt x="4" y="57"/>
                      <a:pt x="8" y="57"/>
                    </a:cubicBezTo>
                    <a:cubicBezTo>
                      <a:pt x="8" y="57"/>
                      <a:pt x="22" y="99"/>
                      <a:pt x="34" y="99"/>
                    </a:cubicBezTo>
                    <a:cubicBezTo>
                      <a:pt x="77" y="99"/>
                      <a:pt x="77" y="99"/>
                      <a:pt x="77" y="99"/>
                    </a:cubicBezTo>
                    <a:cubicBezTo>
                      <a:pt x="89" y="99"/>
                      <a:pt x="103" y="57"/>
                      <a:pt x="103" y="57"/>
                    </a:cubicBezTo>
                    <a:cubicBezTo>
                      <a:pt x="107" y="57"/>
                      <a:pt x="111" y="53"/>
                      <a:pt x="111" y="49"/>
                    </a:cubicBezTo>
                    <a:cubicBezTo>
                      <a:pt x="111" y="31"/>
                      <a:pt x="111" y="31"/>
                      <a:pt x="111" y="31"/>
                    </a:cubicBezTo>
                    <a:cubicBezTo>
                      <a:pt x="111" y="28"/>
                      <a:pt x="109" y="25"/>
                      <a:pt x="106"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4" name="Freeform 20"/>
              <p:cNvSpPr>
                <a:spLocks noEditPoints="1"/>
              </p:cNvSpPr>
              <p:nvPr/>
            </p:nvSpPr>
            <p:spPr bwMode="auto">
              <a:xfrm>
                <a:off x="10450513" y="2552700"/>
                <a:ext cx="207963" cy="100013"/>
              </a:xfrm>
              <a:custGeom>
                <a:avLst/>
                <a:gdLst>
                  <a:gd name="T0" fmla="*/ 92 w 93"/>
                  <a:gd name="T1" fmla="*/ 21 h 45"/>
                  <a:gd name="T2" fmla="*/ 69 w 93"/>
                  <a:gd name="T3" fmla="*/ 15 h 45"/>
                  <a:gd name="T4" fmla="*/ 46 w 93"/>
                  <a:gd name="T5" fmla="*/ 14 h 45"/>
                  <a:gd name="T6" fmla="*/ 25 w 93"/>
                  <a:gd name="T7" fmla="*/ 4 h 45"/>
                  <a:gd name="T8" fmla="*/ 1 w 93"/>
                  <a:gd name="T9" fmla="*/ 0 h 45"/>
                  <a:gd name="T10" fmla="*/ 0 w 93"/>
                  <a:gd name="T11" fmla="*/ 3 h 45"/>
                  <a:gd name="T12" fmla="*/ 2 w 93"/>
                  <a:gd name="T13" fmla="*/ 7 h 45"/>
                  <a:gd name="T14" fmla="*/ 3 w 93"/>
                  <a:gd name="T15" fmla="*/ 15 h 45"/>
                  <a:gd name="T16" fmla="*/ 22 w 93"/>
                  <a:gd name="T17" fmla="*/ 32 h 45"/>
                  <a:gd name="T18" fmla="*/ 41 w 93"/>
                  <a:gd name="T19" fmla="*/ 20 h 45"/>
                  <a:gd name="T20" fmla="*/ 45 w 93"/>
                  <a:gd name="T21" fmla="*/ 19 h 45"/>
                  <a:gd name="T22" fmla="*/ 48 w 93"/>
                  <a:gd name="T23" fmla="*/ 21 h 45"/>
                  <a:gd name="T24" fmla="*/ 59 w 93"/>
                  <a:gd name="T25" fmla="*/ 41 h 45"/>
                  <a:gd name="T26" fmla="*/ 83 w 93"/>
                  <a:gd name="T27" fmla="*/ 34 h 45"/>
                  <a:gd name="T28" fmla="*/ 88 w 93"/>
                  <a:gd name="T29" fmla="*/ 27 h 45"/>
                  <a:gd name="T30" fmla="*/ 91 w 93"/>
                  <a:gd name="T31" fmla="*/ 24 h 45"/>
                  <a:gd name="T32" fmla="*/ 92 w 93"/>
                  <a:gd name="T33" fmla="*/ 21 h 45"/>
                  <a:gd name="T34" fmla="*/ 31 w 93"/>
                  <a:gd name="T35" fmla="*/ 27 h 45"/>
                  <a:gd name="T36" fmla="*/ 13 w 93"/>
                  <a:gd name="T37" fmla="*/ 28 h 45"/>
                  <a:gd name="T38" fmla="*/ 7 w 93"/>
                  <a:gd name="T39" fmla="*/ 9 h 45"/>
                  <a:gd name="T40" fmla="*/ 25 w 93"/>
                  <a:gd name="T41" fmla="*/ 6 h 45"/>
                  <a:gd name="T42" fmla="*/ 36 w 93"/>
                  <a:gd name="T43" fmla="*/ 12 h 45"/>
                  <a:gd name="T44" fmla="*/ 31 w 93"/>
                  <a:gd name="T45" fmla="*/ 27 h 45"/>
                  <a:gd name="T46" fmla="*/ 68 w 93"/>
                  <a:gd name="T47" fmla="*/ 41 h 45"/>
                  <a:gd name="T48" fmla="*/ 53 w 93"/>
                  <a:gd name="T49" fmla="*/ 33 h 45"/>
                  <a:gd name="T50" fmla="*/ 56 w 93"/>
                  <a:gd name="T51" fmla="*/ 17 h 45"/>
                  <a:gd name="T52" fmla="*/ 68 w 93"/>
                  <a:gd name="T53" fmla="*/ 17 h 45"/>
                  <a:gd name="T54" fmla="*/ 83 w 93"/>
                  <a:gd name="T55" fmla="*/ 27 h 45"/>
                  <a:gd name="T56" fmla="*/ 68 w 93"/>
                  <a:gd name="T57"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45">
                    <a:moveTo>
                      <a:pt x="92" y="21"/>
                    </a:moveTo>
                    <a:cubicBezTo>
                      <a:pt x="92" y="21"/>
                      <a:pt x="79" y="16"/>
                      <a:pt x="69" y="15"/>
                    </a:cubicBezTo>
                    <a:cubicBezTo>
                      <a:pt x="59" y="14"/>
                      <a:pt x="50" y="15"/>
                      <a:pt x="46" y="14"/>
                    </a:cubicBezTo>
                    <a:cubicBezTo>
                      <a:pt x="41" y="13"/>
                      <a:pt x="34" y="8"/>
                      <a:pt x="25" y="4"/>
                    </a:cubicBezTo>
                    <a:cubicBezTo>
                      <a:pt x="15" y="1"/>
                      <a:pt x="1" y="0"/>
                      <a:pt x="1" y="0"/>
                    </a:cubicBezTo>
                    <a:cubicBezTo>
                      <a:pt x="0" y="0"/>
                      <a:pt x="0" y="1"/>
                      <a:pt x="0" y="3"/>
                    </a:cubicBezTo>
                    <a:cubicBezTo>
                      <a:pt x="0" y="4"/>
                      <a:pt x="0" y="5"/>
                      <a:pt x="2" y="7"/>
                    </a:cubicBezTo>
                    <a:cubicBezTo>
                      <a:pt x="4" y="8"/>
                      <a:pt x="3" y="15"/>
                      <a:pt x="3" y="15"/>
                    </a:cubicBezTo>
                    <a:cubicBezTo>
                      <a:pt x="3" y="26"/>
                      <a:pt x="10" y="31"/>
                      <a:pt x="22" y="32"/>
                    </a:cubicBezTo>
                    <a:cubicBezTo>
                      <a:pt x="34" y="33"/>
                      <a:pt x="39" y="21"/>
                      <a:pt x="41" y="20"/>
                    </a:cubicBezTo>
                    <a:cubicBezTo>
                      <a:pt x="43" y="18"/>
                      <a:pt x="45" y="19"/>
                      <a:pt x="45" y="19"/>
                    </a:cubicBezTo>
                    <a:cubicBezTo>
                      <a:pt x="45" y="19"/>
                      <a:pt x="47" y="19"/>
                      <a:pt x="48" y="21"/>
                    </a:cubicBezTo>
                    <a:cubicBezTo>
                      <a:pt x="49" y="23"/>
                      <a:pt x="48" y="36"/>
                      <a:pt x="59" y="41"/>
                    </a:cubicBezTo>
                    <a:cubicBezTo>
                      <a:pt x="70" y="45"/>
                      <a:pt x="79" y="44"/>
                      <a:pt x="83" y="34"/>
                    </a:cubicBezTo>
                    <a:cubicBezTo>
                      <a:pt x="83" y="34"/>
                      <a:pt x="85" y="28"/>
                      <a:pt x="88" y="27"/>
                    </a:cubicBezTo>
                    <a:cubicBezTo>
                      <a:pt x="90" y="27"/>
                      <a:pt x="90" y="26"/>
                      <a:pt x="91" y="24"/>
                    </a:cubicBezTo>
                    <a:cubicBezTo>
                      <a:pt x="92" y="23"/>
                      <a:pt x="93" y="22"/>
                      <a:pt x="92" y="21"/>
                    </a:cubicBezTo>
                    <a:close/>
                    <a:moveTo>
                      <a:pt x="31" y="27"/>
                    </a:moveTo>
                    <a:cubicBezTo>
                      <a:pt x="27" y="31"/>
                      <a:pt x="21" y="31"/>
                      <a:pt x="13" y="28"/>
                    </a:cubicBezTo>
                    <a:cubicBezTo>
                      <a:pt x="6" y="25"/>
                      <a:pt x="4" y="19"/>
                      <a:pt x="7" y="9"/>
                    </a:cubicBezTo>
                    <a:cubicBezTo>
                      <a:pt x="9" y="0"/>
                      <a:pt x="25" y="6"/>
                      <a:pt x="25" y="6"/>
                    </a:cubicBezTo>
                    <a:cubicBezTo>
                      <a:pt x="31" y="9"/>
                      <a:pt x="31" y="9"/>
                      <a:pt x="36" y="12"/>
                    </a:cubicBezTo>
                    <a:cubicBezTo>
                      <a:pt x="40" y="15"/>
                      <a:pt x="35" y="24"/>
                      <a:pt x="31" y="27"/>
                    </a:cubicBezTo>
                    <a:close/>
                    <a:moveTo>
                      <a:pt x="68" y="41"/>
                    </a:moveTo>
                    <a:cubicBezTo>
                      <a:pt x="61" y="40"/>
                      <a:pt x="55" y="37"/>
                      <a:pt x="53" y="33"/>
                    </a:cubicBezTo>
                    <a:cubicBezTo>
                      <a:pt x="51" y="28"/>
                      <a:pt x="50" y="18"/>
                      <a:pt x="56" y="17"/>
                    </a:cubicBezTo>
                    <a:cubicBezTo>
                      <a:pt x="61" y="16"/>
                      <a:pt x="61" y="16"/>
                      <a:pt x="68" y="17"/>
                    </a:cubicBezTo>
                    <a:cubicBezTo>
                      <a:pt x="68" y="17"/>
                      <a:pt x="85" y="18"/>
                      <a:pt x="83" y="27"/>
                    </a:cubicBezTo>
                    <a:cubicBezTo>
                      <a:pt x="80" y="37"/>
                      <a:pt x="76" y="42"/>
                      <a:pt x="6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5" name="Freeform 21"/>
              <p:cNvSpPr>
                <a:spLocks/>
              </p:cNvSpPr>
              <p:nvPr/>
            </p:nvSpPr>
            <p:spPr bwMode="auto">
              <a:xfrm>
                <a:off x="10455275" y="2554288"/>
                <a:ext cx="6350" cy="7938"/>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3"/>
                      <a:pt x="2" y="3"/>
                      <a:pt x="1" y="3"/>
                    </a:cubicBezTo>
                    <a:cubicBezTo>
                      <a:pt x="0" y="3"/>
                      <a:pt x="0" y="2"/>
                      <a:pt x="0" y="1"/>
                    </a:cubicBezTo>
                    <a:cubicBezTo>
                      <a:pt x="0" y="1"/>
                      <a:pt x="1" y="0"/>
                      <a:pt x="2" y="0"/>
                    </a:cubicBezTo>
                    <a:cubicBezTo>
                      <a:pt x="2" y="1"/>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6" name="Freeform 22"/>
              <p:cNvSpPr>
                <a:spLocks/>
              </p:cNvSpPr>
              <p:nvPr/>
            </p:nvSpPr>
            <p:spPr bwMode="auto">
              <a:xfrm>
                <a:off x="10644188" y="2601913"/>
                <a:ext cx="6350" cy="6350"/>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3" y="2"/>
                      <a:pt x="2" y="3"/>
                      <a:pt x="1" y="3"/>
                    </a:cubicBezTo>
                    <a:cubicBezTo>
                      <a:pt x="0" y="2"/>
                      <a:pt x="0" y="2"/>
                      <a:pt x="0" y="1"/>
                    </a:cubicBezTo>
                    <a:cubicBezTo>
                      <a:pt x="0" y="0"/>
                      <a:pt x="1" y="0"/>
                      <a:pt x="2" y="0"/>
                    </a:cubicBezTo>
                    <a:cubicBezTo>
                      <a:pt x="3" y="0"/>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7" name="Rectangle 23"/>
              <p:cNvSpPr>
                <a:spLocks noChangeArrowheads="1"/>
              </p:cNvSpPr>
              <p:nvPr/>
            </p:nvSpPr>
            <p:spPr bwMode="auto">
              <a:xfrm>
                <a:off x="10247313" y="2632075"/>
                <a:ext cx="312738" cy="1000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8" name="Freeform 24"/>
              <p:cNvSpPr>
                <a:spLocks/>
              </p:cNvSpPr>
              <p:nvPr/>
            </p:nvSpPr>
            <p:spPr bwMode="auto">
              <a:xfrm>
                <a:off x="10328275" y="2601913"/>
                <a:ext cx="96838"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79" name="Freeform 25"/>
              <p:cNvSpPr>
                <a:spLocks/>
              </p:cNvSpPr>
              <p:nvPr/>
            </p:nvSpPr>
            <p:spPr bwMode="auto">
              <a:xfrm>
                <a:off x="10477500" y="2601913"/>
                <a:ext cx="95250"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0" name="Rectangle 26"/>
              <p:cNvSpPr>
                <a:spLocks noChangeArrowheads="1"/>
              </p:cNvSpPr>
              <p:nvPr/>
            </p:nvSpPr>
            <p:spPr bwMode="auto">
              <a:xfrm>
                <a:off x="10377488" y="2601913"/>
                <a:ext cx="14922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1" name="Freeform 27"/>
              <p:cNvSpPr>
                <a:spLocks/>
              </p:cNvSpPr>
              <p:nvPr/>
            </p:nvSpPr>
            <p:spPr bwMode="auto">
              <a:xfrm>
                <a:off x="10653713" y="1166813"/>
                <a:ext cx="460375" cy="614363"/>
              </a:xfrm>
              <a:custGeom>
                <a:avLst/>
                <a:gdLst>
                  <a:gd name="T0" fmla="*/ 203 w 290"/>
                  <a:gd name="T1" fmla="*/ 3 h 387"/>
                  <a:gd name="T2" fmla="*/ 148 w 290"/>
                  <a:gd name="T3" fmla="*/ 47 h 387"/>
                  <a:gd name="T4" fmla="*/ 92 w 290"/>
                  <a:gd name="T5" fmla="*/ 0 h 387"/>
                  <a:gd name="T6" fmla="*/ 0 w 290"/>
                  <a:gd name="T7" fmla="*/ 18 h 387"/>
                  <a:gd name="T8" fmla="*/ 35 w 290"/>
                  <a:gd name="T9" fmla="*/ 387 h 387"/>
                  <a:gd name="T10" fmla="*/ 250 w 290"/>
                  <a:gd name="T11" fmla="*/ 387 h 387"/>
                  <a:gd name="T12" fmla="*/ 290 w 290"/>
                  <a:gd name="T13" fmla="*/ 14 h 387"/>
                  <a:gd name="T14" fmla="*/ 203 w 290"/>
                  <a:gd name="T15" fmla="*/ 3 h 3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387">
                    <a:moveTo>
                      <a:pt x="203" y="3"/>
                    </a:moveTo>
                    <a:lnTo>
                      <a:pt x="148" y="47"/>
                    </a:lnTo>
                    <a:lnTo>
                      <a:pt x="92" y="0"/>
                    </a:lnTo>
                    <a:lnTo>
                      <a:pt x="0" y="18"/>
                    </a:lnTo>
                    <a:lnTo>
                      <a:pt x="35" y="387"/>
                    </a:lnTo>
                    <a:lnTo>
                      <a:pt x="250" y="387"/>
                    </a:lnTo>
                    <a:lnTo>
                      <a:pt x="290" y="14"/>
                    </a:lnTo>
                    <a:lnTo>
                      <a:pt x="203" y="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2" name="Freeform 28"/>
              <p:cNvSpPr>
                <a:spLocks/>
              </p:cNvSpPr>
              <p:nvPr/>
            </p:nvSpPr>
            <p:spPr bwMode="auto">
              <a:xfrm>
                <a:off x="10709275" y="1781175"/>
                <a:ext cx="341313" cy="182563"/>
              </a:xfrm>
              <a:custGeom>
                <a:avLst/>
                <a:gdLst>
                  <a:gd name="T0" fmla="*/ 154 w 154"/>
                  <a:gd name="T1" fmla="*/ 0 h 82"/>
                  <a:gd name="T2" fmla="*/ 0 w 154"/>
                  <a:gd name="T3" fmla="*/ 0 h 82"/>
                  <a:gd name="T4" fmla="*/ 60 w 154"/>
                  <a:gd name="T5" fmla="*/ 70 h 82"/>
                  <a:gd name="T6" fmla="*/ 79 w 154"/>
                  <a:gd name="T7" fmla="*/ 82 h 82"/>
                  <a:gd name="T8" fmla="*/ 98 w 154"/>
                  <a:gd name="T9" fmla="*/ 70 h 82"/>
                  <a:gd name="T10" fmla="*/ 154 w 154"/>
                  <a:gd name="T11" fmla="*/ 0 h 82"/>
                </a:gdLst>
                <a:ahLst/>
                <a:cxnLst>
                  <a:cxn ang="0">
                    <a:pos x="T0" y="T1"/>
                  </a:cxn>
                  <a:cxn ang="0">
                    <a:pos x="T2" y="T3"/>
                  </a:cxn>
                  <a:cxn ang="0">
                    <a:pos x="T4" y="T5"/>
                  </a:cxn>
                  <a:cxn ang="0">
                    <a:pos x="T6" y="T7"/>
                  </a:cxn>
                  <a:cxn ang="0">
                    <a:pos x="T8" y="T9"/>
                  </a:cxn>
                  <a:cxn ang="0">
                    <a:pos x="T10" y="T11"/>
                  </a:cxn>
                </a:cxnLst>
                <a:rect l="0" t="0" r="r" b="b"/>
                <a:pathLst>
                  <a:path w="154" h="82">
                    <a:moveTo>
                      <a:pt x="154" y="0"/>
                    </a:moveTo>
                    <a:cubicBezTo>
                      <a:pt x="0" y="0"/>
                      <a:pt x="0" y="0"/>
                      <a:pt x="0" y="0"/>
                    </a:cubicBezTo>
                    <a:cubicBezTo>
                      <a:pt x="60" y="70"/>
                      <a:pt x="60" y="70"/>
                      <a:pt x="60" y="70"/>
                    </a:cubicBezTo>
                    <a:cubicBezTo>
                      <a:pt x="63" y="77"/>
                      <a:pt x="71" y="82"/>
                      <a:pt x="79" y="82"/>
                    </a:cubicBezTo>
                    <a:cubicBezTo>
                      <a:pt x="87" y="82"/>
                      <a:pt x="94" y="77"/>
                      <a:pt x="98" y="70"/>
                    </a:cubicBez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3" name="Rectangle 29"/>
              <p:cNvSpPr>
                <a:spLocks noChangeArrowheads="1"/>
              </p:cNvSpPr>
              <p:nvPr/>
            </p:nvSpPr>
            <p:spPr bwMode="auto">
              <a:xfrm>
                <a:off x="10836275" y="1411288"/>
                <a:ext cx="22225"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4" name="Freeform 30"/>
              <p:cNvSpPr>
                <a:spLocks/>
              </p:cNvSpPr>
              <p:nvPr/>
            </p:nvSpPr>
            <p:spPr bwMode="auto">
              <a:xfrm>
                <a:off x="10872788" y="1411288"/>
                <a:ext cx="85725" cy="106363"/>
              </a:xfrm>
              <a:custGeom>
                <a:avLst/>
                <a:gdLst>
                  <a:gd name="T0" fmla="*/ 54 w 54"/>
                  <a:gd name="T1" fmla="*/ 11 h 67"/>
                  <a:gd name="T2" fmla="*/ 34 w 54"/>
                  <a:gd name="T3" fmla="*/ 11 h 67"/>
                  <a:gd name="T4" fmla="*/ 34 w 54"/>
                  <a:gd name="T5" fmla="*/ 67 h 67"/>
                  <a:gd name="T6" fmla="*/ 20 w 54"/>
                  <a:gd name="T7" fmla="*/ 67 h 67"/>
                  <a:gd name="T8" fmla="*/ 20 w 54"/>
                  <a:gd name="T9" fmla="*/ 11 h 67"/>
                  <a:gd name="T10" fmla="*/ 0 w 54"/>
                  <a:gd name="T11" fmla="*/ 11 h 67"/>
                  <a:gd name="T12" fmla="*/ 0 w 54"/>
                  <a:gd name="T13" fmla="*/ 0 h 67"/>
                  <a:gd name="T14" fmla="*/ 54 w 54"/>
                  <a:gd name="T15" fmla="*/ 0 h 67"/>
                  <a:gd name="T16" fmla="*/ 54 w 54"/>
                  <a:gd name="T17"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7">
                    <a:moveTo>
                      <a:pt x="54" y="11"/>
                    </a:moveTo>
                    <a:lnTo>
                      <a:pt x="34" y="11"/>
                    </a:lnTo>
                    <a:lnTo>
                      <a:pt x="34" y="67"/>
                    </a:lnTo>
                    <a:lnTo>
                      <a:pt x="20" y="67"/>
                    </a:lnTo>
                    <a:lnTo>
                      <a:pt x="20" y="11"/>
                    </a:lnTo>
                    <a:lnTo>
                      <a:pt x="0" y="11"/>
                    </a:lnTo>
                    <a:lnTo>
                      <a:pt x="0" y="0"/>
                    </a:lnTo>
                    <a:lnTo>
                      <a:pt x="54" y="0"/>
                    </a:lnTo>
                    <a:lnTo>
                      <a:pt x="5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5" name="Freeform 31"/>
              <p:cNvSpPr>
                <a:spLocks noEditPoints="1"/>
              </p:cNvSpPr>
              <p:nvPr/>
            </p:nvSpPr>
            <p:spPr bwMode="auto">
              <a:xfrm>
                <a:off x="10769600" y="1323975"/>
                <a:ext cx="241300" cy="277813"/>
              </a:xfrm>
              <a:custGeom>
                <a:avLst/>
                <a:gdLst>
                  <a:gd name="T0" fmla="*/ 75 w 152"/>
                  <a:gd name="T1" fmla="*/ 0 h 175"/>
                  <a:gd name="T2" fmla="*/ 0 w 152"/>
                  <a:gd name="T3" fmla="*/ 44 h 175"/>
                  <a:gd name="T4" fmla="*/ 0 w 152"/>
                  <a:gd name="T5" fmla="*/ 132 h 175"/>
                  <a:gd name="T6" fmla="*/ 77 w 152"/>
                  <a:gd name="T7" fmla="*/ 175 h 175"/>
                  <a:gd name="T8" fmla="*/ 152 w 152"/>
                  <a:gd name="T9" fmla="*/ 132 h 175"/>
                  <a:gd name="T10" fmla="*/ 152 w 152"/>
                  <a:gd name="T11" fmla="*/ 44 h 175"/>
                  <a:gd name="T12" fmla="*/ 75 w 152"/>
                  <a:gd name="T13" fmla="*/ 0 h 175"/>
                  <a:gd name="T14" fmla="*/ 141 w 152"/>
                  <a:gd name="T15" fmla="*/ 125 h 175"/>
                  <a:gd name="T16" fmla="*/ 77 w 152"/>
                  <a:gd name="T17" fmla="*/ 163 h 175"/>
                  <a:gd name="T18" fmla="*/ 11 w 152"/>
                  <a:gd name="T19" fmla="*/ 125 h 175"/>
                  <a:gd name="T20" fmla="*/ 11 w 152"/>
                  <a:gd name="T21" fmla="*/ 51 h 175"/>
                  <a:gd name="T22" fmla="*/ 75 w 152"/>
                  <a:gd name="T23" fmla="*/ 13 h 175"/>
                  <a:gd name="T24" fmla="*/ 141 w 152"/>
                  <a:gd name="T25" fmla="*/ 51 h 175"/>
                  <a:gd name="T26" fmla="*/ 141 w 152"/>
                  <a:gd name="T27" fmla="*/ 1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75">
                    <a:moveTo>
                      <a:pt x="75" y="0"/>
                    </a:moveTo>
                    <a:lnTo>
                      <a:pt x="0" y="44"/>
                    </a:lnTo>
                    <a:lnTo>
                      <a:pt x="0" y="132"/>
                    </a:lnTo>
                    <a:lnTo>
                      <a:pt x="77" y="175"/>
                    </a:lnTo>
                    <a:lnTo>
                      <a:pt x="152" y="132"/>
                    </a:lnTo>
                    <a:lnTo>
                      <a:pt x="152" y="44"/>
                    </a:lnTo>
                    <a:lnTo>
                      <a:pt x="75" y="0"/>
                    </a:lnTo>
                    <a:close/>
                    <a:moveTo>
                      <a:pt x="141" y="125"/>
                    </a:moveTo>
                    <a:lnTo>
                      <a:pt x="77" y="163"/>
                    </a:lnTo>
                    <a:lnTo>
                      <a:pt x="11" y="125"/>
                    </a:lnTo>
                    <a:lnTo>
                      <a:pt x="11" y="51"/>
                    </a:lnTo>
                    <a:lnTo>
                      <a:pt x="75" y="13"/>
                    </a:lnTo>
                    <a:lnTo>
                      <a:pt x="141" y="51"/>
                    </a:lnTo>
                    <a:lnTo>
                      <a:pt x="141"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6" name="Rectangle 32"/>
              <p:cNvSpPr>
                <a:spLocks noChangeArrowheads="1"/>
              </p:cNvSpPr>
              <p:nvPr/>
            </p:nvSpPr>
            <p:spPr bwMode="auto">
              <a:xfrm>
                <a:off x="10694988" y="1758950"/>
                <a:ext cx="374650" cy="53975"/>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87" name="Freeform 33"/>
              <p:cNvSpPr>
                <a:spLocks/>
              </p:cNvSpPr>
              <p:nvPr/>
            </p:nvSpPr>
            <p:spPr bwMode="auto">
              <a:xfrm>
                <a:off x="10847388" y="1736725"/>
                <a:ext cx="85725" cy="100013"/>
              </a:xfrm>
              <a:custGeom>
                <a:avLst/>
                <a:gdLst>
                  <a:gd name="T0" fmla="*/ 28 w 54"/>
                  <a:gd name="T1" fmla="*/ 0 h 63"/>
                  <a:gd name="T2" fmla="*/ 0 w 54"/>
                  <a:gd name="T3" fmla="*/ 16 h 63"/>
                  <a:gd name="T4" fmla="*/ 0 w 54"/>
                  <a:gd name="T5" fmla="*/ 48 h 63"/>
                  <a:gd name="T6" fmla="*/ 28 w 54"/>
                  <a:gd name="T7" fmla="*/ 63 h 63"/>
                  <a:gd name="T8" fmla="*/ 54 w 54"/>
                  <a:gd name="T9" fmla="*/ 48 h 63"/>
                  <a:gd name="T10" fmla="*/ 54 w 54"/>
                  <a:gd name="T11" fmla="*/ 16 h 63"/>
                  <a:gd name="T12" fmla="*/ 28 w 54"/>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54" h="63">
                    <a:moveTo>
                      <a:pt x="28" y="0"/>
                    </a:moveTo>
                    <a:lnTo>
                      <a:pt x="0" y="16"/>
                    </a:lnTo>
                    <a:lnTo>
                      <a:pt x="0" y="48"/>
                    </a:lnTo>
                    <a:lnTo>
                      <a:pt x="28" y="63"/>
                    </a:lnTo>
                    <a:lnTo>
                      <a:pt x="54" y="48"/>
                    </a:lnTo>
                    <a:lnTo>
                      <a:pt x="54" y="16"/>
                    </a:lnTo>
                    <a:lnTo>
                      <a:pt x="28"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0764" y="4255447"/>
            <a:ext cx="605338" cy="398217"/>
          </a:xfrm>
          <a:prstGeom prst="rect">
            <a:avLst/>
          </a:prstGeom>
        </p:spPr>
      </p:pic>
      <p:sp>
        <p:nvSpPr>
          <p:cNvPr id="290" name="Freeform 7"/>
          <p:cNvSpPr>
            <a:spLocks/>
          </p:cNvSpPr>
          <p:nvPr/>
        </p:nvSpPr>
        <p:spPr bwMode="auto">
          <a:xfrm>
            <a:off x="3160147" y="4457140"/>
            <a:ext cx="662323" cy="434683"/>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ysClr val="window" lastClr="FFFFFF">
              <a:alpha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441"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1" name="Title 2"/>
          <p:cNvSpPr>
            <a:spLocks noGrp="1"/>
          </p:cNvSpPr>
          <p:nvPr>
            <p:ph type="title"/>
          </p:nvPr>
        </p:nvSpPr>
        <p:spPr>
          <a:xfrm>
            <a:off x="201931" y="220140"/>
            <a:ext cx="8741880" cy="673888"/>
          </a:xfrm>
        </p:spPr>
        <p:txBody>
          <a:bodyPr/>
          <a:lstStyle/>
          <a:p>
            <a:r>
              <a:rPr lang="de-DE" spc="0" dirty="0">
                <a:solidFill>
                  <a:schemeClr val="bg1"/>
                </a:solidFill>
              </a:rPr>
              <a:t>OSS</a:t>
            </a:r>
            <a:br>
              <a:rPr lang="de-DE" dirty="0">
                <a:solidFill>
                  <a:schemeClr val="bg1"/>
                </a:solidFill>
              </a:rPr>
            </a:br>
            <a:r>
              <a:rPr lang="de-DE" dirty="0">
                <a:solidFill>
                  <a:schemeClr val="bg1"/>
                </a:solidFill>
              </a:rPr>
              <a:t>Tooling</a:t>
            </a:r>
          </a:p>
        </p:txBody>
      </p:sp>
      <p:pic>
        <p:nvPicPr>
          <p:cNvPr id="132" name="Picture 131"/>
          <p:cNvPicPr>
            <a:picLocks noChangeAspect="1"/>
          </p:cNvPicPr>
          <p:nvPr/>
        </p:nvPicPr>
        <p:blipFill>
          <a:blip r:embed="rId5" cstate="print">
            <a:clrChange>
              <a:clrFrom>
                <a:srgbClr val="EFF1F4"/>
              </a:clrFrom>
              <a:clrTo>
                <a:srgbClr val="EFF1F4">
                  <a:alpha val="0"/>
                </a:srgbClr>
              </a:clrTo>
            </a:clrChange>
            <a:biLevel thresh="25000"/>
            <a:extLst>
              <a:ext uri="{28A0092B-C50C-407E-A947-70E740481C1C}">
                <a14:useLocalDpi xmlns:a14="http://schemas.microsoft.com/office/drawing/2010/main" val="0"/>
              </a:ext>
            </a:extLst>
          </a:blip>
          <a:stretch>
            <a:fillRect/>
          </a:stretch>
        </p:blipFill>
        <p:spPr>
          <a:xfrm>
            <a:off x="930274" y="3585081"/>
            <a:ext cx="832612" cy="219254"/>
          </a:xfrm>
          <a:prstGeom prst="rect">
            <a:avLst/>
          </a:prstGeom>
        </p:spPr>
      </p:pic>
      <p:pic>
        <p:nvPicPr>
          <p:cNvPr id="133" name="Picture 132"/>
          <p:cNvPicPr>
            <a:picLocks noChangeAspect="1"/>
          </p:cNvPicPr>
          <p:nvPr/>
        </p:nvPicPr>
        <p:blipFill>
          <a:blip r:embed="rId6"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930274" y="3316155"/>
            <a:ext cx="941236" cy="201334"/>
          </a:xfrm>
          <a:prstGeom prst="rect">
            <a:avLst/>
          </a:prstGeom>
        </p:spPr>
      </p:pic>
      <p:pic>
        <p:nvPicPr>
          <p:cNvPr id="135" name="Picture 134"/>
          <p:cNvPicPr>
            <a:picLocks noChangeAspect="1"/>
          </p:cNvPicPr>
          <p:nvPr/>
        </p:nvPicPr>
        <p:blipFill>
          <a:blip r:embed="rId7"/>
          <a:stretch>
            <a:fillRect/>
          </a:stretch>
        </p:blipFill>
        <p:spPr>
          <a:xfrm>
            <a:off x="863362" y="2055607"/>
            <a:ext cx="875442" cy="469398"/>
          </a:xfrm>
          <a:prstGeom prst="rect">
            <a:avLst/>
          </a:prstGeom>
        </p:spPr>
      </p:pic>
      <p:grpSp>
        <p:nvGrpSpPr>
          <p:cNvPr id="236" name="Group 235"/>
          <p:cNvGrpSpPr/>
          <p:nvPr/>
        </p:nvGrpSpPr>
        <p:grpSpPr>
          <a:xfrm>
            <a:off x="1468266" y="2225760"/>
            <a:ext cx="582540" cy="570096"/>
            <a:chOff x="2065191" y="1914181"/>
            <a:chExt cx="883828" cy="864948"/>
          </a:xfrm>
        </p:grpSpPr>
        <p:sp>
          <p:nvSpPr>
            <p:cNvPr id="237" name="Freeform 95"/>
            <p:cNvSpPr>
              <a:spLocks/>
            </p:cNvSpPr>
            <p:nvPr/>
          </p:nvSpPr>
          <p:spPr bwMode="auto">
            <a:xfrm flipH="1">
              <a:off x="2065191" y="1914181"/>
              <a:ext cx="883828" cy="57397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68560" tIns="34280" rIns="68560" bIns="34280" numCol="1" anchor="t" anchorCtr="0" compatLnSpc="1">
              <a:prstTxWarp prst="textNoShape">
                <a:avLst/>
              </a:prstTxWarp>
            </a:bodyPr>
            <a:lstStyle/>
            <a:p>
              <a:pPr marL="0" marR="0" lvl="0" indent="0" algn="l" defTabSz="685607" rtl="0" eaLnBrk="1" fontAlgn="auto" latinLnBrk="0" hangingPunct="1">
                <a:lnSpc>
                  <a:spcPct val="100000"/>
                </a:lnSpc>
                <a:spcBef>
                  <a:spcPts val="0"/>
                </a:spcBef>
                <a:spcAft>
                  <a:spcPts val="0"/>
                </a:spcAft>
                <a:buClrTx/>
                <a:buSzTx/>
                <a:buFontTx/>
                <a:buNone/>
                <a:tabLst/>
                <a:defRPr/>
              </a:pPr>
              <a:endParaRPr kumimoji="0" lang="en-US" sz="205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8" name="Rectangle 237"/>
            <p:cNvSpPr/>
            <p:nvPr/>
          </p:nvSpPr>
          <p:spPr>
            <a:xfrm>
              <a:off x="2132017" y="2107867"/>
              <a:ext cx="677540" cy="502509"/>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39" name="Picture 238"/>
            <p:cNvPicPr>
              <a:picLocks noChangeAspect="1"/>
            </p:cNvPicPr>
            <p:nvPr/>
          </p:nvPicPr>
          <p:blipFill>
            <a:blip r:embed="rId8">
              <a:biLevel thresh="25000"/>
            </a:blip>
            <a:stretch>
              <a:fillRect/>
            </a:stretch>
          </p:blipFill>
          <p:spPr>
            <a:xfrm>
              <a:off x="2078496" y="2064654"/>
              <a:ext cx="777488" cy="714475"/>
            </a:xfrm>
            <a:prstGeom prst="rect">
              <a:avLst/>
            </a:prstGeom>
          </p:spPr>
        </p:pic>
      </p:grpSp>
      <p:pic>
        <p:nvPicPr>
          <p:cNvPr id="136" name="Picture 135"/>
          <p:cNvPicPr>
            <a:picLocks noChangeAspect="1"/>
          </p:cNvPicPr>
          <p:nvPr/>
        </p:nvPicPr>
        <p:blipFill rotWithShape="1">
          <a:blip r:embed="rId9" cstate="print">
            <a:clrChange>
              <a:clrFrom>
                <a:srgbClr val="404040"/>
              </a:clrFrom>
              <a:clrTo>
                <a:srgbClr val="404040">
                  <a:alpha val="0"/>
                </a:srgbClr>
              </a:clrTo>
            </a:clrChange>
            <a:extLst>
              <a:ext uri="{28A0092B-C50C-407E-A947-70E740481C1C}">
                <a14:useLocalDpi xmlns:a14="http://schemas.microsoft.com/office/drawing/2010/main" val="0"/>
              </a:ext>
            </a:extLst>
          </a:blip>
          <a:srcRect/>
          <a:stretch/>
        </p:blipFill>
        <p:spPr>
          <a:xfrm>
            <a:off x="3160300" y="2185555"/>
            <a:ext cx="626058" cy="240791"/>
          </a:xfrm>
          <a:prstGeom prst="rect">
            <a:avLst/>
          </a:prstGeom>
        </p:spPr>
      </p:pic>
      <p:pic>
        <p:nvPicPr>
          <p:cNvPr id="137" name="Picture 136"/>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093653" y="2419100"/>
            <a:ext cx="776700" cy="282436"/>
          </a:xfrm>
          <a:prstGeom prst="rect">
            <a:avLst/>
          </a:prstGeom>
        </p:spPr>
      </p:pic>
      <p:pic>
        <p:nvPicPr>
          <p:cNvPr id="138" name="Picture 137"/>
          <p:cNvPicPr>
            <a:picLocks noChangeAspect="1"/>
          </p:cNvPicPr>
          <p:nvPr/>
        </p:nvPicPr>
        <p:blipFill>
          <a:blip r:embed="rId11"/>
          <a:stretch>
            <a:fillRect/>
          </a:stretch>
        </p:blipFill>
        <p:spPr>
          <a:xfrm>
            <a:off x="3185849" y="2719042"/>
            <a:ext cx="721656" cy="220295"/>
          </a:xfrm>
          <a:prstGeom prst="rect">
            <a:avLst/>
          </a:prstGeom>
        </p:spPr>
      </p:pic>
      <p:pic>
        <p:nvPicPr>
          <p:cNvPr id="139" name="Picture 138"/>
          <p:cNvPicPr>
            <a:picLocks noChangeAspect="1"/>
          </p:cNvPicPr>
          <p:nvPr/>
        </p:nvPicPr>
        <p:blipFill>
          <a:blip r:embed="rId12"/>
          <a:stretch>
            <a:fillRect/>
          </a:stretch>
        </p:blipFill>
        <p:spPr>
          <a:xfrm>
            <a:off x="3145201" y="2963505"/>
            <a:ext cx="888951" cy="272846"/>
          </a:xfrm>
          <a:prstGeom prst="rect">
            <a:avLst/>
          </a:prstGeom>
        </p:spPr>
      </p:pic>
      <p:grpSp>
        <p:nvGrpSpPr>
          <p:cNvPr id="140" name="Group 139"/>
          <p:cNvGrpSpPr/>
          <p:nvPr/>
        </p:nvGrpSpPr>
        <p:grpSpPr>
          <a:xfrm>
            <a:off x="3073287" y="3633302"/>
            <a:ext cx="826402" cy="554914"/>
            <a:chOff x="4728517" y="4845638"/>
            <a:chExt cx="1123964" cy="754721"/>
          </a:xfrm>
        </p:grpSpPr>
        <p:pic>
          <p:nvPicPr>
            <p:cNvPr id="141" name="Picture 140"/>
            <p:cNvPicPr>
              <a:picLocks noChangeAspect="1"/>
            </p:cNvPicPr>
            <p:nvPr/>
          </p:nvPicPr>
          <p:blipFill rotWithShape="1">
            <a:blip r:embed="rId13" cstate="print">
              <a:clrChange>
                <a:clrFrom>
                  <a:srgbClr val="404040"/>
                </a:clrFrom>
                <a:clrTo>
                  <a:srgbClr val="404040">
                    <a:alpha val="0"/>
                  </a:srgbClr>
                </a:clrTo>
              </a:clrChange>
              <a:extLst>
                <a:ext uri="{28A0092B-C50C-407E-A947-70E740481C1C}">
                  <a14:useLocalDpi xmlns:a14="http://schemas.microsoft.com/office/drawing/2010/main" val="0"/>
                </a:ext>
              </a:extLst>
            </a:blip>
            <a:srcRect/>
            <a:stretch/>
          </p:blipFill>
          <p:spPr>
            <a:xfrm>
              <a:off x="4846861" y="4845638"/>
              <a:ext cx="899620" cy="346007"/>
            </a:xfrm>
            <a:prstGeom prst="rect">
              <a:avLst/>
            </a:prstGeom>
          </p:spPr>
        </p:pic>
        <p:pic>
          <p:nvPicPr>
            <p:cNvPr id="142" name="Picture 141"/>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728517" y="5191645"/>
              <a:ext cx="1123964" cy="408714"/>
            </a:xfrm>
            <a:prstGeom prst="rect">
              <a:avLst/>
            </a:prstGeom>
          </p:spPr>
        </p:pic>
      </p:grpSp>
      <p:sp>
        <p:nvSpPr>
          <p:cNvPr id="143" name="Rectangle 142"/>
          <p:cNvSpPr/>
          <p:nvPr/>
        </p:nvSpPr>
        <p:spPr>
          <a:xfrm>
            <a:off x="5391116" y="2086785"/>
            <a:ext cx="1439451" cy="2370354"/>
          </a:xfrm>
          <a:prstGeom prst="rect">
            <a:avLst/>
          </a:prstGeom>
          <a:solidFill>
            <a:srgbClr val="34495E"/>
          </a:solidFill>
          <a:ln w="12700" cap="flat" cmpd="sng" algn="ctr">
            <a:noFill/>
            <a:prstDash val="solid"/>
            <a:miter lim="800000"/>
          </a:ln>
          <a:effectLst/>
        </p:spPr>
        <p:txBody>
          <a:bodyPr rtlCol="0" anchor="ctr"/>
          <a:lstStyle/>
          <a:p>
            <a:pPr marL="0" marR="0" lvl="0" indent="0" algn="ctr"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4"/>
          <p:cNvSpPr/>
          <p:nvPr/>
        </p:nvSpPr>
        <p:spPr bwMode="gray">
          <a:xfrm>
            <a:off x="5391115" y="2086786"/>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Configuration</a:t>
            </a:r>
          </a:p>
        </p:txBody>
      </p:sp>
      <p:pic>
        <p:nvPicPr>
          <p:cNvPr id="145" name="Picture 144"/>
          <p:cNvPicPr>
            <a:picLocks noChangeAspect="1"/>
          </p:cNvPicPr>
          <p:nvPr/>
        </p:nvPicPr>
        <p:blipFill>
          <a:blip r:embed="rId15"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5446006" y="2387199"/>
            <a:ext cx="470918" cy="470918"/>
          </a:xfrm>
          <a:prstGeom prst="rect">
            <a:avLst/>
          </a:prstGeom>
        </p:spPr>
      </p:pic>
      <p:pic>
        <p:nvPicPr>
          <p:cNvPr id="146" name="Picture 145"/>
          <p:cNvPicPr>
            <a:picLocks noChangeAspect="1"/>
          </p:cNvPicPr>
          <p:nvPr/>
        </p:nvPicPr>
        <p:blipFill>
          <a:blip r:embed="rId16" cstate="print">
            <a:lum bright="70000" contrast="-70000"/>
            <a:extLst>
              <a:ext uri="{28A0092B-C50C-407E-A947-70E740481C1C}">
                <a14:useLocalDpi xmlns:a14="http://schemas.microsoft.com/office/drawing/2010/main" val="0"/>
              </a:ext>
            </a:extLst>
          </a:blip>
          <a:stretch>
            <a:fillRect/>
          </a:stretch>
        </p:blipFill>
        <p:spPr>
          <a:xfrm>
            <a:off x="5983855" y="2477017"/>
            <a:ext cx="363787" cy="357478"/>
          </a:xfrm>
          <a:prstGeom prst="rect">
            <a:avLst/>
          </a:prstGeom>
        </p:spPr>
      </p:pic>
      <p:sp>
        <p:nvSpPr>
          <p:cNvPr id="147" name="Rectangle 4"/>
          <p:cNvSpPr/>
          <p:nvPr/>
        </p:nvSpPr>
        <p:spPr bwMode="gray">
          <a:xfrm>
            <a:off x="5391115" y="2910824"/>
            <a:ext cx="1437274" cy="371141"/>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79408" tIns="79408" rIns="134464"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ct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Release</a:t>
            </a:r>
          </a:p>
        </p:txBody>
      </p:sp>
      <p:pic>
        <p:nvPicPr>
          <p:cNvPr id="148" name="Picture 147"/>
          <p:cNvPicPr>
            <a:picLocks noChangeAspect="1"/>
          </p:cNvPicPr>
          <p:nvPr/>
        </p:nvPicPr>
        <p:blipFill rotWithShape="1">
          <a:blip r:embed="rId9" cstate="print">
            <a:clrChange>
              <a:clrFrom>
                <a:srgbClr val="404040"/>
              </a:clrFrom>
              <a:clrTo>
                <a:srgbClr val="404040">
                  <a:alpha val="0"/>
                </a:srgbClr>
              </a:clrTo>
            </a:clrChange>
            <a:extLst>
              <a:ext uri="{28A0092B-C50C-407E-A947-70E740481C1C}">
                <a14:useLocalDpi xmlns:a14="http://schemas.microsoft.com/office/drawing/2010/main" val="0"/>
              </a:ext>
            </a:extLst>
          </a:blip>
          <a:srcRect/>
          <a:stretch/>
        </p:blipFill>
        <p:spPr>
          <a:xfrm>
            <a:off x="5475493" y="3173466"/>
            <a:ext cx="626058" cy="240791"/>
          </a:xfrm>
          <a:prstGeom prst="rect">
            <a:avLst/>
          </a:prstGeom>
        </p:spPr>
      </p:pic>
      <p:pic>
        <p:nvPicPr>
          <p:cNvPr id="149" name="Picture 148"/>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5408847" y="3390248"/>
            <a:ext cx="776700" cy="282436"/>
          </a:xfrm>
          <a:prstGeom prst="rect">
            <a:avLst/>
          </a:prstGeom>
        </p:spPr>
      </p:pic>
      <p:pic>
        <p:nvPicPr>
          <p:cNvPr id="150" name="Picture 149"/>
          <p:cNvPicPr>
            <a:picLocks noChangeAspect="1"/>
          </p:cNvPicPr>
          <p:nvPr/>
        </p:nvPicPr>
        <p:blipFill>
          <a:blip r:embed="rId11"/>
          <a:stretch>
            <a:fillRect/>
          </a:stretch>
        </p:blipFill>
        <p:spPr>
          <a:xfrm>
            <a:off x="5470969" y="3673763"/>
            <a:ext cx="721656" cy="220295"/>
          </a:xfrm>
          <a:prstGeom prst="rect">
            <a:avLst/>
          </a:prstGeom>
        </p:spPr>
      </p:pic>
      <p:pic>
        <p:nvPicPr>
          <p:cNvPr id="151" name="Picture 150"/>
          <p:cNvPicPr>
            <a:picLocks noChangeAspect="1"/>
          </p:cNvPicPr>
          <p:nvPr/>
        </p:nvPicPr>
        <p:blipFill>
          <a:blip r:embed="rId12"/>
          <a:stretch>
            <a:fillRect/>
          </a:stretch>
        </p:blipFill>
        <p:spPr>
          <a:xfrm>
            <a:off x="5430321" y="3895056"/>
            <a:ext cx="888951" cy="272846"/>
          </a:xfrm>
          <a:prstGeom prst="rect">
            <a:avLst/>
          </a:prstGeom>
        </p:spPr>
      </p:pic>
      <p:sp>
        <p:nvSpPr>
          <p:cNvPr id="247" name="TextBox 246"/>
          <p:cNvSpPr txBox="1"/>
          <p:nvPr/>
        </p:nvSpPr>
        <p:spPr>
          <a:xfrm>
            <a:off x="0" y="4807399"/>
            <a:ext cx="9144001" cy="338654"/>
          </a:xfrm>
          <a:prstGeom prst="rect">
            <a:avLst/>
          </a:prstGeom>
          <a:solidFill>
            <a:srgbClr val="002060">
              <a:alpha val="55000"/>
            </a:srgbClr>
          </a:solidFill>
        </p:spPr>
        <p:txBody>
          <a:bodyPr wrap="square" lIns="0" tIns="0" rIns="0" bIns="0" rtlCol="0" anchor="ctr">
            <a:noAutofit/>
          </a:bodyPr>
          <a:lstStyle/>
          <a:p>
            <a:pPr marL="0" marR="0" lvl="0" indent="0" algn="ctr" defTabSz="68560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On-Premises | Hybrid | Cloud</a:t>
            </a:r>
          </a:p>
        </p:txBody>
      </p:sp>
      <p:grpSp>
        <p:nvGrpSpPr>
          <p:cNvPr id="213" name="Group 212"/>
          <p:cNvGrpSpPr/>
          <p:nvPr/>
        </p:nvGrpSpPr>
        <p:grpSpPr>
          <a:xfrm>
            <a:off x="6942797" y="3919219"/>
            <a:ext cx="2201204" cy="1226834"/>
            <a:chOff x="6610350" y="4013200"/>
            <a:chExt cx="3446463" cy="1920876"/>
          </a:xfrm>
        </p:grpSpPr>
        <p:sp>
          <p:nvSpPr>
            <p:cNvPr id="214" name="Freeform 5"/>
            <p:cNvSpPr>
              <a:spLocks/>
            </p:cNvSpPr>
            <p:nvPr/>
          </p:nvSpPr>
          <p:spPr bwMode="auto">
            <a:xfrm>
              <a:off x="7473950" y="4635500"/>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5" name="Freeform 6"/>
            <p:cNvSpPr>
              <a:spLocks/>
            </p:cNvSpPr>
            <p:nvPr/>
          </p:nvSpPr>
          <p:spPr bwMode="auto">
            <a:xfrm>
              <a:off x="7480300" y="4013200"/>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6" name="Freeform 7"/>
            <p:cNvSpPr>
              <a:spLocks/>
            </p:cNvSpPr>
            <p:nvPr/>
          </p:nvSpPr>
          <p:spPr bwMode="auto">
            <a:xfrm>
              <a:off x="7485063" y="4987925"/>
              <a:ext cx="2332038" cy="6334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7" name="Freeform 8"/>
            <p:cNvSpPr>
              <a:spLocks/>
            </p:cNvSpPr>
            <p:nvPr/>
          </p:nvSpPr>
          <p:spPr bwMode="auto">
            <a:xfrm>
              <a:off x="6610350" y="552767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8" name="Freeform 9"/>
            <p:cNvSpPr>
              <a:spLocks/>
            </p:cNvSpPr>
            <p:nvPr/>
          </p:nvSpPr>
          <p:spPr bwMode="auto">
            <a:xfrm>
              <a:off x="7407275" y="5329238"/>
              <a:ext cx="2649538" cy="604838"/>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19" name="Freeform 10"/>
            <p:cNvSpPr>
              <a:spLocks/>
            </p:cNvSpPr>
            <p:nvPr/>
          </p:nvSpPr>
          <p:spPr bwMode="auto">
            <a:xfrm>
              <a:off x="8377238" y="5329238"/>
              <a:ext cx="935038" cy="493713"/>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0" name="Freeform 11"/>
            <p:cNvSpPr>
              <a:spLocks/>
            </p:cNvSpPr>
            <p:nvPr/>
          </p:nvSpPr>
          <p:spPr bwMode="auto">
            <a:xfrm>
              <a:off x="8426450" y="4878388"/>
              <a:ext cx="517525" cy="471488"/>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1" name="Freeform 12"/>
            <p:cNvSpPr>
              <a:spLocks/>
            </p:cNvSpPr>
            <p:nvPr/>
          </p:nvSpPr>
          <p:spPr bwMode="auto">
            <a:xfrm>
              <a:off x="8626475" y="5000625"/>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2" name="Freeform 13"/>
            <p:cNvSpPr>
              <a:spLocks/>
            </p:cNvSpPr>
            <p:nvPr/>
          </p:nvSpPr>
          <p:spPr bwMode="auto">
            <a:xfrm>
              <a:off x="8154988" y="4922838"/>
              <a:ext cx="471488" cy="75723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3" name="Freeform 14"/>
            <p:cNvSpPr>
              <a:spLocks/>
            </p:cNvSpPr>
            <p:nvPr/>
          </p:nvSpPr>
          <p:spPr bwMode="auto">
            <a:xfrm>
              <a:off x="8626475" y="5172075"/>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4" name="Freeform 15"/>
            <p:cNvSpPr>
              <a:spLocks/>
            </p:cNvSpPr>
            <p:nvPr/>
          </p:nvSpPr>
          <p:spPr bwMode="auto">
            <a:xfrm>
              <a:off x="8291513" y="5349875"/>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5" name="Freeform 16"/>
            <p:cNvSpPr>
              <a:spLocks/>
            </p:cNvSpPr>
            <p:nvPr/>
          </p:nvSpPr>
          <p:spPr bwMode="auto">
            <a:xfrm>
              <a:off x="8413750" y="5349875"/>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6" name="Freeform 17"/>
            <p:cNvSpPr>
              <a:spLocks/>
            </p:cNvSpPr>
            <p:nvPr/>
          </p:nvSpPr>
          <p:spPr bwMode="auto">
            <a:xfrm>
              <a:off x="8416925" y="5621338"/>
              <a:ext cx="1452563" cy="312738"/>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7" name="Rectangle 18"/>
            <p:cNvSpPr>
              <a:spLocks noChangeArrowheads="1"/>
            </p:cNvSpPr>
            <p:nvPr/>
          </p:nvSpPr>
          <p:spPr bwMode="auto">
            <a:xfrm>
              <a:off x="7546975" y="5568950"/>
              <a:ext cx="120650" cy="3651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8" name="Freeform 19"/>
            <p:cNvSpPr>
              <a:spLocks/>
            </p:cNvSpPr>
            <p:nvPr/>
          </p:nvSpPr>
          <p:spPr bwMode="auto">
            <a:xfrm>
              <a:off x="7110413" y="5627688"/>
              <a:ext cx="120650" cy="306388"/>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29" name="Freeform 20"/>
            <p:cNvSpPr>
              <a:spLocks/>
            </p:cNvSpPr>
            <p:nvPr/>
          </p:nvSpPr>
          <p:spPr bwMode="auto">
            <a:xfrm>
              <a:off x="7256463" y="5334000"/>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30" name="Freeform 21"/>
            <p:cNvSpPr>
              <a:spLocks/>
            </p:cNvSpPr>
            <p:nvPr/>
          </p:nvSpPr>
          <p:spPr bwMode="auto">
            <a:xfrm>
              <a:off x="7400925" y="5067300"/>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31" name="Freeform 22"/>
            <p:cNvSpPr>
              <a:spLocks/>
            </p:cNvSpPr>
            <p:nvPr/>
          </p:nvSpPr>
          <p:spPr bwMode="auto">
            <a:xfrm>
              <a:off x="7693025" y="5343525"/>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32" name="Freeform 23"/>
            <p:cNvSpPr>
              <a:spLocks/>
            </p:cNvSpPr>
            <p:nvPr/>
          </p:nvSpPr>
          <p:spPr bwMode="auto">
            <a:xfrm>
              <a:off x="6818313" y="5640388"/>
              <a:ext cx="122238" cy="293688"/>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sp>
          <p:nvSpPr>
            <p:cNvPr id="233" name="Freeform 24"/>
            <p:cNvSpPr>
              <a:spLocks/>
            </p:cNvSpPr>
            <p:nvPr/>
          </p:nvSpPr>
          <p:spPr bwMode="auto">
            <a:xfrm>
              <a:off x="6965950" y="5157788"/>
              <a:ext cx="119063" cy="776288"/>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505050"/>
                </a:solidFill>
                <a:effectLst/>
                <a:uLnTx/>
                <a:uFillTx/>
                <a:latin typeface="Segoe UI"/>
                <a:ea typeface="+mn-ea"/>
                <a:cs typeface="+mn-cs"/>
              </a:endParaRPr>
            </a:p>
          </p:txBody>
        </p:sp>
      </p:grpSp>
      <p:pic>
        <p:nvPicPr>
          <p:cNvPr id="154" name="Picture 15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476297" y="4188216"/>
            <a:ext cx="806035" cy="221391"/>
          </a:xfrm>
          <a:prstGeom prst="rect">
            <a:avLst/>
          </a:prstGeom>
        </p:spPr>
      </p:pic>
      <p:pic>
        <p:nvPicPr>
          <p:cNvPr id="165" name="Picture 164"/>
          <p:cNvPicPr>
            <a:picLocks noChangeAspect="1"/>
          </p:cNvPicPr>
          <p:nvPr/>
        </p:nvPicPr>
        <p:blipFill>
          <a:blip r:embed="rId18" cstate="print">
            <a:lum bright="70000" contrast="-70000"/>
            <a:extLst>
              <a:ext uri="{28A0092B-C50C-407E-A947-70E740481C1C}">
                <a14:useLocalDpi xmlns:a14="http://schemas.microsoft.com/office/drawing/2010/main" val="0"/>
              </a:ext>
            </a:extLst>
          </a:blip>
          <a:stretch>
            <a:fillRect/>
          </a:stretch>
        </p:blipFill>
        <p:spPr>
          <a:xfrm>
            <a:off x="7843959" y="2626370"/>
            <a:ext cx="930032" cy="697524"/>
          </a:xfrm>
          <a:prstGeom prst="rect">
            <a:avLst/>
          </a:prstGeom>
        </p:spPr>
      </p:pic>
      <p:pic>
        <p:nvPicPr>
          <p:cNvPr id="166" name="Picture 165"/>
          <p:cNvPicPr>
            <a:picLocks noChangeAspect="1"/>
          </p:cNvPicPr>
          <p:nvPr/>
        </p:nvPicPr>
        <p:blipFill rotWithShape="1">
          <a:blip r:embed="rId19" cstate="print">
            <a:extLst>
              <a:ext uri="{28A0092B-C50C-407E-A947-70E740481C1C}">
                <a14:useLocalDpi xmlns:a14="http://schemas.microsoft.com/office/drawing/2010/main" val="0"/>
              </a:ext>
            </a:extLst>
          </a:blip>
          <a:srcRect/>
          <a:stretch/>
        </p:blipFill>
        <p:spPr>
          <a:xfrm>
            <a:off x="7877566" y="2927172"/>
            <a:ext cx="896425" cy="782059"/>
          </a:xfrm>
          <a:prstGeom prst="rect">
            <a:avLst/>
          </a:prstGeom>
        </p:spPr>
      </p:pic>
      <p:pic>
        <p:nvPicPr>
          <p:cNvPr id="161" name="Picture 160"/>
          <p:cNvPicPr>
            <a:picLocks noChangeAspect="1"/>
          </p:cNvPicPr>
          <p:nvPr/>
        </p:nvPicPr>
        <p:blipFill rotWithShape="1">
          <a:blip r:embed="rId20"/>
          <a:srcRect l="36309" r="1" b="29163"/>
          <a:stretch/>
        </p:blipFill>
        <p:spPr>
          <a:xfrm>
            <a:off x="283" y="3749863"/>
            <a:ext cx="1455555" cy="1396191"/>
          </a:xfrm>
          <a:prstGeom prst="rect">
            <a:avLst/>
          </a:prstGeom>
        </p:spPr>
      </p:pic>
      <p:pic>
        <p:nvPicPr>
          <p:cNvPr id="289" name="Picture 28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11626" y="4308574"/>
            <a:ext cx="1725912" cy="617013"/>
          </a:xfrm>
          <a:prstGeom prst="rect">
            <a:avLst/>
          </a:prstGeom>
        </p:spPr>
      </p:pic>
      <p:pic>
        <p:nvPicPr>
          <p:cNvPr id="292" name="Picture 29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468425" y="4436769"/>
            <a:ext cx="656800" cy="432071"/>
          </a:xfrm>
          <a:prstGeom prst="rect">
            <a:avLst/>
          </a:prstGeom>
        </p:spPr>
      </p:pic>
    </p:spTree>
    <p:extLst>
      <p:ext uri="{BB962C8B-B14F-4D97-AF65-F5344CB8AC3E}">
        <p14:creationId xmlns:p14="http://schemas.microsoft.com/office/powerpoint/2010/main" val="159010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069DA-E9AE-48BA-B512-E8C880B6761D}"/>
              </a:ext>
            </a:extLst>
          </p:cNvPr>
          <p:cNvSpPr>
            <a:spLocks noGrp="1"/>
          </p:cNvSpPr>
          <p:nvPr>
            <p:ph type="title"/>
          </p:nvPr>
        </p:nvSpPr>
        <p:spPr/>
        <p:txBody>
          <a:bodyPr/>
          <a:lstStyle/>
          <a:p>
            <a:r>
              <a:rPr lang="de-AT" dirty="0" err="1"/>
              <a:t>DevOps</a:t>
            </a:r>
            <a:r>
              <a:rPr lang="de-AT" dirty="0"/>
              <a:t> </a:t>
            </a:r>
            <a:r>
              <a:rPr lang="de-AT" dirty="0" err="1"/>
              <a:t>with</a:t>
            </a:r>
            <a:r>
              <a:rPr lang="de-AT" dirty="0"/>
              <a:t> ARM</a:t>
            </a:r>
          </a:p>
        </p:txBody>
      </p:sp>
      <p:sp>
        <p:nvSpPr>
          <p:cNvPr id="3" name="Text Placeholder 2">
            <a:extLst>
              <a:ext uri="{FF2B5EF4-FFF2-40B4-BE49-F238E27FC236}">
                <a16:creationId xmlns:a16="http://schemas.microsoft.com/office/drawing/2014/main" id="{4CDF1B95-7267-44D1-A3E6-5FE7A5D608DC}"/>
              </a:ext>
            </a:extLst>
          </p:cNvPr>
          <p:cNvSpPr>
            <a:spLocks noGrp="1"/>
          </p:cNvSpPr>
          <p:nvPr>
            <p:ph type="body" sz="quarter" idx="25"/>
          </p:nvPr>
        </p:nvSpPr>
        <p:spPr/>
        <p:txBody>
          <a:bodyPr/>
          <a:lstStyle/>
          <a:p>
            <a:endParaRPr lang="de-AT"/>
          </a:p>
        </p:txBody>
      </p:sp>
    </p:spTree>
    <p:extLst>
      <p:ext uri="{BB962C8B-B14F-4D97-AF65-F5344CB8AC3E}">
        <p14:creationId xmlns:p14="http://schemas.microsoft.com/office/powerpoint/2010/main" val="3894968309"/>
      </p:ext>
    </p:extLst>
  </p:cSld>
  <p:clrMapOvr>
    <a:masterClrMapping/>
  </p:clrMapOvr>
  <p:transition spd="slow">
    <p:push/>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759720" y="330689"/>
            <a:ext cx="7238378" cy="44821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b" anchorCtr="0"/>
          <a:lstStyle/>
          <a:p>
            <a:pPr marL="0" marR="0" lvl="0" indent="0" algn="ctr" defTabSz="685529"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Subtitle 2"/>
          <p:cNvSpPr>
            <a:spLocks noGrp="1"/>
          </p:cNvSpPr>
          <p:nvPr>
            <p:ph idx="4294967295"/>
          </p:nvPr>
        </p:nvSpPr>
        <p:spPr>
          <a:xfrm>
            <a:off x="225272" y="1002114"/>
            <a:ext cx="1624325" cy="2267584"/>
          </a:xfrm>
          <a:prstGeom prst="rect">
            <a:avLst/>
          </a:prstGeom>
        </p:spPr>
        <p:txBody>
          <a:bodyPr>
            <a:noAutofit/>
          </a:bodyPr>
          <a:lstStyle/>
          <a:p>
            <a:pPr marL="0" indent="0">
              <a:buNone/>
            </a:pPr>
            <a:r>
              <a:rPr lang="en-US" sz="1800" dirty="0"/>
              <a:t>Consistent Management Layer</a:t>
            </a:r>
            <a:endParaRPr lang="en-US" sz="1350" dirty="0"/>
          </a:p>
        </p:txBody>
      </p:sp>
      <p:grpSp>
        <p:nvGrpSpPr>
          <p:cNvPr id="1196" name="Group 1195"/>
          <p:cNvGrpSpPr/>
          <p:nvPr/>
        </p:nvGrpSpPr>
        <p:grpSpPr>
          <a:xfrm>
            <a:off x="1916670" y="458573"/>
            <a:ext cx="6948209" cy="4141022"/>
            <a:chOff x="2805240" y="470794"/>
            <a:chExt cx="9450047" cy="5632077"/>
          </a:xfrm>
        </p:grpSpPr>
        <p:pic>
          <p:nvPicPr>
            <p:cNvPr id="460" name="Picture 459"/>
            <p:cNvPicPr>
              <a:picLocks noChangeAspect="1"/>
            </p:cNvPicPr>
            <p:nvPr/>
          </p:nvPicPr>
          <p:blipFill>
            <a:blip r:embed="rId3"/>
            <a:stretch>
              <a:fillRect/>
            </a:stretch>
          </p:blipFill>
          <p:spPr>
            <a:xfrm>
              <a:off x="2805240" y="470794"/>
              <a:ext cx="9450047" cy="5632077"/>
            </a:xfrm>
            <a:prstGeom prst="rect">
              <a:avLst/>
            </a:prstGeom>
          </p:spPr>
        </p:pic>
        <p:sp>
          <p:nvSpPr>
            <p:cNvPr id="1195" name="Rectangle 1194"/>
            <p:cNvSpPr/>
            <p:nvPr/>
          </p:nvSpPr>
          <p:spPr>
            <a:xfrm>
              <a:off x="2860952" y="1573117"/>
              <a:ext cx="3837607" cy="202920"/>
            </a:xfrm>
            <a:prstGeom prst="rect">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6" b="1" i="0" u="none" strike="noStrike" kern="1200" cap="all" spc="0" normalizeH="0" baseline="0" noProof="0" dirty="0">
                  <a:ln>
                    <a:noFill/>
                  </a:ln>
                  <a:solidFill>
                    <a:srgbClr val="FFFFFF"/>
                  </a:solidFill>
                  <a:effectLst/>
                  <a:uLnTx/>
                  <a:uFillTx/>
                  <a:latin typeface="Segoe UI Semilight"/>
                  <a:ea typeface="+mn-ea"/>
                  <a:cs typeface="+mn-cs"/>
                </a:rPr>
                <a:t>Azure Resource Manager API</a:t>
              </a:r>
            </a:p>
          </p:txBody>
        </p:sp>
      </p:grpSp>
    </p:spTree>
    <p:extLst>
      <p:ext uri="{BB962C8B-B14F-4D97-AF65-F5344CB8AC3E}">
        <p14:creationId xmlns:p14="http://schemas.microsoft.com/office/powerpoint/2010/main" val="522193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reas of Focus</a:t>
            </a:r>
          </a:p>
        </p:txBody>
      </p:sp>
      <p:sp>
        <p:nvSpPr>
          <p:cNvPr id="2" name="Textplatzhalter 1"/>
          <p:cNvSpPr>
            <a:spLocks noGrp="1"/>
          </p:cNvSpPr>
          <p:nvPr>
            <p:ph type="body" sz="quarter" idx="23"/>
          </p:nvPr>
        </p:nvSpPr>
        <p:spPr/>
        <p:txBody>
          <a:bodyPr/>
          <a:lstStyle/>
          <a:p>
            <a:endParaRPr lang="de-AT"/>
          </a:p>
        </p:txBody>
      </p:sp>
      <p:grpSp>
        <p:nvGrpSpPr>
          <p:cNvPr id="13" name="Group 12"/>
          <p:cNvGrpSpPr/>
          <p:nvPr/>
        </p:nvGrpSpPr>
        <p:grpSpPr>
          <a:xfrm>
            <a:off x="594115" y="1675326"/>
            <a:ext cx="2167502" cy="2096725"/>
            <a:chOff x="1646237" y="2506662"/>
            <a:chExt cx="2276475" cy="2247459"/>
          </a:xfrm>
        </p:grpSpPr>
        <p:pic>
          <p:nvPicPr>
            <p:cNvPr id="6" name="Picture 5"/>
            <p:cNvPicPr>
              <a:picLocks noChangeAspect="1"/>
            </p:cNvPicPr>
            <p:nvPr/>
          </p:nvPicPr>
          <p:blipFill>
            <a:blip r:embed="rId3"/>
            <a:stretch>
              <a:fillRect/>
            </a:stretch>
          </p:blipFill>
          <p:spPr>
            <a:xfrm>
              <a:off x="1646237" y="2506662"/>
              <a:ext cx="2276475" cy="1638300"/>
            </a:xfrm>
            <a:prstGeom prst="rect">
              <a:avLst/>
            </a:prstGeom>
          </p:spPr>
        </p:pic>
        <p:sp>
          <p:nvSpPr>
            <p:cNvPr id="9" name="TextBox 8"/>
            <p:cNvSpPr txBox="1"/>
            <p:nvPr/>
          </p:nvSpPr>
          <p:spPr>
            <a:xfrm>
              <a:off x="2294261" y="4259263"/>
              <a:ext cx="1027673" cy="494858"/>
            </a:xfrm>
            <a:prstGeom prst="rect">
              <a:avLst/>
            </a:prstGeom>
            <a:noFill/>
          </p:spPr>
          <p:txBody>
            <a:bodyPr wrap="none" lIns="134464" tIns="107571" rIns="134464" bIns="107571" rtlCol="0">
              <a:spAutoFit/>
            </a:bodyPr>
            <a:lstStyle/>
            <a:p>
              <a:pPr marL="0" marR="0" lvl="0" indent="0" algn="ctr" defTabSz="914400" rtl="0" eaLnBrk="1" fontAlgn="auto" latinLnBrk="0" hangingPunct="1">
                <a:lnSpc>
                  <a:spcPct val="90000"/>
                </a:lnSpc>
                <a:spcBef>
                  <a:spcPts val="0"/>
                </a:spcBef>
                <a:spcAft>
                  <a:spcPts val="441"/>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eploy</a:t>
              </a:r>
            </a:p>
          </p:txBody>
        </p:sp>
      </p:grpSp>
      <p:grpSp>
        <p:nvGrpSpPr>
          <p:cNvPr id="14" name="Group 13"/>
          <p:cNvGrpSpPr/>
          <p:nvPr/>
        </p:nvGrpSpPr>
        <p:grpSpPr>
          <a:xfrm>
            <a:off x="3195848" y="1762867"/>
            <a:ext cx="2394229" cy="1963096"/>
            <a:chOff x="5075237" y="2625724"/>
            <a:chExt cx="2514600" cy="2104223"/>
          </a:xfrm>
        </p:grpSpPr>
        <p:pic>
          <p:nvPicPr>
            <p:cNvPr id="7" name="Picture 6"/>
            <p:cNvPicPr>
              <a:picLocks noChangeAspect="1"/>
            </p:cNvPicPr>
            <p:nvPr/>
          </p:nvPicPr>
          <p:blipFill>
            <a:blip r:embed="rId4"/>
            <a:stretch>
              <a:fillRect/>
            </a:stretch>
          </p:blipFill>
          <p:spPr>
            <a:xfrm>
              <a:off x="5075237" y="2625724"/>
              <a:ext cx="2514600" cy="1400175"/>
            </a:xfrm>
            <a:prstGeom prst="rect">
              <a:avLst/>
            </a:prstGeom>
          </p:spPr>
        </p:pic>
        <p:sp>
          <p:nvSpPr>
            <p:cNvPr id="11" name="TextBox 10"/>
            <p:cNvSpPr txBox="1"/>
            <p:nvPr/>
          </p:nvSpPr>
          <p:spPr>
            <a:xfrm>
              <a:off x="5702726" y="4235089"/>
              <a:ext cx="1228223" cy="494858"/>
            </a:xfrm>
            <a:prstGeom prst="rect">
              <a:avLst/>
            </a:prstGeom>
            <a:noFill/>
          </p:spPr>
          <p:txBody>
            <a:bodyPr wrap="none" lIns="134464" tIns="107571" rIns="134464" bIns="107571" rtlCol="0">
              <a:spAutoFit/>
            </a:bodyPr>
            <a:lstStyle/>
            <a:p>
              <a:pPr marL="0" marR="0" lvl="0" indent="0" algn="ctr" defTabSz="914400" rtl="0" eaLnBrk="1" fontAlgn="auto" latinLnBrk="0" hangingPunct="1">
                <a:lnSpc>
                  <a:spcPct val="90000"/>
                </a:lnSpc>
                <a:spcBef>
                  <a:spcPts val="0"/>
                </a:spcBef>
                <a:spcAft>
                  <a:spcPts val="441"/>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Organize</a:t>
              </a:r>
            </a:p>
          </p:txBody>
        </p:sp>
      </p:grpSp>
      <p:grpSp>
        <p:nvGrpSpPr>
          <p:cNvPr id="15" name="Group 14"/>
          <p:cNvGrpSpPr/>
          <p:nvPr/>
        </p:nvGrpSpPr>
        <p:grpSpPr>
          <a:xfrm>
            <a:off x="5972664" y="1808389"/>
            <a:ext cx="2521195" cy="1927888"/>
            <a:chOff x="8961437" y="2687636"/>
            <a:chExt cx="2647950" cy="2066484"/>
          </a:xfrm>
        </p:grpSpPr>
        <p:pic>
          <p:nvPicPr>
            <p:cNvPr id="8" name="Picture 7"/>
            <p:cNvPicPr>
              <a:picLocks noChangeAspect="1"/>
            </p:cNvPicPr>
            <p:nvPr/>
          </p:nvPicPr>
          <p:blipFill>
            <a:blip r:embed="rId5"/>
            <a:stretch>
              <a:fillRect/>
            </a:stretch>
          </p:blipFill>
          <p:spPr>
            <a:xfrm>
              <a:off x="8961437" y="2687636"/>
              <a:ext cx="2647950" cy="1276350"/>
            </a:xfrm>
            <a:prstGeom prst="rect">
              <a:avLst/>
            </a:prstGeom>
          </p:spPr>
        </p:pic>
        <p:sp>
          <p:nvSpPr>
            <p:cNvPr id="12" name="TextBox 11"/>
            <p:cNvSpPr txBox="1"/>
            <p:nvPr/>
          </p:nvSpPr>
          <p:spPr>
            <a:xfrm>
              <a:off x="9753797" y="4259262"/>
              <a:ext cx="1063230" cy="494858"/>
            </a:xfrm>
            <a:prstGeom prst="rect">
              <a:avLst/>
            </a:prstGeom>
            <a:noFill/>
          </p:spPr>
          <p:txBody>
            <a:bodyPr wrap="none" lIns="134464" tIns="107571" rIns="134464" bIns="107571" rtlCol="0">
              <a:spAutoFit/>
            </a:bodyPr>
            <a:lstStyle/>
            <a:p>
              <a:pPr marL="0" marR="0" lvl="0" indent="0" algn="ctr" defTabSz="914400" rtl="0" eaLnBrk="1" fontAlgn="auto" latinLnBrk="0" hangingPunct="1">
                <a:lnSpc>
                  <a:spcPct val="90000"/>
                </a:lnSpc>
                <a:spcBef>
                  <a:spcPts val="0"/>
                </a:spcBef>
                <a:spcAft>
                  <a:spcPts val="441"/>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ntrol</a:t>
              </a:r>
            </a:p>
          </p:txBody>
        </p:sp>
      </p:grpSp>
    </p:spTree>
    <p:extLst>
      <p:ext uri="{BB962C8B-B14F-4D97-AF65-F5344CB8AC3E}">
        <p14:creationId xmlns:p14="http://schemas.microsoft.com/office/powerpoint/2010/main" val="358988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Deploying with ARM</a:t>
            </a:r>
            <a:endParaRPr lang="de-AT" dirty="0"/>
          </a:p>
        </p:txBody>
      </p:sp>
      <p:sp>
        <p:nvSpPr>
          <p:cNvPr id="5" name="Inhaltsplatzhalter 4"/>
          <p:cNvSpPr>
            <a:spLocks noGrp="1"/>
          </p:cNvSpPr>
          <p:nvPr>
            <p:ph type="body" sz="quarter" idx="10"/>
          </p:nvPr>
        </p:nvSpPr>
        <p:spPr/>
        <p:txBody>
          <a:bodyPr/>
          <a:lstStyle/>
          <a:p>
            <a:r>
              <a:rPr lang="en-US" dirty="0"/>
              <a:t>template-driven</a:t>
            </a:r>
          </a:p>
          <a:p>
            <a:r>
              <a:rPr lang="en-US" dirty="0"/>
              <a:t>declarative</a:t>
            </a:r>
          </a:p>
          <a:p>
            <a:r>
              <a:rPr lang="en-US" dirty="0"/>
              <a:t>idempotent</a:t>
            </a:r>
          </a:p>
          <a:p>
            <a:r>
              <a:rPr lang="en-US" dirty="0"/>
              <a:t>multi-service</a:t>
            </a:r>
          </a:p>
          <a:p>
            <a:r>
              <a:rPr lang="en-US" dirty="0"/>
              <a:t>multi-region</a:t>
            </a:r>
          </a:p>
          <a:p>
            <a:r>
              <a:rPr lang="en-US" dirty="0"/>
              <a:t>extensible</a:t>
            </a:r>
          </a:p>
        </p:txBody>
      </p:sp>
    </p:spTree>
    <p:extLst>
      <p:ext uri="{BB962C8B-B14F-4D97-AF65-F5344CB8AC3E}">
        <p14:creationId xmlns:p14="http://schemas.microsoft.com/office/powerpoint/2010/main" val="120810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Support for IaaS and PaaS</a:t>
            </a:r>
            <a:endParaRPr lang="de-AT" dirty="0"/>
          </a:p>
        </p:txBody>
      </p:sp>
      <p:sp>
        <p:nvSpPr>
          <p:cNvPr id="5" name="Inhaltsplatzhalter 4"/>
          <p:cNvSpPr>
            <a:spLocks noGrp="1"/>
          </p:cNvSpPr>
          <p:nvPr>
            <p:ph type="body" sz="quarter" idx="10"/>
          </p:nvPr>
        </p:nvSpPr>
        <p:spPr/>
        <p:txBody>
          <a:bodyPr/>
          <a:lstStyle/>
          <a:p>
            <a:r>
              <a:rPr lang="en-US" dirty="0"/>
              <a:t>Support for IaaS</a:t>
            </a:r>
          </a:p>
          <a:p>
            <a:pPr lvl="1"/>
            <a:r>
              <a:rPr lang="en-US" dirty="0"/>
              <a:t>Incl. Networking</a:t>
            </a:r>
          </a:p>
          <a:p>
            <a:r>
              <a:rPr lang="en-US" dirty="0"/>
              <a:t>Support for PaaS</a:t>
            </a:r>
          </a:p>
          <a:p>
            <a:r>
              <a:rPr lang="en-US" dirty="0"/>
              <a:t>Mixed environments</a:t>
            </a:r>
          </a:p>
          <a:p>
            <a:pPr lvl="1"/>
            <a:r>
              <a:rPr lang="en-US" dirty="0"/>
              <a:t>E.g. web app in IaaS, SQL DB in PaaS</a:t>
            </a:r>
          </a:p>
        </p:txBody>
      </p:sp>
    </p:spTree>
    <p:extLst>
      <p:ext uri="{BB962C8B-B14F-4D97-AF65-F5344CB8AC3E}">
        <p14:creationId xmlns:p14="http://schemas.microsoft.com/office/powerpoint/2010/main" val="2738668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Advanced Concepts, Resources</a:t>
            </a:r>
            <a:endParaRPr lang="de-AT" dirty="0"/>
          </a:p>
        </p:txBody>
      </p:sp>
      <p:sp>
        <p:nvSpPr>
          <p:cNvPr id="5" name="Inhaltsplatzhalter 4"/>
          <p:cNvSpPr>
            <a:spLocks noGrp="1"/>
          </p:cNvSpPr>
          <p:nvPr>
            <p:ph type="body" sz="quarter" idx="10"/>
          </p:nvPr>
        </p:nvSpPr>
        <p:spPr>
          <a:xfrm>
            <a:off x="201930" y="891883"/>
            <a:ext cx="8741309" cy="3993273"/>
          </a:xfrm>
        </p:spPr>
        <p:txBody>
          <a:bodyPr/>
          <a:lstStyle/>
          <a:p>
            <a:r>
              <a:rPr lang="en-US" sz="2000" dirty="0"/>
              <a:t>Template functions</a:t>
            </a:r>
          </a:p>
          <a:p>
            <a:pPr lvl="1"/>
            <a:r>
              <a:rPr lang="en-US" sz="1400" dirty="0"/>
              <a:t>E.g. string functions, numeric functions, array functions, deployment values, etc.</a:t>
            </a:r>
          </a:p>
          <a:p>
            <a:pPr lvl="1"/>
            <a:r>
              <a:rPr lang="en-US" sz="1400" dirty="0">
                <a:hlinkClick r:id="rId2"/>
              </a:rPr>
              <a:t>https://azure.microsoft.com/en-us/documentation/articles/resource-group-template-functions/</a:t>
            </a:r>
            <a:endParaRPr lang="en-US" sz="1400" dirty="0"/>
          </a:p>
          <a:p>
            <a:r>
              <a:rPr lang="en-US" sz="2000" dirty="0"/>
              <a:t>Template linking</a:t>
            </a:r>
          </a:p>
          <a:p>
            <a:pPr lvl="1"/>
            <a:r>
              <a:rPr lang="en-US" sz="1400" dirty="0">
                <a:hlinkClick r:id="rId3"/>
              </a:rPr>
              <a:t>https://azure.microsoft.com/en-us/documentation/articles/resource-group-linked-templates/</a:t>
            </a:r>
            <a:endParaRPr lang="en-US" sz="1400" dirty="0"/>
          </a:p>
          <a:p>
            <a:r>
              <a:rPr lang="en-US" sz="2000" dirty="0"/>
              <a:t>Creating multiple instances</a:t>
            </a:r>
          </a:p>
          <a:p>
            <a:pPr lvl="1"/>
            <a:r>
              <a:rPr lang="en-US" sz="1400" dirty="0">
                <a:hlinkClick r:id="rId4"/>
              </a:rPr>
              <a:t>https://azure.microsoft.com/en-us/documentation/articles/resource-group-create-multiple/</a:t>
            </a:r>
            <a:endParaRPr lang="en-US" sz="1400" dirty="0"/>
          </a:p>
          <a:p>
            <a:r>
              <a:rPr lang="en-US" sz="2000" dirty="0"/>
              <a:t>Best Practices</a:t>
            </a:r>
          </a:p>
          <a:p>
            <a:pPr lvl="1"/>
            <a:r>
              <a:rPr lang="en-US" sz="1400" dirty="0">
                <a:hlinkClick r:id="rId5"/>
              </a:rPr>
              <a:t>https://azure.microsoft.com/en-us/documentation/articles/best-practices-resource-manager-design-templates/</a:t>
            </a:r>
            <a:endParaRPr lang="en-US" sz="1400" dirty="0"/>
          </a:p>
          <a:p>
            <a:r>
              <a:rPr lang="en-US" sz="1988" dirty="0"/>
              <a:t>Reference Secrets in </a:t>
            </a:r>
            <a:r>
              <a:rPr lang="en-US" sz="1988" dirty="0" err="1"/>
              <a:t>KeyVault</a:t>
            </a:r>
            <a:endParaRPr lang="en-US" sz="1988" dirty="0"/>
          </a:p>
          <a:p>
            <a:pPr lvl="1"/>
            <a:r>
              <a:rPr lang="en-US" sz="1400" dirty="0">
                <a:hlinkClick r:id="rId6"/>
              </a:rPr>
              <a:t>https://docs.microsoft.com/en-us/azure/azure-resource-manager/resource-manager-keyvault-parameter#reference-secrets-with-static-id</a:t>
            </a:r>
            <a:r>
              <a:rPr lang="en-US" sz="1400" dirty="0"/>
              <a:t> </a:t>
            </a:r>
          </a:p>
        </p:txBody>
      </p:sp>
    </p:spTree>
    <p:extLst>
      <p:ext uri="{BB962C8B-B14F-4D97-AF65-F5344CB8AC3E}">
        <p14:creationId xmlns:p14="http://schemas.microsoft.com/office/powerpoint/2010/main" val="3828512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C546C-C0E0-4F00-8FB8-1A5DAC02786E}"/>
              </a:ext>
            </a:extLst>
          </p:cNvPr>
          <p:cNvSpPr>
            <a:spLocks noGrp="1"/>
          </p:cNvSpPr>
          <p:nvPr>
            <p:ph type="title"/>
          </p:nvPr>
        </p:nvSpPr>
        <p:spPr/>
        <p:txBody>
          <a:bodyPr/>
          <a:lstStyle/>
          <a:p>
            <a:r>
              <a:rPr lang="de-CH" dirty="0"/>
              <a:t>Azure DevOps Project</a:t>
            </a:r>
          </a:p>
        </p:txBody>
      </p:sp>
      <p:sp>
        <p:nvSpPr>
          <p:cNvPr id="3" name="Text Placeholder 2">
            <a:extLst>
              <a:ext uri="{FF2B5EF4-FFF2-40B4-BE49-F238E27FC236}">
                <a16:creationId xmlns:a16="http://schemas.microsoft.com/office/drawing/2014/main" id="{787E9664-1138-42A4-9CBA-7A5B57050001}"/>
              </a:ext>
            </a:extLst>
          </p:cNvPr>
          <p:cNvSpPr>
            <a:spLocks noGrp="1"/>
          </p:cNvSpPr>
          <p:nvPr>
            <p:ph type="body" sz="quarter" idx="10"/>
          </p:nvPr>
        </p:nvSpPr>
        <p:spPr>
          <a:xfrm>
            <a:off x="201930" y="891883"/>
            <a:ext cx="8741309" cy="517065"/>
          </a:xfrm>
        </p:spPr>
        <p:txBody>
          <a:bodyPr/>
          <a:lstStyle/>
          <a:p>
            <a:r>
              <a:rPr lang="de-CH" sz="2400" dirty="0">
                <a:hlinkClick r:id="rId2"/>
              </a:rPr>
              <a:t>https://azure.microsoft.com/en-us/features/devops-projects/</a:t>
            </a:r>
            <a:r>
              <a:rPr lang="de-CH" sz="2400" dirty="0"/>
              <a:t> </a:t>
            </a:r>
          </a:p>
        </p:txBody>
      </p:sp>
      <p:pic>
        <p:nvPicPr>
          <p:cNvPr id="4" name="Picture 3">
            <a:extLst>
              <a:ext uri="{FF2B5EF4-FFF2-40B4-BE49-F238E27FC236}">
                <a16:creationId xmlns:a16="http://schemas.microsoft.com/office/drawing/2014/main" id="{FB3E1A31-B1AA-42B9-B1A7-CF3EEA33216E}"/>
              </a:ext>
            </a:extLst>
          </p:cNvPr>
          <p:cNvPicPr>
            <a:picLocks noChangeAspect="1"/>
          </p:cNvPicPr>
          <p:nvPr/>
        </p:nvPicPr>
        <p:blipFill>
          <a:blip r:embed="rId3"/>
          <a:stretch>
            <a:fillRect/>
          </a:stretch>
        </p:blipFill>
        <p:spPr>
          <a:xfrm>
            <a:off x="1424130" y="1347614"/>
            <a:ext cx="6295739" cy="3720782"/>
          </a:xfrm>
          <a:prstGeom prst="rect">
            <a:avLst/>
          </a:prstGeom>
        </p:spPr>
      </p:pic>
    </p:spTree>
    <p:extLst>
      <p:ext uri="{BB962C8B-B14F-4D97-AF65-F5344CB8AC3E}">
        <p14:creationId xmlns:p14="http://schemas.microsoft.com/office/powerpoint/2010/main" val="172735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A5E027-356F-479A-9B19-B32B279EBD02}"/>
              </a:ext>
            </a:extLst>
          </p:cNvPr>
          <p:cNvSpPr>
            <a:spLocks noGrp="1"/>
          </p:cNvSpPr>
          <p:nvPr>
            <p:ph type="title"/>
          </p:nvPr>
        </p:nvSpPr>
        <p:spPr/>
        <p:txBody>
          <a:bodyPr/>
          <a:lstStyle/>
          <a:p>
            <a:r>
              <a:rPr lang="de-AT" dirty="0"/>
              <a:t>Azure </a:t>
            </a:r>
            <a:r>
              <a:rPr lang="de-AT" dirty="0" err="1"/>
              <a:t>DevOps</a:t>
            </a:r>
            <a:r>
              <a:rPr lang="de-AT" dirty="0"/>
              <a:t> Pipelines</a:t>
            </a:r>
          </a:p>
        </p:txBody>
      </p:sp>
      <p:sp>
        <p:nvSpPr>
          <p:cNvPr id="5" name="Content Placeholder 4">
            <a:extLst>
              <a:ext uri="{FF2B5EF4-FFF2-40B4-BE49-F238E27FC236}">
                <a16:creationId xmlns:a16="http://schemas.microsoft.com/office/drawing/2014/main" id="{9BC0DD53-E2E0-4742-9796-CB0049CD4160}"/>
              </a:ext>
            </a:extLst>
          </p:cNvPr>
          <p:cNvSpPr>
            <a:spLocks noGrp="1"/>
          </p:cNvSpPr>
          <p:nvPr>
            <p:ph sz="quarter" idx="12"/>
          </p:nvPr>
        </p:nvSpPr>
        <p:spPr/>
        <p:txBody>
          <a:bodyPr/>
          <a:lstStyle/>
          <a:p>
            <a:r>
              <a:rPr lang="de-AT" dirty="0"/>
              <a:t>CI/CD Service</a:t>
            </a:r>
          </a:p>
          <a:p>
            <a:r>
              <a:rPr lang="de-AT" dirty="0" err="1"/>
              <a:t>Various</a:t>
            </a:r>
            <a:r>
              <a:rPr lang="de-AT" dirty="0"/>
              <a:t> </a:t>
            </a:r>
            <a:r>
              <a:rPr lang="de-AT" dirty="0" err="1"/>
              <a:t>sources</a:t>
            </a:r>
            <a:endParaRPr lang="de-AT" dirty="0"/>
          </a:p>
          <a:p>
            <a:pPr lvl="1"/>
            <a:r>
              <a:rPr lang="de-AT" dirty="0"/>
              <a:t>GitHub, </a:t>
            </a:r>
            <a:r>
              <a:rPr lang="de-AT" dirty="0" err="1"/>
              <a:t>GitLab</a:t>
            </a:r>
            <a:r>
              <a:rPr lang="de-AT" dirty="0"/>
              <a:t>, </a:t>
            </a:r>
            <a:r>
              <a:rPr lang="de-AT" dirty="0" err="1"/>
              <a:t>Bitbucket</a:t>
            </a:r>
            <a:r>
              <a:rPr lang="de-AT" dirty="0"/>
              <a:t>, Azure </a:t>
            </a:r>
            <a:r>
              <a:rPr lang="de-AT" dirty="0" err="1"/>
              <a:t>Repos</a:t>
            </a:r>
            <a:endParaRPr lang="de-AT" dirty="0"/>
          </a:p>
          <a:p>
            <a:r>
              <a:rPr lang="de-AT" dirty="0"/>
              <a:t>Language- and </a:t>
            </a:r>
            <a:r>
              <a:rPr lang="de-AT" dirty="0" err="1"/>
              <a:t>platform</a:t>
            </a:r>
            <a:r>
              <a:rPr lang="de-AT" dirty="0"/>
              <a:t> </a:t>
            </a:r>
            <a:r>
              <a:rPr lang="de-AT" dirty="0" err="1"/>
              <a:t>agnostic</a:t>
            </a:r>
            <a:endParaRPr lang="de-AT" dirty="0"/>
          </a:p>
          <a:p>
            <a:pPr lvl="1"/>
            <a:r>
              <a:rPr lang="de-AT" dirty="0"/>
              <a:t>E.g. </a:t>
            </a:r>
            <a:r>
              <a:rPr lang="de-AT" dirty="0">
                <a:hlinkClick r:id="rId2"/>
              </a:rPr>
              <a:t>https://docs.microsoft.com/en-us/azure/devops/pipelines/languages/dotnet-core</a:t>
            </a:r>
            <a:endParaRPr lang="de-AT" dirty="0"/>
          </a:p>
          <a:p>
            <a:r>
              <a:rPr lang="de-AT" dirty="0"/>
              <a:t>Key </a:t>
            </a:r>
            <a:r>
              <a:rPr lang="de-AT" dirty="0" err="1"/>
              <a:t>Concepts</a:t>
            </a:r>
            <a:endParaRPr lang="de-AT" dirty="0"/>
          </a:p>
          <a:p>
            <a:pPr lvl="1"/>
            <a:r>
              <a:rPr lang="de-AT" dirty="0">
                <a:hlinkClick r:id="rId3"/>
              </a:rPr>
              <a:t>https://docs.microsoft.com/en-us/azure/devops/pipelines/get-started/key-pipelines-concepts</a:t>
            </a:r>
            <a:endParaRPr lang="de-AT" dirty="0"/>
          </a:p>
          <a:p>
            <a:pPr lvl="1"/>
            <a:endParaRPr lang="de-AT" dirty="0"/>
          </a:p>
        </p:txBody>
      </p:sp>
      <p:sp>
        <p:nvSpPr>
          <p:cNvPr id="6" name="Text Placeholder 5">
            <a:extLst>
              <a:ext uri="{FF2B5EF4-FFF2-40B4-BE49-F238E27FC236}">
                <a16:creationId xmlns:a16="http://schemas.microsoft.com/office/drawing/2014/main" id="{728971CB-90AF-4E0C-8222-11CB16064D7C}"/>
              </a:ext>
            </a:extLst>
          </p:cNvPr>
          <p:cNvSpPr>
            <a:spLocks noGrp="1"/>
          </p:cNvSpPr>
          <p:nvPr>
            <p:ph type="body" sz="quarter" idx="23"/>
          </p:nvPr>
        </p:nvSpPr>
        <p:spPr/>
        <p:txBody>
          <a:bodyPr/>
          <a:lstStyle/>
          <a:p>
            <a:endParaRPr lang="de-AT"/>
          </a:p>
        </p:txBody>
      </p:sp>
    </p:spTree>
    <p:extLst>
      <p:ext uri="{BB962C8B-B14F-4D97-AF65-F5344CB8AC3E}">
        <p14:creationId xmlns:p14="http://schemas.microsoft.com/office/powerpoint/2010/main" val="4157224188"/>
      </p:ext>
    </p:extLst>
  </p:cSld>
  <p:clrMapOvr>
    <a:masterClrMapping/>
  </p:clrMapOvr>
  <p:transition spd="slow">
    <p:push/>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A5E027-356F-479A-9B19-B32B279EBD02}"/>
              </a:ext>
            </a:extLst>
          </p:cNvPr>
          <p:cNvSpPr>
            <a:spLocks noGrp="1"/>
          </p:cNvSpPr>
          <p:nvPr>
            <p:ph type="title"/>
          </p:nvPr>
        </p:nvSpPr>
        <p:spPr/>
        <p:txBody>
          <a:bodyPr/>
          <a:lstStyle/>
          <a:p>
            <a:r>
              <a:rPr lang="de-AT" dirty="0"/>
              <a:t>Azure </a:t>
            </a:r>
            <a:r>
              <a:rPr lang="de-AT" dirty="0" err="1"/>
              <a:t>DevOps</a:t>
            </a:r>
            <a:r>
              <a:rPr lang="de-AT" dirty="0"/>
              <a:t> Pipelines</a:t>
            </a:r>
          </a:p>
        </p:txBody>
      </p:sp>
      <p:sp>
        <p:nvSpPr>
          <p:cNvPr id="2" name="Text Placeholder 1">
            <a:extLst>
              <a:ext uri="{FF2B5EF4-FFF2-40B4-BE49-F238E27FC236}">
                <a16:creationId xmlns:a16="http://schemas.microsoft.com/office/drawing/2014/main" id="{01A526E6-D1BB-4F11-87C6-DD807807C251}"/>
              </a:ext>
            </a:extLst>
          </p:cNvPr>
          <p:cNvSpPr>
            <a:spLocks noGrp="1"/>
          </p:cNvSpPr>
          <p:nvPr>
            <p:ph type="body" sz="quarter" idx="23"/>
          </p:nvPr>
        </p:nvSpPr>
        <p:spPr/>
        <p:txBody>
          <a:bodyPr/>
          <a:lstStyle/>
          <a:p>
            <a:r>
              <a:rPr lang="de-AT" dirty="0">
                <a:hlinkClick r:id="rId2"/>
              </a:rPr>
              <a:t>https://github.com/MicrosoftDocs/pipelines-dotnet-core/blob/master/azure-pipelines.yml</a:t>
            </a:r>
            <a:r>
              <a:rPr lang="de-AT" dirty="0"/>
              <a:t> </a:t>
            </a:r>
          </a:p>
        </p:txBody>
      </p:sp>
      <p:pic>
        <p:nvPicPr>
          <p:cNvPr id="4098" name="Picture 2" descr="Pipelines YAML intro image ">
            <a:extLst>
              <a:ext uri="{FF2B5EF4-FFF2-40B4-BE49-F238E27FC236}">
                <a16:creationId xmlns:a16="http://schemas.microsoft.com/office/drawing/2014/main" id="{0A125407-A938-4B2E-93E3-EDEDEC7E79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3756377"/>
            <a:ext cx="5832648" cy="1095647"/>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Pipelines designer intro image">
            <a:extLst>
              <a:ext uri="{FF2B5EF4-FFF2-40B4-BE49-F238E27FC236}">
                <a16:creationId xmlns:a16="http://schemas.microsoft.com/office/drawing/2014/main" id="{E5B654DD-131E-47F8-A783-A9B539FDF1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568" y="1101270"/>
            <a:ext cx="5580484" cy="2431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2646935"/>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8AB17-8F04-4AB1-9D76-B24765EDC5D8}"/>
              </a:ext>
            </a:extLst>
          </p:cNvPr>
          <p:cNvSpPr>
            <a:spLocks noGrp="1"/>
          </p:cNvSpPr>
          <p:nvPr>
            <p:ph type="title"/>
          </p:nvPr>
        </p:nvSpPr>
        <p:spPr/>
        <p:txBody>
          <a:bodyPr/>
          <a:lstStyle/>
          <a:p>
            <a:r>
              <a:rPr lang="de-AT" dirty="0" err="1"/>
              <a:t>Configure</a:t>
            </a:r>
            <a:endParaRPr lang="de-AT" dirty="0"/>
          </a:p>
        </p:txBody>
      </p:sp>
      <p:sp>
        <p:nvSpPr>
          <p:cNvPr id="3" name="Content Placeholder 2">
            <a:extLst>
              <a:ext uri="{FF2B5EF4-FFF2-40B4-BE49-F238E27FC236}">
                <a16:creationId xmlns:a16="http://schemas.microsoft.com/office/drawing/2014/main" id="{75C025F2-88E4-4398-8A9F-C4E83A35788F}"/>
              </a:ext>
            </a:extLst>
          </p:cNvPr>
          <p:cNvSpPr>
            <a:spLocks noGrp="1"/>
          </p:cNvSpPr>
          <p:nvPr>
            <p:ph sz="quarter" idx="12"/>
          </p:nvPr>
        </p:nvSpPr>
        <p:spPr/>
        <p:txBody>
          <a:bodyPr/>
          <a:lstStyle/>
          <a:p>
            <a:r>
              <a:rPr lang="de-AT" dirty="0"/>
              <a:t>App Settings</a:t>
            </a:r>
          </a:p>
          <a:p>
            <a:pPr lvl="1"/>
            <a:r>
              <a:rPr lang="de-AT" dirty="0">
                <a:hlinkClick r:id="rId2"/>
              </a:rPr>
              <a:t>https://docs.microsoft.com/en-us/azure/app-service/web-sites-configure</a:t>
            </a:r>
            <a:endParaRPr lang="de-AT" dirty="0"/>
          </a:p>
          <a:p>
            <a:pPr lvl="1"/>
            <a:r>
              <a:rPr lang="de-AT" dirty="0"/>
              <a:t>Node.js </a:t>
            </a:r>
            <a:r>
              <a:rPr lang="de-AT" dirty="0" err="1"/>
              <a:t>versioning</a:t>
            </a:r>
            <a:r>
              <a:rPr lang="de-AT" dirty="0"/>
              <a:t>: </a:t>
            </a:r>
            <a:r>
              <a:rPr lang="de-AT" dirty="0">
                <a:hlinkClick r:id="rId3"/>
              </a:rPr>
              <a:t>https://github.com/projectkudu/kudu/wiki/Node-versioning</a:t>
            </a:r>
            <a:endParaRPr lang="de-AT" dirty="0"/>
          </a:p>
          <a:p>
            <a:r>
              <a:rPr lang="de-AT" dirty="0"/>
              <a:t>New: </a:t>
            </a:r>
            <a:r>
              <a:rPr lang="de-AT" dirty="0" err="1"/>
              <a:t>Managed</a:t>
            </a:r>
            <a:r>
              <a:rPr lang="de-AT" dirty="0"/>
              <a:t> Identity</a:t>
            </a:r>
          </a:p>
          <a:p>
            <a:pPr lvl="1"/>
            <a:r>
              <a:rPr lang="de-AT" dirty="0">
                <a:hlinkClick r:id="rId4"/>
              </a:rPr>
              <a:t>https://docs.microsoft.com/en-us/azure/app-service/overview-managed-identity</a:t>
            </a:r>
            <a:endParaRPr lang="de-AT" dirty="0"/>
          </a:p>
          <a:p>
            <a:pPr lvl="1"/>
            <a:r>
              <a:rPr lang="de-AT" dirty="0">
                <a:hlinkClick r:id="rId5"/>
              </a:rPr>
              <a:t>https://docs.microsoft.com/en-us/azure/app-service/app-service-key-vault-references</a:t>
            </a:r>
            <a:endParaRPr lang="de-AT" dirty="0"/>
          </a:p>
          <a:p>
            <a:pPr lvl="1"/>
            <a:endParaRPr lang="de-AT" dirty="0"/>
          </a:p>
        </p:txBody>
      </p:sp>
      <p:sp>
        <p:nvSpPr>
          <p:cNvPr id="4" name="Text Placeholder 3">
            <a:extLst>
              <a:ext uri="{FF2B5EF4-FFF2-40B4-BE49-F238E27FC236}">
                <a16:creationId xmlns:a16="http://schemas.microsoft.com/office/drawing/2014/main" id="{873BB4A7-2656-48E0-84CC-9A087F34D49C}"/>
              </a:ext>
            </a:extLst>
          </p:cNvPr>
          <p:cNvSpPr>
            <a:spLocks noGrp="1"/>
          </p:cNvSpPr>
          <p:nvPr>
            <p:ph type="body" sz="quarter" idx="23"/>
          </p:nvPr>
        </p:nvSpPr>
        <p:spPr/>
        <p:txBody>
          <a:bodyPr/>
          <a:lstStyle/>
          <a:p>
            <a:endParaRPr lang="de-AT"/>
          </a:p>
        </p:txBody>
      </p:sp>
    </p:spTree>
    <p:extLst>
      <p:ext uri="{BB962C8B-B14F-4D97-AF65-F5344CB8AC3E}">
        <p14:creationId xmlns:p14="http://schemas.microsoft.com/office/powerpoint/2010/main" val="1147861366"/>
      </p:ext>
    </p:extLst>
  </p:cSld>
  <p:clrMapOvr>
    <a:masterClrMapping/>
  </p:clrMapOvr>
  <p:transition spd="slow">
    <p:push/>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24"/>
          </p:nvPr>
        </p:nvSpPr>
        <p:spPr>
          <a:xfrm>
            <a:off x="1141413" y="339725"/>
            <a:ext cx="7751762" cy="685800"/>
          </a:xfrm>
        </p:spPr>
        <p:txBody>
          <a:bodyPr/>
          <a:lstStyle/>
          <a:p>
            <a:r>
              <a:rPr lang="en-US" dirty="0"/>
              <a:t>Azure Training</a:t>
            </a:r>
          </a:p>
        </p:txBody>
      </p:sp>
      <p:pic>
        <p:nvPicPr>
          <p:cNvPr id="24" name="Content Placeholder 23"/>
          <p:cNvPicPr>
            <a:picLocks noGrp="1" noChangeAspect="1"/>
          </p:cNvPicPr>
          <p:nvPr>
            <p:ph sz="quarter" idx="20"/>
          </p:nvPr>
        </p:nvPicPr>
        <p:blipFill>
          <a:blip r:embed="rId2" cstate="print">
            <a:extLst>
              <a:ext uri="{28A0092B-C50C-407E-A947-70E740481C1C}">
                <a14:useLocalDpi xmlns:a14="http://schemas.microsoft.com/office/drawing/2010/main" val="0"/>
              </a:ext>
            </a:extLst>
          </a:blip>
          <a:stretch>
            <a:fillRect/>
          </a:stretch>
        </p:blipFill>
        <p:spPr/>
      </p:pic>
      <p:sp>
        <p:nvSpPr>
          <p:cNvPr id="2" name="Title 1"/>
          <p:cNvSpPr>
            <a:spLocks noGrp="1"/>
          </p:cNvSpPr>
          <p:nvPr>
            <p:ph type="title"/>
          </p:nvPr>
        </p:nvSpPr>
        <p:spPr/>
        <p:txBody>
          <a:bodyPr/>
          <a:lstStyle/>
          <a:p>
            <a:r>
              <a:rPr lang="en-US" dirty="0"/>
              <a:t>Q&amp;A</a:t>
            </a:r>
          </a:p>
        </p:txBody>
      </p:sp>
      <p:sp>
        <p:nvSpPr>
          <p:cNvPr id="3" name="Text Placeholder 2"/>
          <p:cNvSpPr>
            <a:spLocks noGrp="1"/>
          </p:cNvSpPr>
          <p:nvPr>
            <p:ph type="body" sz="quarter" idx="12"/>
          </p:nvPr>
        </p:nvSpPr>
        <p:spPr/>
        <p:txBody>
          <a:bodyPr/>
          <a:lstStyle/>
          <a:p>
            <a:r>
              <a:rPr lang="en-US"/>
              <a:t>Rainer Stropek</a:t>
            </a:r>
          </a:p>
        </p:txBody>
      </p:sp>
      <p:sp>
        <p:nvSpPr>
          <p:cNvPr id="4" name="Text Placeholder 3"/>
          <p:cNvSpPr>
            <a:spLocks noGrp="1"/>
          </p:cNvSpPr>
          <p:nvPr>
            <p:ph type="body" sz="quarter" idx="13"/>
          </p:nvPr>
        </p:nvSpPr>
        <p:spPr/>
        <p:txBody>
          <a:bodyPr/>
          <a:lstStyle/>
          <a:p>
            <a:r>
              <a:rPr lang="en-US"/>
              <a:t>software architects gmbh</a:t>
            </a:r>
          </a:p>
        </p:txBody>
      </p:sp>
      <p:sp>
        <p:nvSpPr>
          <p:cNvPr id="18" name="Text Placeholder 17"/>
          <p:cNvSpPr>
            <a:spLocks noGrp="1"/>
          </p:cNvSpPr>
          <p:nvPr>
            <p:ph type="body" sz="quarter" idx="15"/>
          </p:nvPr>
        </p:nvSpPr>
        <p:spPr/>
        <p:txBody>
          <a:bodyPr/>
          <a:lstStyle/>
          <a:p>
            <a:r>
              <a:rPr lang="en-US"/>
              <a:t>rainer@timecockpit.com</a:t>
            </a:r>
            <a:br>
              <a:rPr lang="en-US"/>
            </a:br>
            <a:r>
              <a:rPr lang="en-US"/>
              <a:t>http://www.timecockpit.com</a:t>
            </a:r>
            <a:br>
              <a:rPr lang="en-US"/>
            </a:br>
            <a:r>
              <a:rPr lang="en-US"/>
              <a:t>@rstropek</a:t>
            </a:r>
          </a:p>
        </p:txBody>
      </p:sp>
      <p:sp>
        <p:nvSpPr>
          <p:cNvPr id="10" name="Text Placeholder 9"/>
          <p:cNvSpPr>
            <a:spLocks noGrp="1"/>
          </p:cNvSpPr>
          <p:nvPr>
            <p:ph type="body" sz="quarter" idx="25"/>
          </p:nvPr>
        </p:nvSpPr>
        <p:spPr>
          <a:xfrm>
            <a:off x="1144588" y="3135313"/>
            <a:ext cx="3789362" cy="366712"/>
          </a:xfrm>
        </p:spPr>
        <p:txBody>
          <a:bodyPr/>
          <a:lstStyle/>
          <a:p>
            <a:r>
              <a:rPr lang="en-US" dirty="0"/>
              <a:t>Thank your for coming!</a:t>
            </a:r>
          </a:p>
        </p:txBody>
      </p:sp>
      <p:sp>
        <p:nvSpPr>
          <p:cNvPr id="22" name="Content Placeholder 21"/>
          <p:cNvSpPr>
            <a:spLocks noGrp="1"/>
          </p:cNvSpPr>
          <p:nvPr>
            <p:ph sz="quarter" idx="26"/>
          </p:nvPr>
        </p:nvSpPr>
        <p:spPr>
          <a:xfrm>
            <a:off x="5218113" y="2338388"/>
            <a:ext cx="793750" cy="796925"/>
          </a:xfrm>
        </p:spPr>
        <p:txBody>
          <a:bodyPr/>
          <a:lstStyle/>
          <a:p>
            <a:r>
              <a:rPr lang="en-US"/>
              <a:t>Mail</a:t>
            </a:r>
            <a:br>
              <a:rPr lang="en-US"/>
            </a:br>
            <a:r>
              <a:rPr lang="en-US"/>
              <a:t>Web</a:t>
            </a:r>
            <a:br>
              <a:rPr lang="en-US"/>
            </a:br>
            <a:r>
              <a:rPr lang="en-US"/>
              <a:t>Twitter</a:t>
            </a:r>
          </a:p>
        </p:txBody>
      </p:sp>
    </p:spTree>
    <p:extLst>
      <p:ext uri="{BB962C8B-B14F-4D97-AF65-F5344CB8AC3E}">
        <p14:creationId xmlns:p14="http://schemas.microsoft.com/office/powerpoint/2010/main" val="408872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90EAEF1-5D0D-42B0-83B3-4141C6E9EA09}"/>
              </a:ext>
            </a:extLst>
          </p:cNvPr>
          <p:cNvSpPr>
            <a:spLocks noGrp="1"/>
          </p:cNvSpPr>
          <p:nvPr>
            <p:ph type="title"/>
          </p:nvPr>
        </p:nvSpPr>
        <p:spPr/>
        <p:txBody>
          <a:bodyPr/>
          <a:lstStyle/>
          <a:p>
            <a:r>
              <a:rPr lang="en-US" dirty="0"/>
              <a:t>The Problem</a:t>
            </a:r>
          </a:p>
        </p:txBody>
      </p:sp>
      <p:sp>
        <p:nvSpPr>
          <p:cNvPr id="10" name="Text Placeholder 9">
            <a:extLst>
              <a:ext uri="{FF2B5EF4-FFF2-40B4-BE49-F238E27FC236}">
                <a16:creationId xmlns:a16="http://schemas.microsoft.com/office/drawing/2014/main" id="{4EA77056-23D3-41CD-AA44-BC27A939D4BD}"/>
              </a:ext>
            </a:extLst>
          </p:cNvPr>
          <p:cNvSpPr>
            <a:spLocks noGrp="1"/>
          </p:cNvSpPr>
          <p:nvPr>
            <p:ph type="body" sz="quarter" idx="23"/>
          </p:nvPr>
        </p:nvSpPr>
        <p:spPr/>
        <p:txBody>
          <a:bodyPr/>
          <a:lstStyle/>
          <a:p>
            <a:endParaRPr lang="en-US" dirty="0"/>
          </a:p>
        </p:txBody>
      </p:sp>
      <p:sp>
        <p:nvSpPr>
          <p:cNvPr id="11" name="Text Placeholder 10">
            <a:extLst>
              <a:ext uri="{FF2B5EF4-FFF2-40B4-BE49-F238E27FC236}">
                <a16:creationId xmlns:a16="http://schemas.microsoft.com/office/drawing/2014/main" id="{C6AB0992-821B-4A46-96CF-A7FBB53A0239}"/>
              </a:ext>
            </a:extLst>
          </p:cNvPr>
          <p:cNvSpPr>
            <a:spLocks noGrp="1"/>
          </p:cNvSpPr>
          <p:nvPr>
            <p:ph type="body" sz="quarter" idx="24"/>
          </p:nvPr>
        </p:nvSpPr>
        <p:spPr/>
        <p:txBody>
          <a:bodyPr/>
          <a:lstStyle/>
          <a:p>
            <a:r>
              <a:rPr lang="en-US" dirty="0"/>
              <a:t>Unsecure key storage</a:t>
            </a:r>
          </a:p>
          <a:p>
            <a:pPr lvl="1"/>
            <a:r>
              <a:rPr lang="en-US" dirty="0"/>
              <a:t>Plaintext is very common</a:t>
            </a:r>
          </a:p>
          <a:p>
            <a:pPr lvl="1"/>
            <a:r>
              <a:rPr lang="en-US" dirty="0"/>
              <a:t>Locally and in the cloud</a:t>
            </a:r>
          </a:p>
          <a:p>
            <a:pPr lvl="1"/>
            <a:r>
              <a:rPr lang="en-US" dirty="0"/>
              <a:t>Access keys for valuable resources, not just test env</a:t>
            </a:r>
          </a:p>
          <a:p>
            <a:r>
              <a:rPr lang="en-US" dirty="0"/>
              <a:t>Publish keys accidentally</a:t>
            </a:r>
          </a:p>
          <a:p>
            <a:pPr lvl="1"/>
            <a:r>
              <a:rPr lang="en-US" dirty="0"/>
              <a:t>E.g. checked in</a:t>
            </a:r>
          </a:p>
          <a:p>
            <a:r>
              <a:rPr lang="en-US" dirty="0"/>
              <a:t>Vulnerability from hackers and malicious insiders</a:t>
            </a:r>
          </a:p>
          <a:p>
            <a:pPr lvl="1"/>
            <a:r>
              <a:rPr lang="en-US" dirty="0"/>
              <a:t>Missing key rotation practices</a:t>
            </a:r>
          </a:p>
          <a:p>
            <a:pPr lvl="1"/>
            <a:endParaRPr lang="en-US" dirty="0"/>
          </a:p>
        </p:txBody>
      </p:sp>
      <p:sp>
        <p:nvSpPr>
          <p:cNvPr id="12" name="Text Placeholder 11">
            <a:extLst>
              <a:ext uri="{FF2B5EF4-FFF2-40B4-BE49-F238E27FC236}">
                <a16:creationId xmlns:a16="http://schemas.microsoft.com/office/drawing/2014/main" id="{747D6AF1-8BDB-4257-A925-22B2F1D64A45}"/>
              </a:ext>
            </a:extLst>
          </p:cNvPr>
          <p:cNvSpPr>
            <a:spLocks noGrp="1"/>
          </p:cNvSpPr>
          <p:nvPr>
            <p:ph type="body" sz="quarter" idx="25"/>
          </p:nvPr>
        </p:nvSpPr>
        <p:spPr/>
        <p:txBody>
          <a:bodyPr/>
          <a:lstStyle/>
          <a:p>
            <a:endParaRPr lang="en-US" dirty="0"/>
          </a:p>
        </p:txBody>
      </p:sp>
      <p:pic>
        <p:nvPicPr>
          <p:cNvPr id="1026" name="Picture 2" descr="Bildergebnis fÃ¼r git icon">
            <a:extLst>
              <a:ext uri="{FF2B5EF4-FFF2-40B4-BE49-F238E27FC236}">
                <a16:creationId xmlns:a16="http://schemas.microsoft.com/office/drawing/2014/main" id="{87705C33-6C9E-4CD5-BEBE-9C98CB96F60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35845" y="1781590"/>
            <a:ext cx="560514" cy="560514"/>
          </a:xfrm>
          <a:prstGeom prst="rect">
            <a:avLst/>
          </a:prstGeom>
          <a:noFill/>
          <a:extLst>
            <a:ext uri="{909E8E84-426E-40DD-AFC4-6F175D3DCCD1}">
              <a14:hiddenFill xmlns:a14="http://schemas.microsoft.com/office/drawing/2010/main">
                <a:solidFill>
                  <a:srgbClr val="FFFFFF"/>
                </a:solidFill>
              </a14:hiddenFill>
            </a:ext>
          </a:extLst>
        </p:spPr>
      </p:pic>
      <p:sp>
        <p:nvSpPr>
          <p:cNvPr id="37" name="Freeform 20">
            <a:extLst>
              <a:ext uri="{FF2B5EF4-FFF2-40B4-BE49-F238E27FC236}">
                <a16:creationId xmlns:a16="http://schemas.microsoft.com/office/drawing/2014/main" id="{22256EBF-C365-4E05-9361-BAA7B94E03E9}"/>
              </a:ext>
            </a:extLst>
          </p:cNvPr>
          <p:cNvSpPr>
            <a:spLocks noChangeArrowheads="1"/>
          </p:cNvSpPr>
          <p:nvPr/>
        </p:nvSpPr>
        <p:spPr bwMode="auto">
          <a:xfrm>
            <a:off x="3370778" y="696361"/>
            <a:ext cx="490648" cy="335516"/>
          </a:xfrm>
          <a:custGeom>
            <a:avLst/>
            <a:gdLst>
              <a:gd name="T0" fmla="*/ 296 w 598"/>
              <a:gd name="T1" fmla="*/ 0 h 411"/>
              <a:gd name="T2" fmla="*/ 0 w 598"/>
              <a:gd name="T3" fmla="*/ 208 h 411"/>
              <a:gd name="T4" fmla="*/ 296 w 598"/>
              <a:gd name="T5" fmla="*/ 410 h 411"/>
              <a:gd name="T6" fmla="*/ 597 w 598"/>
              <a:gd name="T7" fmla="*/ 208 h 411"/>
              <a:gd name="T8" fmla="*/ 296 w 598"/>
              <a:gd name="T9" fmla="*/ 0 h 411"/>
              <a:gd name="T10" fmla="*/ 296 w 598"/>
              <a:gd name="T11" fmla="*/ 343 h 411"/>
              <a:gd name="T12" fmla="*/ 161 w 598"/>
              <a:gd name="T13" fmla="*/ 208 h 411"/>
              <a:gd name="T14" fmla="*/ 296 w 598"/>
              <a:gd name="T15" fmla="*/ 73 h 411"/>
              <a:gd name="T16" fmla="*/ 431 w 598"/>
              <a:gd name="T17" fmla="*/ 208 h 411"/>
              <a:gd name="T18" fmla="*/ 296 w 598"/>
              <a:gd name="T19" fmla="*/ 343 h 411"/>
              <a:gd name="T20" fmla="*/ 296 w 598"/>
              <a:gd name="T21" fmla="*/ 125 h 411"/>
              <a:gd name="T22" fmla="*/ 213 w 598"/>
              <a:gd name="T23" fmla="*/ 208 h 411"/>
              <a:gd name="T24" fmla="*/ 296 w 598"/>
              <a:gd name="T25" fmla="*/ 286 h 411"/>
              <a:gd name="T26" fmla="*/ 379 w 598"/>
              <a:gd name="T27" fmla="*/ 208 h 411"/>
              <a:gd name="T28" fmla="*/ 296 w 598"/>
              <a:gd name="T29" fmla="*/ 12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8" h="411">
                <a:moveTo>
                  <a:pt x="296" y="0"/>
                </a:moveTo>
                <a:cubicBezTo>
                  <a:pt x="161" y="0"/>
                  <a:pt x="42" y="89"/>
                  <a:pt x="0" y="208"/>
                </a:cubicBezTo>
                <a:cubicBezTo>
                  <a:pt x="42" y="327"/>
                  <a:pt x="161" y="410"/>
                  <a:pt x="296" y="410"/>
                </a:cubicBezTo>
                <a:cubicBezTo>
                  <a:pt x="431" y="410"/>
                  <a:pt x="550" y="327"/>
                  <a:pt x="597" y="208"/>
                </a:cubicBezTo>
                <a:cubicBezTo>
                  <a:pt x="550" y="89"/>
                  <a:pt x="431" y="0"/>
                  <a:pt x="296" y="0"/>
                </a:cubicBezTo>
                <a:close/>
                <a:moveTo>
                  <a:pt x="296" y="343"/>
                </a:moveTo>
                <a:cubicBezTo>
                  <a:pt x="218" y="343"/>
                  <a:pt x="161" y="283"/>
                  <a:pt x="161" y="208"/>
                </a:cubicBezTo>
                <a:cubicBezTo>
                  <a:pt x="161" y="133"/>
                  <a:pt x="218" y="73"/>
                  <a:pt x="296" y="73"/>
                </a:cubicBezTo>
                <a:cubicBezTo>
                  <a:pt x="374" y="73"/>
                  <a:pt x="431" y="133"/>
                  <a:pt x="431" y="208"/>
                </a:cubicBezTo>
                <a:cubicBezTo>
                  <a:pt x="431" y="283"/>
                  <a:pt x="374" y="343"/>
                  <a:pt x="296" y="343"/>
                </a:cubicBezTo>
                <a:close/>
                <a:moveTo>
                  <a:pt x="296" y="125"/>
                </a:moveTo>
                <a:cubicBezTo>
                  <a:pt x="249" y="125"/>
                  <a:pt x="213" y="161"/>
                  <a:pt x="213" y="208"/>
                </a:cubicBezTo>
                <a:cubicBezTo>
                  <a:pt x="213" y="254"/>
                  <a:pt x="249" y="286"/>
                  <a:pt x="296" y="286"/>
                </a:cubicBezTo>
                <a:cubicBezTo>
                  <a:pt x="343" y="286"/>
                  <a:pt x="379" y="254"/>
                  <a:pt x="379" y="208"/>
                </a:cubicBezTo>
                <a:cubicBezTo>
                  <a:pt x="379" y="161"/>
                  <a:pt x="343" y="125"/>
                  <a:pt x="296" y="125"/>
                </a:cubicBezTo>
                <a:close/>
              </a:path>
            </a:pathLst>
          </a:custGeom>
          <a:solidFill>
            <a:schemeClr val="tx1">
              <a:lumMod val="75000"/>
            </a:schemeClr>
          </a:solidFill>
          <a:ln>
            <a:noFill/>
          </a:ln>
          <a:effectLst/>
        </p:spPr>
        <p:txBody>
          <a:bodyPr wrap="none" anchor="ctr"/>
          <a:lstStyle/>
          <a:p>
            <a:endParaRPr lang="en-US" dirty="0"/>
          </a:p>
        </p:txBody>
      </p:sp>
      <p:sp>
        <p:nvSpPr>
          <p:cNvPr id="38" name="Freeform 20">
            <a:extLst>
              <a:ext uri="{FF2B5EF4-FFF2-40B4-BE49-F238E27FC236}">
                <a16:creationId xmlns:a16="http://schemas.microsoft.com/office/drawing/2014/main" id="{2B0DD6CE-FFA0-434B-8B15-21B8D5CE2732}"/>
              </a:ext>
            </a:extLst>
          </p:cNvPr>
          <p:cNvSpPr>
            <a:spLocks noChangeArrowheads="1"/>
          </p:cNvSpPr>
          <p:nvPr/>
        </p:nvSpPr>
        <p:spPr bwMode="auto">
          <a:xfrm>
            <a:off x="3436183" y="1197255"/>
            <a:ext cx="359839" cy="418956"/>
          </a:xfrm>
          <a:custGeom>
            <a:avLst/>
            <a:gdLst>
              <a:gd name="T0" fmla="*/ 454 w 617"/>
              <a:gd name="T1" fmla="*/ 0 h 717"/>
              <a:gd name="T2" fmla="*/ 62 w 617"/>
              <a:gd name="T3" fmla="*/ 0 h 717"/>
              <a:gd name="T4" fmla="*/ 0 w 617"/>
              <a:gd name="T5" fmla="*/ 63 h 717"/>
              <a:gd name="T6" fmla="*/ 0 w 617"/>
              <a:gd name="T7" fmla="*/ 517 h 717"/>
              <a:gd name="T8" fmla="*/ 62 w 617"/>
              <a:gd name="T9" fmla="*/ 517 h 717"/>
              <a:gd name="T10" fmla="*/ 62 w 617"/>
              <a:gd name="T11" fmla="*/ 63 h 717"/>
              <a:gd name="T12" fmla="*/ 454 w 617"/>
              <a:gd name="T13" fmla="*/ 63 h 717"/>
              <a:gd name="T14" fmla="*/ 454 w 617"/>
              <a:gd name="T15" fmla="*/ 0 h 717"/>
              <a:gd name="T16" fmla="*/ 548 w 617"/>
              <a:gd name="T17" fmla="*/ 125 h 717"/>
              <a:gd name="T18" fmla="*/ 193 w 617"/>
              <a:gd name="T19" fmla="*/ 125 h 717"/>
              <a:gd name="T20" fmla="*/ 124 w 617"/>
              <a:gd name="T21" fmla="*/ 193 h 717"/>
              <a:gd name="T22" fmla="*/ 124 w 617"/>
              <a:gd name="T23" fmla="*/ 648 h 717"/>
              <a:gd name="T24" fmla="*/ 193 w 617"/>
              <a:gd name="T25" fmla="*/ 716 h 717"/>
              <a:gd name="T26" fmla="*/ 548 w 617"/>
              <a:gd name="T27" fmla="*/ 716 h 717"/>
              <a:gd name="T28" fmla="*/ 616 w 617"/>
              <a:gd name="T29" fmla="*/ 648 h 717"/>
              <a:gd name="T30" fmla="*/ 616 w 617"/>
              <a:gd name="T31" fmla="*/ 193 h 717"/>
              <a:gd name="T32" fmla="*/ 548 w 617"/>
              <a:gd name="T33" fmla="*/ 125 h 717"/>
              <a:gd name="T34" fmla="*/ 548 w 617"/>
              <a:gd name="T35" fmla="*/ 648 h 717"/>
              <a:gd name="T36" fmla="*/ 193 w 617"/>
              <a:gd name="T37" fmla="*/ 648 h 717"/>
              <a:gd name="T38" fmla="*/ 193 w 617"/>
              <a:gd name="T39" fmla="*/ 193 h 717"/>
              <a:gd name="T40" fmla="*/ 548 w 617"/>
              <a:gd name="T41" fmla="*/ 193 h 717"/>
              <a:gd name="T42" fmla="*/ 548 w 617"/>
              <a:gd name="T43" fmla="*/ 648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717">
                <a:moveTo>
                  <a:pt x="454" y="0"/>
                </a:moveTo>
                <a:lnTo>
                  <a:pt x="62" y="0"/>
                </a:lnTo>
                <a:cubicBezTo>
                  <a:pt x="25" y="0"/>
                  <a:pt x="0" y="25"/>
                  <a:pt x="0" y="63"/>
                </a:cubicBezTo>
                <a:lnTo>
                  <a:pt x="0" y="517"/>
                </a:lnTo>
                <a:lnTo>
                  <a:pt x="62" y="517"/>
                </a:lnTo>
                <a:lnTo>
                  <a:pt x="62" y="63"/>
                </a:lnTo>
                <a:lnTo>
                  <a:pt x="454" y="63"/>
                </a:lnTo>
                <a:lnTo>
                  <a:pt x="454" y="0"/>
                </a:lnTo>
                <a:close/>
                <a:moveTo>
                  <a:pt x="548" y="125"/>
                </a:moveTo>
                <a:lnTo>
                  <a:pt x="193" y="125"/>
                </a:lnTo>
                <a:cubicBezTo>
                  <a:pt x="156" y="125"/>
                  <a:pt x="124" y="156"/>
                  <a:pt x="124" y="193"/>
                </a:cubicBezTo>
                <a:lnTo>
                  <a:pt x="124" y="648"/>
                </a:lnTo>
                <a:cubicBezTo>
                  <a:pt x="124" y="685"/>
                  <a:pt x="156" y="716"/>
                  <a:pt x="193" y="716"/>
                </a:cubicBezTo>
                <a:lnTo>
                  <a:pt x="548" y="716"/>
                </a:lnTo>
                <a:cubicBezTo>
                  <a:pt x="585" y="716"/>
                  <a:pt x="616" y="685"/>
                  <a:pt x="616" y="648"/>
                </a:cubicBezTo>
                <a:lnTo>
                  <a:pt x="616" y="193"/>
                </a:lnTo>
                <a:cubicBezTo>
                  <a:pt x="616" y="156"/>
                  <a:pt x="585" y="125"/>
                  <a:pt x="548" y="125"/>
                </a:cubicBezTo>
                <a:close/>
                <a:moveTo>
                  <a:pt x="548" y="648"/>
                </a:moveTo>
                <a:lnTo>
                  <a:pt x="193" y="648"/>
                </a:lnTo>
                <a:lnTo>
                  <a:pt x="193" y="193"/>
                </a:lnTo>
                <a:lnTo>
                  <a:pt x="548" y="193"/>
                </a:lnTo>
                <a:lnTo>
                  <a:pt x="548" y="648"/>
                </a:lnTo>
                <a:close/>
              </a:path>
            </a:pathLst>
          </a:custGeom>
          <a:solidFill>
            <a:schemeClr val="tx1">
              <a:lumMod val="75000"/>
            </a:schemeClr>
          </a:solidFill>
          <a:ln>
            <a:noFill/>
          </a:ln>
          <a:effectLst/>
        </p:spPr>
        <p:txBody>
          <a:bodyPr wrap="none" anchor="ctr"/>
          <a:lstStyle/>
          <a:p>
            <a:endParaRPr lang="en-US" dirty="0"/>
          </a:p>
        </p:txBody>
      </p:sp>
      <p:grpSp>
        <p:nvGrpSpPr>
          <p:cNvPr id="50" name="Group 49">
            <a:extLst>
              <a:ext uri="{FF2B5EF4-FFF2-40B4-BE49-F238E27FC236}">
                <a16:creationId xmlns:a16="http://schemas.microsoft.com/office/drawing/2014/main" id="{E7095422-9DC9-43F9-9ADE-478F85AF550B}"/>
              </a:ext>
            </a:extLst>
          </p:cNvPr>
          <p:cNvGrpSpPr/>
          <p:nvPr/>
        </p:nvGrpSpPr>
        <p:grpSpPr>
          <a:xfrm>
            <a:off x="806707" y="658710"/>
            <a:ext cx="2088232" cy="1566671"/>
            <a:chOff x="3635896" y="2715766"/>
            <a:chExt cx="2088232" cy="1566671"/>
          </a:xfrm>
        </p:grpSpPr>
        <p:sp>
          <p:nvSpPr>
            <p:cNvPr id="28" name="Freeform 22">
              <a:extLst>
                <a:ext uri="{FF2B5EF4-FFF2-40B4-BE49-F238E27FC236}">
                  <a16:creationId xmlns:a16="http://schemas.microsoft.com/office/drawing/2014/main" id="{C7F38568-174A-4530-9392-18776768C275}"/>
                </a:ext>
              </a:extLst>
            </p:cNvPr>
            <p:cNvSpPr>
              <a:spLocks noChangeArrowheads="1"/>
            </p:cNvSpPr>
            <p:nvPr/>
          </p:nvSpPr>
          <p:spPr bwMode="auto">
            <a:xfrm>
              <a:off x="3635896" y="2715766"/>
              <a:ext cx="2088232" cy="1566671"/>
            </a:xfrm>
            <a:custGeom>
              <a:avLst/>
              <a:gdLst>
                <a:gd name="T0" fmla="*/ 528 w 636"/>
                <a:gd name="T1" fmla="*/ 371 h 423"/>
                <a:gd name="T2" fmla="*/ 584 w 636"/>
                <a:gd name="T3" fmla="*/ 315 h 423"/>
                <a:gd name="T4" fmla="*/ 584 w 636"/>
                <a:gd name="T5" fmla="*/ 51 h 423"/>
                <a:gd name="T6" fmla="*/ 528 w 636"/>
                <a:gd name="T7" fmla="*/ 0 h 423"/>
                <a:gd name="T8" fmla="*/ 107 w 636"/>
                <a:gd name="T9" fmla="*/ 0 h 423"/>
                <a:gd name="T10" fmla="*/ 51 w 636"/>
                <a:gd name="T11" fmla="*/ 51 h 423"/>
                <a:gd name="T12" fmla="*/ 51 w 636"/>
                <a:gd name="T13" fmla="*/ 315 h 423"/>
                <a:gd name="T14" fmla="*/ 107 w 636"/>
                <a:gd name="T15" fmla="*/ 371 h 423"/>
                <a:gd name="T16" fmla="*/ 0 w 636"/>
                <a:gd name="T17" fmla="*/ 371 h 423"/>
                <a:gd name="T18" fmla="*/ 0 w 636"/>
                <a:gd name="T19" fmla="*/ 422 h 423"/>
                <a:gd name="T20" fmla="*/ 635 w 636"/>
                <a:gd name="T21" fmla="*/ 422 h 423"/>
                <a:gd name="T22" fmla="*/ 635 w 636"/>
                <a:gd name="T23" fmla="*/ 371 h 423"/>
                <a:gd name="T24" fmla="*/ 528 w 636"/>
                <a:gd name="T25" fmla="*/ 371 h 423"/>
                <a:gd name="T26" fmla="*/ 107 w 636"/>
                <a:gd name="T27" fmla="*/ 51 h 423"/>
                <a:gd name="T28" fmla="*/ 528 w 636"/>
                <a:gd name="T29" fmla="*/ 51 h 423"/>
                <a:gd name="T30" fmla="*/ 528 w 636"/>
                <a:gd name="T31" fmla="*/ 315 h 423"/>
                <a:gd name="T32" fmla="*/ 107 w 636"/>
                <a:gd name="T33" fmla="*/ 315 h 423"/>
                <a:gd name="T34" fmla="*/ 107 w 636"/>
                <a:gd name="T35" fmla="*/ 51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6" h="423">
                  <a:moveTo>
                    <a:pt x="528" y="371"/>
                  </a:moveTo>
                  <a:cubicBezTo>
                    <a:pt x="559" y="371"/>
                    <a:pt x="584" y="346"/>
                    <a:pt x="584" y="315"/>
                  </a:cubicBezTo>
                  <a:lnTo>
                    <a:pt x="584" y="51"/>
                  </a:lnTo>
                  <a:cubicBezTo>
                    <a:pt x="584" y="21"/>
                    <a:pt x="559" y="0"/>
                    <a:pt x="528" y="0"/>
                  </a:cubicBezTo>
                  <a:lnTo>
                    <a:pt x="107" y="0"/>
                  </a:lnTo>
                  <a:cubicBezTo>
                    <a:pt x="76" y="0"/>
                    <a:pt x="51" y="21"/>
                    <a:pt x="51" y="51"/>
                  </a:cubicBezTo>
                  <a:lnTo>
                    <a:pt x="51" y="315"/>
                  </a:lnTo>
                  <a:cubicBezTo>
                    <a:pt x="51" y="346"/>
                    <a:pt x="76" y="371"/>
                    <a:pt x="107" y="371"/>
                  </a:cubicBezTo>
                  <a:lnTo>
                    <a:pt x="0" y="371"/>
                  </a:lnTo>
                  <a:lnTo>
                    <a:pt x="0" y="422"/>
                  </a:lnTo>
                  <a:lnTo>
                    <a:pt x="635" y="422"/>
                  </a:lnTo>
                  <a:lnTo>
                    <a:pt x="635" y="371"/>
                  </a:lnTo>
                  <a:lnTo>
                    <a:pt x="528" y="371"/>
                  </a:lnTo>
                  <a:close/>
                  <a:moveTo>
                    <a:pt x="107" y="51"/>
                  </a:moveTo>
                  <a:lnTo>
                    <a:pt x="528" y="51"/>
                  </a:lnTo>
                  <a:lnTo>
                    <a:pt x="528" y="315"/>
                  </a:lnTo>
                  <a:lnTo>
                    <a:pt x="107" y="315"/>
                  </a:lnTo>
                  <a:lnTo>
                    <a:pt x="107" y="51"/>
                  </a:lnTo>
                  <a:close/>
                </a:path>
              </a:pathLst>
            </a:custGeom>
            <a:solidFill>
              <a:schemeClr val="tx1">
                <a:lumMod val="75000"/>
              </a:schemeClr>
            </a:solidFill>
            <a:ln>
              <a:noFill/>
            </a:ln>
            <a:effectLst/>
          </p:spPr>
          <p:txBody>
            <a:bodyPr wrap="none" anchor="ctr"/>
            <a:lstStyle/>
            <a:p>
              <a:endParaRPr lang="en-US" dirty="0"/>
            </a:p>
          </p:txBody>
        </p:sp>
        <p:grpSp>
          <p:nvGrpSpPr>
            <p:cNvPr id="41" name="Group 40">
              <a:extLst>
                <a:ext uri="{FF2B5EF4-FFF2-40B4-BE49-F238E27FC236}">
                  <a16:creationId xmlns:a16="http://schemas.microsoft.com/office/drawing/2014/main" id="{E84A09AF-B6C4-4276-82F2-34B037285853}"/>
                </a:ext>
              </a:extLst>
            </p:cNvPr>
            <p:cNvGrpSpPr/>
            <p:nvPr/>
          </p:nvGrpSpPr>
          <p:grpSpPr>
            <a:xfrm>
              <a:off x="4129676" y="3147814"/>
              <a:ext cx="1100671" cy="486641"/>
              <a:chOff x="827584" y="1821877"/>
              <a:chExt cx="459379" cy="203106"/>
            </a:xfrm>
          </p:grpSpPr>
          <p:grpSp>
            <p:nvGrpSpPr>
              <p:cNvPr id="42" name="Group 41">
                <a:extLst>
                  <a:ext uri="{FF2B5EF4-FFF2-40B4-BE49-F238E27FC236}">
                    <a16:creationId xmlns:a16="http://schemas.microsoft.com/office/drawing/2014/main" id="{33C44C85-D7BB-4508-84D5-46849CD58CCB}"/>
                  </a:ext>
                </a:extLst>
              </p:cNvPr>
              <p:cNvGrpSpPr/>
              <p:nvPr/>
            </p:nvGrpSpPr>
            <p:grpSpPr>
              <a:xfrm>
                <a:off x="827584" y="1825978"/>
                <a:ext cx="459379" cy="199005"/>
                <a:chOff x="1259632" y="1993277"/>
                <a:chExt cx="377105" cy="163364"/>
              </a:xfrm>
              <a:solidFill>
                <a:schemeClr val="tx1">
                  <a:lumMod val="60000"/>
                  <a:lumOff val="40000"/>
                </a:schemeClr>
              </a:solidFill>
            </p:grpSpPr>
            <p:sp>
              <p:nvSpPr>
                <p:cNvPr id="44" name="Freeform 9">
                  <a:extLst>
                    <a:ext uri="{FF2B5EF4-FFF2-40B4-BE49-F238E27FC236}">
                      <a16:creationId xmlns:a16="http://schemas.microsoft.com/office/drawing/2014/main" id="{BC31191C-9F95-41BA-BE91-AEC605D63694}"/>
                    </a:ext>
                  </a:extLst>
                </p:cNvPr>
                <p:cNvSpPr>
                  <a:spLocks noChangeArrowheads="1"/>
                </p:cNvSpPr>
                <p:nvPr/>
              </p:nvSpPr>
              <p:spPr bwMode="auto">
                <a:xfrm>
                  <a:off x="1259632" y="1993277"/>
                  <a:ext cx="102102" cy="163364"/>
                </a:xfrm>
                <a:custGeom>
                  <a:avLst/>
                  <a:gdLst>
                    <a:gd name="T0" fmla="*/ 243 w 244"/>
                    <a:gd name="T1" fmla="*/ 44 h 387"/>
                    <a:gd name="T2" fmla="*/ 199 w 244"/>
                    <a:gd name="T3" fmla="*/ 0 h 387"/>
                    <a:gd name="T4" fmla="*/ 0 w 244"/>
                    <a:gd name="T5" fmla="*/ 193 h 387"/>
                    <a:gd name="T6" fmla="*/ 199 w 244"/>
                    <a:gd name="T7" fmla="*/ 386 h 387"/>
                    <a:gd name="T8" fmla="*/ 243 w 244"/>
                    <a:gd name="T9" fmla="*/ 343 h 387"/>
                    <a:gd name="T10" fmla="*/ 94 w 244"/>
                    <a:gd name="T11" fmla="*/ 193 h 387"/>
                    <a:gd name="T12" fmla="*/ 243 w 244"/>
                    <a:gd name="T13" fmla="*/ 44 h 387"/>
                  </a:gdLst>
                  <a:ahLst/>
                  <a:cxnLst>
                    <a:cxn ang="0">
                      <a:pos x="T0" y="T1"/>
                    </a:cxn>
                    <a:cxn ang="0">
                      <a:pos x="T2" y="T3"/>
                    </a:cxn>
                    <a:cxn ang="0">
                      <a:pos x="T4" y="T5"/>
                    </a:cxn>
                    <a:cxn ang="0">
                      <a:pos x="T6" y="T7"/>
                    </a:cxn>
                    <a:cxn ang="0">
                      <a:pos x="T8" y="T9"/>
                    </a:cxn>
                    <a:cxn ang="0">
                      <a:pos x="T10" y="T11"/>
                    </a:cxn>
                    <a:cxn ang="0">
                      <a:pos x="T12" y="T13"/>
                    </a:cxn>
                  </a:cxnLst>
                  <a:rect l="0" t="0" r="r" b="b"/>
                  <a:pathLst>
                    <a:path w="244" h="387">
                      <a:moveTo>
                        <a:pt x="243" y="44"/>
                      </a:moveTo>
                      <a:lnTo>
                        <a:pt x="199" y="0"/>
                      </a:lnTo>
                      <a:lnTo>
                        <a:pt x="0" y="193"/>
                      </a:lnTo>
                      <a:lnTo>
                        <a:pt x="199" y="386"/>
                      </a:lnTo>
                      <a:lnTo>
                        <a:pt x="243" y="343"/>
                      </a:lnTo>
                      <a:lnTo>
                        <a:pt x="94" y="193"/>
                      </a:lnTo>
                      <a:lnTo>
                        <a:pt x="243" y="44"/>
                      </a:lnTo>
                    </a:path>
                  </a:pathLst>
                </a:custGeom>
                <a:grpFill/>
                <a:ln>
                  <a:noFill/>
                </a:ln>
                <a:effectLst/>
              </p:spPr>
              <p:txBody>
                <a:bodyPr wrap="none" anchor="ctr"/>
                <a:lstStyle/>
                <a:p>
                  <a:endParaRPr lang="en-US" dirty="0">
                    <a:solidFill>
                      <a:schemeClr val="tx1">
                        <a:lumMod val="60000"/>
                        <a:lumOff val="40000"/>
                      </a:schemeClr>
                    </a:solidFill>
                  </a:endParaRPr>
                </a:p>
              </p:txBody>
            </p:sp>
            <p:sp>
              <p:nvSpPr>
                <p:cNvPr id="45" name="Freeform 10">
                  <a:extLst>
                    <a:ext uri="{FF2B5EF4-FFF2-40B4-BE49-F238E27FC236}">
                      <a16:creationId xmlns:a16="http://schemas.microsoft.com/office/drawing/2014/main" id="{6EF2C134-81E0-4815-B7E4-C0E330946CA3}"/>
                    </a:ext>
                  </a:extLst>
                </p:cNvPr>
                <p:cNvSpPr>
                  <a:spLocks noChangeArrowheads="1"/>
                </p:cNvSpPr>
                <p:nvPr/>
              </p:nvSpPr>
              <p:spPr bwMode="auto">
                <a:xfrm>
                  <a:off x="1536491" y="1993277"/>
                  <a:ext cx="100246" cy="163364"/>
                </a:xfrm>
                <a:custGeom>
                  <a:avLst/>
                  <a:gdLst>
                    <a:gd name="T0" fmla="*/ 44 w 238"/>
                    <a:gd name="T1" fmla="*/ 0 h 387"/>
                    <a:gd name="T2" fmla="*/ 0 w 238"/>
                    <a:gd name="T3" fmla="*/ 44 h 387"/>
                    <a:gd name="T4" fmla="*/ 150 w 238"/>
                    <a:gd name="T5" fmla="*/ 193 h 387"/>
                    <a:gd name="T6" fmla="*/ 0 w 238"/>
                    <a:gd name="T7" fmla="*/ 343 h 387"/>
                    <a:gd name="T8" fmla="*/ 44 w 238"/>
                    <a:gd name="T9" fmla="*/ 386 h 387"/>
                    <a:gd name="T10" fmla="*/ 237 w 238"/>
                    <a:gd name="T11" fmla="*/ 193 h 387"/>
                    <a:gd name="T12" fmla="*/ 44 w 238"/>
                    <a:gd name="T13" fmla="*/ 0 h 387"/>
                  </a:gdLst>
                  <a:ahLst/>
                  <a:cxnLst>
                    <a:cxn ang="0">
                      <a:pos x="T0" y="T1"/>
                    </a:cxn>
                    <a:cxn ang="0">
                      <a:pos x="T2" y="T3"/>
                    </a:cxn>
                    <a:cxn ang="0">
                      <a:pos x="T4" y="T5"/>
                    </a:cxn>
                    <a:cxn ang="0">
                      <a:pos x="T6" y="T7"/>
                    </a:cxn>
                    <a:cxn ang="0">
                      <a:pos x="T8" y="T9"/>
                    </a:cxn>
                    <a:cxn ang="0">
                      <a:pos x="T10" y="T11"/>
                    </a:cxn>
                    <a:cxn ang="0">
                      <a:pos x="T12" y="T13"/>
                    </a:cxn>
                  </a:cxnLst>
                  <a:rect l="0" t="0" r="r" b="b"/>
                  <a:pathLst>
                    <a:path w="238" h="387">
                      <a:moveTo>
                        <a:pt x="44" y="0"/>
                      </a:moveTo>
                      <a:lnTo>
                        <a:pt x="0" y="44"/>
                      </a:lnTo>
                      <a:lnTo>
                        <a:pt x="150" y="193"/>
                      </a:lnTo>
                      <a:lnTo>
                        <a:pt x="0" y="343"/>
                      </a:lnTo>
                      <a:lnTo>
                        <a:pt x="44" y="386"/>
                      </a:lnTo>
                      <a:lnTo>
                        <a:pt x="237" y="193"/>
                      </a:lnTo>
                      <a:lnTo>
                        <a:pt x="44" y="0"/>
                      </a:lnTo>
                    </a:path>
                  </a:pathLst>
                </a:custGeom>
                <a:grpFill/>
                <a:ln>
                  <a:noFill/>
                </a:ln>
                <a:effectLst/>
              </p:spPr>
              <p:txBody>
                <a:bodyPr wrap="none" anchor="ctr"/>
                <a:lstStyle/>
                <a:p>
                  <a:endParaRPr lang="en-US" dirty="0">
                    <a:solidFill>
                      <a:schemeClr val="tx1">
                        <a:lumMod val="60000"/>
                        <a:lumOff val="40000"/>
                      </a:schemeClr>
                    </a:solidFill>
                  </a:endParaRPr>
                </a:p>
              </p:txBody>
            </p:sp>
          </p:grpSp>
          <p:sp>
            <p:nvSpPr>
              <p:cNvPr id="43" name="Freeform 21">
                <a:extLst>
                  <a:ext uri="{FF2B5EF4-FFF2-40B4-BE49-F238E27FC236}">
                    <a16:creationId xmlns:a16="http://schemas.microsoft.com/office/drawing/2014/main" id="{5D7EC100-5CF5-46C1-BCFC-1F76AD462084}"/>
                  </a:ext>
                </a:extLst>
              </p:cNvPr>
              <p:cNvSpPr>
                <a:spLocks noChangeArrowheads="1"/>
              </p:cNvSpPr>
              <p:nvPr/>
            </p:nvSpPr>
            <p:spPr bwMode="auto">
              <a:xfrm>
                <a:off x="983904" y="1821877"/>
                <a:ext cx="150070" cy="199005"/>
              </a:xfrm>
              <a:custGeom>
                <a:avLst/>
                <a:gdLst>
                  <a:gd name="T0" fmla="*/ 356 w 406"/>
                  <a:gd name="T1" fmla="*/ 181 h 538"/>
                  <a:gd name="T2" fmla="*/ 332 w 406"/>
                  <a:gd name="T3" fmla="*/ 181 h 538"/>
                  <a:gd name="T4" fmla="*/ 332 w 406"/>
                  <a:gd name="T5" fmla="*/ 127 h 538"/>
                  <a:gd name="T6" fmla="*/ 200 w 406"/>
                  <a:gd name="T7" fmla="*/ 0 h 538"/>
                  <a:gd name="T8" fmla="*/ 73 w 406"/>
                  <a:gd name="T9" fmla="*/ 127 h 538"/>
                  <a:gd name="T10" fmla="*/ 73 w 406"/>
                  <a:gd name="T11" fmla="*/ 181 h 538"/>
                  <a:gd name="T12" fmla="*/ 49 w 406"/>
                  <a:gd name="T13" fmla="*/ 181 h 538"/>
                  <a:gd name="T14" fmla="*/ 0 w 406"/>
                  <a:gd name="T15" fmla="*/ 229 h 538"/>
                  <a:gd name="T16" fmla="*/ 0 w 406"/>
                  <a:gd name="T17" fmla="*/ 483 h 538"/>
                  <a:gd name="T18" fmla="*/ 49 w 406"/>
                  <a:gd name="T19" fmla="*/ 537 h 538"/>
                  <a:gd name="T20" fmla="*/ 356 w 406"/>
                  <a:gd name="T21" fmla="*/ 537 h 538"/>
                  <a:gd name="T22" fmla="*/ 405 w 406"/>
                  <a:gd name="T23" fmla="*/ 483 h 538"/>
                  <a:gd name="T24" fmla="*/ 405 w 406"/>
                  <a:gd name="T25" fmla="*/ 229 h 538"/>
                  <a:gd name="T26" fmla="*/ 356 w 406"/>
                  <a:gd name="T27" fmla="*/ 181 h 538"/>
                  <a:gd name="T28" fmla="*/ 200 w 406"/>
                  <a:gd name="T29" fmla="*/ 49 h 538"/>
                  <a:gd name="T30" fmla="*/ 283 w 406"/>
                  <a:gd name="T31" fmla="*/ 127 h 538"/>
                  <a:gd name="T32" fmla="*/ 283 w 406"/>
                  <a:gd name="T33" fmla="*/ 181 h 538"/>
                  <a:gd name="T34" fmla="*/ 127 w 406"/>
                  <a:gd name="T35" fmla="*/ 181 h 538"/>
                  <a:gd name="T36" fmla="*/ 127 w 406"/>
                  <a:gd name="T37" fmla="*/ 127 h 538"/>
                  <a:gd name="T38" fmla="*/ 122 w 406"/>
                  <a:gd name="T39" fmla="*/ 127 h 538"/>
                  <a:gd name="T40" fmla="*/ 200 w 406"/>
                  <a:gd name="T41" fmla="*/ 49 h 538"/>
                  <a:gd name="T42" fmla="*/ 356 w 406"/>
                  <a:gd name="T43" fmla="*/ 483 h 538"/>
                  <a:gd name="T44" fmla="*/ 49 w 406"/>
                  <a:gd name="T45" fmla="*/ 483 h 538"/>
                  <a:gd name="T46" fmla="*/ 49 w 406"/>
                  <a:gd name="T47" fmla="*/ 229 h 538"/>
                  <a:gd name="T48" fmla="*/ 356 w 406"/>
                  <a:gd name="T49" fmla="*/ 229 h 538"/>
                  <a:gd name="T50" fmla="*/ 356 w 406"/>
                  <a:gd name="T51" fmla="*/ 483 h 538"/>
                  <a:gd name="T52" fmla="*/ 200 w 406"/>
                  <a:gd name="T53" fmla="*/ 410 h 538"/>
                  <a:gd name="T54" fmla="*/ 254 w 406"/>
                  <a:gd name="T55" fmla="*/ 356 h 538"/>
                  <a:gd name="T56" fmla="*/ 200 w 406"/>
                  <a:gd name="T57" fmla="*/ 308 h 538"/>
                  <a:gd name="T58" fmla="*/ 151 w 406"/>
                  <a:gd name="T59" fmla="*/ 356 h 538"/>
                  <a:gd name="T60" fmla="*/ 200 w 406"/>
                  <a:gd name="T61" fmla="*/ 41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6" h="538">
                    <a:moveTo>
                      <a:pt x="356" y="181"/>
                    </a:moveTo>
                    <a:lnTo>
                      <a:pt x="332" y="181"/>
                    </a:lnTo>
                    <a:lnTo>
                      <a:pt x="332" y="127"/>
                    </a:lnTo>
                    <a:cubicBezTo>
                      <a:pt x="332" y="59"/>
                      <a:pt x="271" y="0"/>
                      <a:pt x="200" y="0"/>
                    </a:cubicBezTo>
                    <a:cubicBezTo>
                      <a:pt x="129" y="0"/>
                      <a:pt x="73" y="59"/>
                      <a:pt x="73" y="127"/>
                    </a:cubicBezTo>
                    <a:lnTo>
                      <a:pt x="73" y="181"/>
                    </a:lnTo>
                    <a:lnTo>
                      <a:pt x="49" y="181"/>
                    </a:lnTo>
                    <a:cubicBezTo>
                      <a:pt x="19" y="181"/>
                      <a:pt x="0" y="200"/>
                      <a:pt x="0" y="229"/>
                    </a:cubicBezTo>
                    <a:lnTo>
                      <a:pt x="0" y="483"/>
                    </a:lnTo>
                    <a:cubicBezTo>
                      <a:pt x="0" y="513"/>
                      <a:pt x="19" y="537"/>
                      <a:pt x="49" y="537"/>
                    </a:cubicBezTo>
                    <a:lnTo>
                      <a:pt x="356" y="537"/>
                    </a:lnTo>
                    <a:cubicBezTo>
                      <a:pt x="386" y="537"/>
                      <a:pt x="405" y="513"/>
                      <a:pt x="405" y="483"/>
                    </a:cubicBezTo>
                    <a:lnTo>
                      <a:pt x="405" y="229"/>
                    </a:lnTo>
                    <a:cubicBezTo>
                      <a:pt x="405" y="200"/>
                      <a:pt x="386" y="181"/>
                      <a:pt x="356" y="181"/>
                    </a:cubicBezTo>
                    <a:close/>
                    <a:moveTo>
                      <a:pt x="200" y="49"/>
                    </a:moveTo>
                    <a:cubicBezTo>
                      <a:pt x="244" y="49"/>
                      <a:pt x="283" y="83"/>
                      <a:pt x="283" y="127"/>
                    </a:cubicBezTo>
                    <a:lnTo>
                      <a:pt x="283" y="181"/>
                    </a:lnTo>
                    <a:lnTo>
                      <a:pt x="127" y="181"/>
                    </a:lnTo>
                    <a:lnTo>
                      <a:pt x="127" y="127"/>
                    </a:lnTo>
                    <a:lnTo>
                      <a:pt x="122" y="127"/>
                    </a:lnTo>
                    <a:cubicBezTo>
                      <a:pt x="122" y="83"/>
                      <a:pt x="156" y="49"/>
                      <a:pt x="200" y="49"/>
                    </a:cubicBezTo>
                    <a:close/>
                    <a:moveTo>
                      <a:pt x="356" y="483"/>
                    </a:moveTo>
                    <a:lnTo>
                      <a:pt x="49" y="483"/>
                    </a:lnTo>
                    <a:lnTo>
                      <a:pt x="49" y="229"/>
                    </a:lnTo>
                    <a:lnTo>
                      <a:pt x="356" y="229"/>
                    </a:lnTo>
                    <a:lnTo>
                      <a:pt x="356" y="483"/>
                    </a:lnTo>
                    <a:close/>
                    <a:moveTo>
                      <a:pt x="200" y="410"/>
                    </a:moveTo>
                    <a:cubicBezTo>
                      <a:pt x="229" y="410"/>
                      <a:pt x="254" y="383"/>
                      <a:pt x="254" y="356"/>
                    </a:cubicBezTo>
                    <a:cubicBezTo>
                      <a:pt x="254" y="330"/>
                      <a:pt x="227" y="308"/>
                      <a:pt x="200" y="308"/>
                    </a:cubicBezTo>
                    <a:cubicBezTo>
                      <a:pt x="173" y="308"/>
                      <a:pt x="151" y="330"/>
                      <a:pt x="151" y="356"/>
                    </a:cubicBezTo>
                    <a:cubicBezTo>
                      <a:pt x="151" y="383"/>
                      <a:pt x="176" y="410"/>
                      <a:pt x="200" y="410"/>
                    </a:cubicBezTo>
                    <a:close/>
                  </a:path>
                </a:pathLst>
              </a:custGeom>
              <a:solidFill>
                <a:srgbClr val="FFFF00"/>
              </a:solidFill>
              <a:ln>
                <a:noFill/>
              </a:ln>
              <a:effectLst/>
            </p:spPr>
            <p:txBody>
              <a:bodyPr wrap="none" anchor="ctr"/>
              <a:lstStyle/>
              <a:p>
                <a:endParaRPr lang="en-US" dirty="0"/>
              </a:p>
            </p:txBody>
          </p:sp>
        </p:grpSp>
      </p:grpSp>
      <p:sp>
        <p:nvSpPr>
          <p:cNvPr id="47" name="Freeform 22">
            <a:extLst>
              <a:ext uri="{FF2B5EF4-FFF2-40B4-BE49-F238E27FC236}">
                <a16:creationId xmlns:a16="http://schemas.microsoft.com/office/drawing/2014/main" id="{B774911E-54AC-4B6E-91DC-91C1B0AFF699}"/>
              </a:ext>
            </a:extLst>
          </p:cNvPr>
          <p:cNvSpPr>
            <a:spLocks noChangeArrowheads="1"/>
          </p:cNvSpPr>
          <p:nvPr/>
        </p:nvSpPr>
        <p:spPr bwMode="auto">
          <a:xfrm>
            <a:off x="4337265" y="987574"/>
            <a:ext cx="1048786" cy="908941"/>
          </a:xfrm>
          <a:custGeom>
            <a:avLst/>
            <a:gdLst>
              <a:gd name="T0" fmla="*/ 0 w 597"/>
              <a:gd name="T1" fmla="*/ 513 h 514"/>
              <a:gd name="T2" fmla="*/ 596 w 597"/>
              <a:gd name="T3" fmla="*/ 513 h 514"/>
              <a:gd name="T4" fmla="*/ 296 w 597"/>
              <a:gd name="T5" fmla="*/ 0 h 514"/>
              <a:gd name="T6" fmla="*/ 0 w 597"/>
              <a:gd name="T7" fmla="*/ 513 h 514"/>
              <a:gd name="T8" fmla="*/ 327 w 597"/>
              <a:gd name="T9" fmla="*/ 436 h 514"/>
              <a:gd name="T10" fmla="*/ 270 w 597"/>
              <a:gd name="T11" fmla="*/ 436 h 514"/>
              <a:gd name="T12" fmla="*/ 270 w 597"/>
              <a:gd name="T13" fmla="*/ 379 h 514"/>
              <a:gd name="T14" fmla="*/ 327 w 597"/>
              <a:gd name="T15" fmla="*/ 379 h 514"/>
              <a:gd name="T16" fmla="*/ 327 w 597"/>
              <a:gd name="T17" fmla="*/ 436 h 514"/>
              <a:gd name="T18" fmla="*/ 327 w 597"/>
              <a:gd name="T19" fmla="*/ 327 h 514"/>
              <a:gd name="T20" fmla="*/ 270 w 597"/>
              <a:gd name="T21" fmla="*/ 327 h 514"/>
              <a:gd name="T22" fmla="*/ 270 w 597"/>
              <a:gd name="T23" fmla="*/ 218 h 514"/>
              <a:gd name="T24" fmla="*/ 327 w 597"/>
              <a:gd name="T25" fmla="*/ 218 h 514"/>
              <a:gd name="T26" fmla="*/ 327 w 597"/>
              <a:gd name="T27" fmla="*/ 327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514">
                <a:moveTo>
                  <a:pt x="0" y="513"/>
                </a:moveTo>
                <a:lnTo>
                  <a:pt x="596" y="513"/>
                </a:lnTo>
                <a:lnTo>
                  <a:pt x="296" y="0"/>
                </a:lnTo>
                <a:lnTo>
                  <a:pt x="0" y="513"/>
                </a:lnTo>
                <a:close/>
                <a:moveTo>
                  <a:pt x="327" y="436"/>
                </a:moveTo>
                <a:lnTo>
                  <a:pt x="270" y="436"/>
                </a:lnTo>
                <a:lnTo>
                  <a:pt x="270" y="379"/>
                </a:lnTo>
                <a:lnTo>
                  <a:pt x="327" y="379"/>
                </a:lnTo>
                <a:lnTo>
                  <a:pt x="327" y="436"/>
                </a:lnTo>
                <a:close/>
                <a:moveTo>
                  <a:pt x="327" y="327"/>
                </a:moveTo>
                <a:lnTo>
                  <a:pt x="270" y="327"/>
                </a:lnTo>
                <a:lnTo>
                  <a:pt x="270" y="218"/>
                </a:lnTo>
                <a:lnTo>
                  <a:pt x="327" y="218"/>
                </a:lnTo>
                <a:lnTo>
                  <a:pt x="327" y="327"/>
                </a:lnTo>
                <a:close/>
              </a:path>
            </a:pathLst>
          </a:custGeom>
          <a:solidFill>
            <a:srgbClr val="FF0000"/>
          </a:solidFill>
          <a:ln>
            <a:noFill/>
          </a:ln>
          <a:effectLst/>
        </p:spPr>
        <p:txBody>
          <a:bodyPr wrap="none" anchor="ctr"/>
          <a:lstStyle/>
          <a:p>
            <a:endParaRPr lang="en-US" dirty="0"/>
          </a:p>
        </p:txBody>
      </p:sp>
      <p:sp>
        <p:nvSpPr>
          <p:cNvPr id="52" name="Freeform 18">
            <a:extLst>
              <a:ext uri="{FF2B5EF4-FFF2-40B4-BE49-F238E27FC236}">
                <a16:creationId xmlns:a16="http://schemas.microsoft.com/office/drawing/2014/main" id="{6E5E7BB6-06BB-41F0-81D5-F9CBF058A38E}"/>
              </a:ext>
            </a:extLst>
          </p:cNvPr>
          <p:cNvSpPr>
            <a:spLocks noChangeArrowheads="1"/>
          </p:cNvSpPr>
          <p:nvPr/>
        </p:nvSpPr>
        <p:spPr bwMode="auto">
          <a:xfrm>
            <a:off x="827584" y="3147814"/>
            <a:ext cx="2046477" cy="1368152"/>
          </a:xfrm>
          <a:custGeom>
            <a:avLst/>
            <a:gdLst>
              <a:gd name="T0" fmla="*/ 629 w 785"/>
              <a:gd name="T1" fmla="*/ 199 h 524"/>
              <a:gd name="T2" fmla="*/ 392 w 785"/>
              <a:gd name="T3" fmla="*/ 0 h 524"/>
              <a:gd name="T4" fmla="*/ 174 w 785"/>
              <a:gd name="T5" fmla="*/ 130 h 524"/>
              <a:gd name="T6" fmla="*/ 0 w 785"/>
              <a:gd name="T7" fmla="*/ 330 h 524"/>
              <a:gd name="T8" fmla="*/ 193 w 785"/>
              <a:gd name="T9" fmla="*/ 523 h 524"/>
              <a:gd name="T10" fmla="*/ 616 w 785"/>
              <a:gd name="T11" fmla="*/ 523 h 524"/>
              <a:gd name="T12" fmla="*/ 784 w 785"/>
              <a:gd name="T13" fmla="*/ 361 h 524"/>
              <a:gd name="T14" fmla="*/ 629 w 785"/>
              <a:gd name="T15" fmla="*/ 199 h 524"/>
              <a:gd name="T16" fmla="*/ 616 w 785"/>
              <a:gd name="T17" fmla="*/ 454 h 524"/>
              <a:gd name="T18" fmla="*/ 193 w 785"/>
              <a:gd name="T19" fmla="*/ 454 h 524"/>
              <a:gd name="T20" fmla="*/ 62 w 785"/>
              <a:gd name="T21" fmla="*/ 330 h 524"/>
              <a:gd name="T22" fmla="*/ 193 w 785"/>
              <a:gd name="T23" fmla="*/ 199 h 524"/>
              <a:gd name="T24" fmla="*/ 218 w 785"/>
              <a:gd name="T25" fmla="*/ 199 h 524"/>
              <a:gd name="T26" fmla="*/ 392 w 785"/>
              <a:gd name="T27" fmla="*/ 68 h 524"/>
              <a:gd name="T28" fmla="*/ 573 w 785"/>
              <a:gd name="T29" fmla="*/ 243 h 524"/>
              <a:gd name="T30" fmla="*/ 573 w 785"/>
              <a:gd name="T31" fmla="*/ 261 h 524"/>
              <a:gd name="T32" fmla="*/ 616 w 785"/>
              <a:gd name="T33" fmla="*/ 261 h 524"/>
              <a:gd name="T34" fmla="*/ 716 w 785"/>
              <a:gd name="T35" fmla="*/ 361 h 524"/>
              <a:gd name="T36" fmla="*/ 616 w 785"/>
              <a:gd name="T37" fmla="*/ 45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5" h="524">
                <a:moveTo>
                  <a:pt x="629" y="199"/>
                </a:moveTo>
                <a:cubicBezTo>
                  <a:pt x="610" y="87"/>
                  <a:pt x="510" y="0"/>
                  <a:pt x="392" y="0"/>
                </a:cubicBezTo>
                <a:cubicBezTo>
                  <a:pt x="299" y="0"/>
                  <a:pt x="218" y="56"/>
                  <a:pt x="174" y="130"/>
                </a:cubicBezTo>
                <a:cubicBezTo>
                  <a:pt x="75" y="143"/>
                  <a:pt x="0" y="224"/>
                  <a:pt x="0" y="330"/>
                </a:cubicBezTo>
                <a:cubicBezTo>
                  <a:pt x="0" y="436"/>
                  <a:pt x="87" y="523"/>
                  <a:pt x="193" y="523"/>
                </a:cubicBezTo>
                <a:lnTo>
                  <a:pt x="616" y="523"/>
                </a:lnTo>
                <a:cubicBezTo>
                  <a:pt x="710" y="523"/>
                  <a:pt x="784" y="448"/>
                  <a:pt x="784" y="361"/>
                </a:cubicBezTo>
                <a:cubicBezTo>
                  <a:pt x="784" y="274"/>
                  <a:pt x="716" y="205"/>
                  <a:pt x="629" y="199"/>
                </a:cubicBezTo>
                <a:close/>
                <a:moveTo>
                  <a:pt x="616" y="454"/>
                </a:moveTo>
                <a:lnTo>
                  <a:pt x="193" y="454"/>
                </a:lnTo>
                <a:cubicBezTo>
                  <a:pt x="124" y="454"/>
                  <a:pt x="62" y="401"/>
                  <a:pt x="62" y="330"/>
                </a:cubicBezTo>
                <a:cubicBezTo>
                  <a:pt x="62" y="258"/>
                  <a:pt x="124" y="199"/>
                  <a:pt x="193" y="199"/>
                </a:cubicBezTo>
                <a:lnTo>
                  <a:pt x="218" y="199"/>
                </a:lnTo>
                <a:cubicBezTo>
                  <a:pt x="243" y="124"/>
                  <a:pt x="311" y="68"/>
                  <a:pt x="392" y="68"/>
                </a:cubicBezTo>
                <a:cubicBezTo>
                  <a:pt x="485" y="68"/>
                  <a:pt x="573" y="149"/>
                  <a:pt x="573" y="243"/>
                </a:cubicBezTo>
                <a:lnTo>
                  <a:pt x="573" y="261"/>
                </a:lnTo>
                <a:lnTo>
                  <a:pt x="616" y="261"/>
                </a:lnTo>
                <a:cubicBezTo>
                  <a:pt x="672" y="261"/>
                  <a:pt x="716" y="305"/>
                  <a:pt x="716" y="361"/>
                </a:cubicBezTo>
                <a:cubicBezTo>
                  <a:pt x="716" y="417"/>
                  <a:pt x="672" y="454"/>
                  <a:pt x="616" y="454"/>
                </a:cubicBezTo>
                <a:close/>
              </a:path>
            </a:pathLst>
          </a:custGeom>
          <a:solidFill>
            <a:schemeClr val="tx1">
              <a:lumMod val="75000"/>
            </a:schemeClr>
          </a:solidFill>
          <a:ln>
            <a:noFill/>
          </a:ln>
          <a:effectLst/>
        </p:spPr>
        <p:txBody>
          <a:bodyPr wrap="none" anchor="ctr"/>
          <a:lstStyle/>
          <a:p>
            <a:endParaRPr lang="en-US" dirty="0"/>
          </a:p>
        </p:txBody>
      </p:sp>
      <p:grpSp>
        <p:nvGrpSpPr>
          <p:cNvPr id="51" name="Group 50">
            <a:extLst>
              <a:ext uri="{FF2B5EF4-FFF2-40B4-BE49-F238E27FC236}">
                <a16:creationId xmlns:a16="http://schemas.microsoft.com/office/drawing/2014/main" id="{A31BD698-9395-4921-B380-D67736225A91}"/>
              </a:ext>
            </a:extLst>
          </p:cNvPr>
          <p:cNvGrpSpPr/>
          <p:nvPr/>
        </p:nvGrpSpPr>
        <p:grpSpPr>
          <a:xfrm>
            <a:off x="1470368" y="3723878"/>
            <a:ext cx="738027" cy="527163"/>
            <a:chOff x="2803552" y="3556755"/>
            <a:chExt cx="738027" cy="527163"/>
          </a:xfrm>
        </p:grpSpPr>
        <p:sp>
          <p:nvSpPr>
            <p:cNvPr id="53" name="Freeform 38">
              <a:extLst>
                <a:ext uri="{FF2B5EF4-FFF2-40B4-BE49-F238E27FC236}">
                  <a16:creationId xmlns:a16="http://schemas.microsoft.com/office/drawing/2014/main" id="{08629448-4557-42F8-8D4D-6AC26E0F665A}"/>
                </a:ext>
              </a:extLst>
            </p:cNvPr>
            <p:cNvSpPr>
              <a:spLocks noChangeArrowheads="1"/>
            </p:cNvSpPr>
            <p:nvPr/>
          </p:nvSpPr>
          <p:spPr bwMode="auto">
            <a:xfrm>
              <a:off x="2803552" y="3556755"/>
              <a:ext cx="738027" cy="527163"/>
            </a:xfrm>
            <a:custGeom>
              <a:avLst/>
              <a:gdLst>
                <a:gd name="T0" fmla="*/ 0 w 496"/>
                <a:gd name="T1" fmla="*/ 353 h 354"/>
                <a:gd name="T2" fmla="*/ 495 w 496"/>
                <a:gd name="T3" fmla="*/ 353 h 354"/>
                <a:gd name="T4" fmla="*/ 495 w 496"/>
                <a:gd name="T5" fmla="*/ 253 h 354"/>
                <a:gd name="T6" fmla="*/ 0 w 496"/>
                <a:gd name="T7" fmla="*/ 253 h 354"/>
                <a:gd name="T8" fmla="*/ 0 w 496"/>
                <a:gd name="T9" fmla="*/ 353 h 354"/>
                <a:gd name="T10" fmla="*/ 48 w 496"/>
                <a:gd name="T11" fmla="*/ 277 h 354"/>
                <a:gd name="T12" fmla="*/ 100 w 496"/>
                <a:gd name="T13" fmla="*/ 277 h 354"/>
                <a:gd name="T14" fmla="*/ 100 w 496"/>
                <a:gd name="T15" fmla="*/ 324 h 354"/>
                <a:gd name="T16" fmla="*/ 48 w 496"/>
                <a:gd name="T17" fmla="*/ 324 h 354"/>
                <a:gd name="T18" fmla="*/ 48 w 496"/>
                <a:gd name="T19" fmla="*/ 277 h 354"/>
                <a:gd name="T20" fmla="*/ 0 w 496"/>
                <a:gd name="T21" fmla="*/ 0 h 354"/>
                <a:gd name="T22" fmla="*/ 0 w 496"/>
                <a:gd name="T23" fmla="*/ 100 h 354"/>
                <a:gd name="T24" fmla="*/ 495 w 496"/>
                <a:gd name="T25" fmla="*/ 100 h 354"/>
                <a:gd name="T26" fmla="*/ 495 w 496"/>
                <a:gd name="T27" fmla="*/ 0 h 354"/>
                <a:gd name="T28" fmla="*/ 0 w 496"/>
                <a:gd name="T29" fmla="*/ 0 h 354"/>
                <a:gd name="T30" fmla="*/ 100 w 496"/>
                <a:gd name="T31" fmla="*/ 77 h 354"/>
                <a:gd name="T32" fmla="*/ 48 w 496"/>
                <a:gd name="T33" fmla="*/ 77 h 354"/>
                <a:gd name="T34" fmla="*/ 48 w 496"/>
                <a:gd name="T35" fmla="*/ 29 h 354"/>
                <a:gd name="T36" fmla="*/ 100 w 496"/>
                <a:gd name="T37" fmla="*/ 29 h 354"/>
                <a:gd name="T38" fmla="*/ 100 w 496"/>
                <a:gd name="T39" fmla="*/ 77 h 354"/>
                <a:gd name="T40" fmla="*/ 0 w 496"/>
                <a:gd name="T41" fmla="*/ 224 h 354"/>
                <a:gd name="T42" fmla="*/ 495 w 496"/>
                <a:gd name="T43" fmla="*/ 224 h 354"/>
                <a:gd name="T44" fmla="*/ 495 w 496"/>
                <a:gd name="T45" fmla="*/ 124 h 354"/>
                <a:gd name="T46" fmla="*/ 0 w 496"/>
                <a:gd name="T47" fmla="*/ 124 h 354"/>
                <a:gd name="T48" fmla="*/ 0 w 496"/>
                <a:gd name="T49" fmla="*/ 224 h 354"/>
                <a:gd name="T50" fmla="*/ 48 w 496"/>
                <a:gd name="T51" fmla="*/ 153 h 354"/>
                <a:gd name="T52" fmla="*/ 100 w 496"/>
                <a:gd name="T53" fmla="*/ 153 h 354"/>
                <a:gd name="T54" fmla="*/ 100 w 496"/>
                <a:gd name="T55" fmla="*/ 200 h 354"/>
                <a:gd name="T56" fmla="*/ 48 w 496"/>
                <a:gd name="T57" fmla="*/ 200 h 354"/>
                <a:gd name="T58" fmla="*/ 48 w 496"/>
                <a:gd name="T59" fmla="*/ 153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6" h="354">
                  <a:moveTo>
                    <a:pt x="0" y="353"/>
                  </a:moveTo>
                  <a:lnTo>
                    <a:pt x="495" y="353"/>
                  </a:lnTo>
                  <a:lnTo>
                    <a:pt x="495" y="253"/>
                  </a:lnTo>
                  <a:lnTo>
                    <a:pt x="0" y="253"/>
                  </a:lnTo>
                  <a:lnTo>
                    <a:pt x="0" y="353"/>
                  </a:lnTo>
                  <a:close/>
                  <a:moveTo>
                    <a:pt x="48" y="277"/>
                  </a:moveTo>
                  <a:lnTo>
                    <a:pt x="100" y="277"/>
                  </a:lnTo>
                  <a:lnTo>
                    <a:pt x="100" y="324"/>
                  </a:lnTo>
                  <a:lnTo>
                    <a:pt x="48" y="324"/>
                  </a:lnTo>
                  <a:lnTo>
                    <a:pt x="48" y="277"/>
                  </a:lnTo>
                  <a:close/>
                  <a:moveTo>
                    <a:pt x="0" y="0"/>
                  </a:moveTo>
                  <a:lnTo>
                    <a:pt x="0" y="100"/>
                  </a:lnTo>
                  <a:lnTo>
                    <a:pt x="495" y="100"/>
                  </a:lnTo>
                  <a:lnTo>
                    <a:pt x="495" y="0"/>
                  </a:lnTo>
                  <a:lnTo>
                    <a:pt x="0" y="0"/>
                  </a:lnTo>
                  <a:close/>
                  <a:moveTo>
                    <a:pt x="100" y="77"/>
                  </a:moveTo>
                  <a:lnTo>
                    <a:pt x="48" y="77"/>
                  </a:lnTo>
                  <a:lnTo>
                    <a:pt x="48" y="29"/>
                  </a:lnTo>
                  <a:lnTo>
                    <a:pt x="100" y="29"/>
                  </a:lnTo>
                  <a:lnTo>
                    <a:pt x="100" y="77"/>
                  </a:lnTo>
                  <a:close/>
                  <a:moveTo>
                    <a:pt x="0" y="224"/>
                  </a:moveTo>
                  <a:lnTo>
                    <a:pt x="495" y="224"/>
                  </a:lnTo>
                  <a:lnTo>
                    <a:pt x="495" y="124"/>
                  </a:lnTo>
                  <a:lnTo>
                    <a:pt x="0" y="124"/>
                  </a:lnTo>
                  <a:lnTo>
                    <a:pt x="0" y="224"/>
                  </a:lnTo>
                  <a:close/>
                  <a:moveTo>
                    <a:pt x="48" y="153"/>
                  </a:moveTo>
                  <a:lnTo>
                    <a:pt x="100" y="153"/>
                  </a:lnTo>
                  <a:lnTo>
                    <a:pt x="100" y="200"/>
                  </a:lnTo>
                  <a:lnTo>
                    <a:pt x="48" y="200"/>
                  </a:lnTo>
                  <a:lnTo>
                    <a:pt x="48" y="153"/>
                  </a:lnTo>
                  <a:close/>
                </a:path>
              </a:pathLst>
            </a:custGeom>
            <a:solidFill>
              <a:schemeClr val="tx1">
                <a:lumMod val="60000"/>
                <a:lumOff val="40000"/>
              </a:schemeClr>
            </a:solidFill>
            <a:ln>
              <a:noFill/>
            </a:ln>
            <a:effectLst/>
          </p:spPr>
          <p:txBody>
            <a:bodyPr wrap="none" anchor="ctr"/>
            <a:lstStyle/>
            <a:p>
              <a:endParaRPr lang="en-US" dirty="0"/>
            </a:p>
          </p:txBody>
        </p:sp>
        <p:sp>
          <p:nvSpPr>
            <p:cNvPr id="54" name="Freeform 21">
              <a:extLst>
                <a:ext uri="{FF2B5EF4-FFF2-40B4-BE49-F238E27FC236}">
                  <a16:creationId xmlns:a16="http://schemas.microsoft.com/office/drawing/2014/main" id="{7DCF78EF-E31C-46F5-822B-06BF3F99CCBA}"/>
                </a:ext>
              </a:extLst>
            </p:cNvPr>
            <p:cNvSpPr>
              <a:spLocks noChangeArrowheads="1"/>
            </p:cNvSpPr>
            <p:nvPr/>
          </p:nvSpPr>
          <p:spPr bwMode="auto">
            <a:xfrm>
              <a:off x="3047021" y="3603497"/>
              <a:ext cx="327037" cy="433678"/>
            </a:xfrm>
            <a:custGeom>
              <a:avLst/>
              <a:gdLst>
                <a:gd name="T0" fmla="*/ 356 w 406"/>
                <a:gd name="T1" fmla="*/ 181 h 538"/>
                <a:gd name="T2" fmla="*/ 332 w 406"/>
                <a:gd name="T3" fmla="*/ 181 h 538"/>
                <a:gd name="T4" fmla="*/ 332 w 406"/>
                <a:gd name="T5" fmla="*/ 127 h 538"/>
                <a:gd name="T6" fmla="*/ 200 w 406"/>
                <a:gd name="T7" fmla="*/ 0 h 538"/>
                <a:gd name="T8" fmla="*/ 73 w 406"/>
                <a:gd name="T9" fmla="*/ 127 h 538"/>
                <a:gd name="T10" fmla="*/ 73 w 406"/>
                <a:gd name="T11" fmla="*/ 181 h 538"/>
                <a:gd name="T12" fmla="*/ 49 w 406"/>
                <a:gd name="T13" fmla="*/ 181 h 538"/>
                <a:gd name="T14" fmla="*/ 0 w 406"/>
                <a:gd name="T15" fmla="*/ 229 h 538"/>
                <a:gd name="T16" fmla="*/ 0 w 406"/>
                <a:gd name="T17" fmla="*/ 483 h 538"/>
                <a:gd name="T18" fmla="*/ 49 w 406"/>
                <a:gd name="T19" fmla="*/ 537 h 538"/>
                <a:gd name="T20" fmla="*/ 356 w 406"/>
                <a:gd name="T21" fmla="*/ 537 h 538"/>
                <a:gd name="T22" fmla="*/ 405 w 406"/>
                <a:gd name="T23" fmla="*/ 483 h 538"/>
                <a:gd name="T24" fmla="*/ 405 w 406"/>
                <a:gd name="T25" fmla="*/ 229 h 538"/>
                <a:gd name="T26" fmla="*/ 356 w 406"/>
                <a:gd name="T27" fmla="*/ 181 h 538"/>
                <a:gd name="T28" fmla="*/ 200 w 406"/>
                <a:gd name="T29" fmla="*/ 49 h 538"/>
                <a:gd name="T30" fmla="*/ 283 w 406"/>
                <a:gd name="T31" fmla="*/ 127 h 538"/>
                <a:gd name="T32" fmla="*/ 283 w 406"/>
                <a:gd name="T33" fmla="*/ 181 h 538"/>
                <a:gd name="T34" fmla="*/ 127 w 406"/>
                <a:gd name="T35" fmla="*/ 181 h 538"/>
                <a:gd name="T36" fmla="*/ 127 w 406"/>
                <a:gd name="T37" fmla="*/ 127 h 538"/>
                <a:gd name="T38" fmla="*/ 122 w 406"/>
                <a:gd name="T39" fmla="*/ 127 h 538"/>
                <a:gd name="T40" fmla="*/ 200 w 406"/>
                <a:gd name="T41" fmla="*/ 49 h 538"/>
                <a:gd name="T42" fmla="*/ 356 w 406"/>
                <a:gd name="T43" fmla="*/ 483 h 538"/>
                <a:gd name="T44" fmla="*/ 49 w 406"/>
                <a:gd name="T45" fmla="*/ 483 h 538"/>
                <a:gd name="T46" fmla="*/ 49 w 406"/>
                <a:gd name="T47" fmla="*/ 229 h 538"/>
                <a:gd name="T48" fmla="*/ 356 w 406"/>
                <a:gd name="T49" fmla="*/ 229 h 538"/>
                <a:gd name="T50" fmla="*/ 356 w 406"/>
                <a:gd name="T51" fmla="*/ 483 h 538"/>
                <a:gd name="T52" fmla="*/ 200 w 406"/>
                <a:gd name="T53" fmla="*/ 410 h 538"/>
                <a:gd name="T54" fmla="*/ 254 w 406"/>
                <a:gd name="T55" fmla="*/ 356 h 538"/>
                <a:gd name="T56" fmla="*/ 200 w 406"/>
                <a:gd name="T57" fmla="*/ 308 h 538"/>
                <a:gd name="T58" fmla="*/ 151 w 406"/>
                <a:gd name="T59" fmla="*/ 356 h 538"/>
                <a:gd name="T60" fmla="*/ 200 w 406"/>
                <a:gd name="T61" fmla="*/ 41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6" h="538">
                  <a:moveTo>
                    <a:pt x="356" y="181"/>
                  </a:moveTo>
                  <a:lnTo>
                    <a:pt x="332" y="181"/>
                  </a:lnTo>
                  <a:lnTo>
                    <a:pt x="332" y="127"/>
                  </a:lnTo>
                  <a:cubicBezTo>
                    <a:pt x="332" y="59"/>
                    <a:pt x="271" y="0"/>
                    <a:pt x="200" y="0"/>
                  </a:cubicBezTo>
                  <a:cubicBezTo>
                    <a:pt x="129" y="0"/>
                    <a:pt x="73" y="59"/>
                    <a:pt x="73" y="127"/>
                  </a:cubicBezTo>
                  <a:lnTo>
                    <a:pt x="73" y="181"/>
                  </a:lnTo>
                  <a:lnTo>
                    <a:pt x="49" y="181"/>
                  </a:lnTo>
                  <a:cubicBezTo>
                    <a:pt x="19" y="181"/>
                    <a:pt x="0" y="200"/>
                    <a:pt x="0" y="229"/>
                  </a:cubicBezTo>
                  <a:lnTo>
                    <a:pt x="0" y="483"/>
                  </a:lnTo>
                  <a:cubicBezTo>
                    <a:pt x="0" y="513"/>
                    <a:pt x="19" y="537"/>
                    <a:pt x="49" y="537"/>
                  </a:cubicBezTo>
                  <a:lnTo>
                    <a:pt x="356" y="537"/>
                  </a:lnTo>
                  <a:cubicBezTo>
                    <a:pt x="386" y="537"/>
                    <a:pt x="405" y="513"/>
                    <a:pt x="405" y="483"/>
                  </a:cubicBezTo>
                  <a:lnTo>
                    <a:pt x="405" y="229"/>
                  </a:lnTo>
                  <a:cubicBezTo>
                    <a:pt x="405" y="200"/>
                    <a:pt x="386" y="181"/>
                    <a:pt x="356" y="181"/>
                  </a:cubicBezTo>
                  <a:close/>
                  <a:moveTo>
                    <a:pt x="200" y="49"/>
                  </a:moveTo>
                  <a:cubicBezTo>
                    <a:pt x="244" y="49"/>
                    <a:pt x="283" y="83"/>
                    <a:pt x="283" y="127"/>
                  </a:cubicBezTo>
                  <a:lnTo>
                    <a:pt x="283" y="181"/>
                  </a:lnTo>
                  <a:lnTo>
                    <a:pt x="127" y="181"/>
                  </a:lnTo>
                  <a:lnTo>
                    <a:pt x="127" y="127"/>
                  </a:lnTo>
                  <a:lnTo>
                    <a:pt x="122" y="127"/>
                  </a:lnTo>
                  <a:cubicBezTo>
                    <a:pt x="122" y="83"/>
                    <a:pt x="156" y="49"/>
                    <a:pt x="200" y="49"/>
                  </a:cubicBezTo>
                  <a:close/>
                  <a:moveTo>
                    <a:pt x="356" y="483"/>
                  </a:moveTo>
                  <a:lnTo>
                    <a:pt x="49" y="483"/>
                  </a:lnTo>
                  <a:lnTo>
                    <a:pt x="49" y="229"/>
                  </a:lnTo>
                  <a:lnTo>
                    <a:pt x="356" y="229"/>
                  </a:lnTo>
                  <a:lnTo>
                    <a:pt x="356" y="483"/>
                  </a:lnTo>
                  <a:close/>
                  <a:moveTo>
                    <a:pt x="200" y="410"/>
                  </a:moveTo>
                  <a:cubicBezTo>
                    <a:pt x="229" y="410"/>
                    <a:pt x="254" y="383"/>
                    <a:pt x="254" y="356"/>
                  </a:cubicBezTo>
                  <a:cubicBezTo>
                    <a:pt x="254" y="330"/>
                    <a:pt x="227" y="308"/>
                    <a:pt x="200" y="308"/>
                  </a:cubicBezTo>
                  <a:cubicBezTo>
                    <a:pt x="173" y="308"/>
                    <a:pt x="151" y="330"/>
                    <a:pt x="151" y="356"/>
                  </a:cubicBezTo>
                  <a:cubicBezTo>
                    <a:pt x="151" y="383"/>
                    <a:pt x="176" y="410"/>
                    <a:pt x="200" y="410"/>
                  </a:cubicBezTo>
                  <a:close/>
                </a:path>
              </a:pathLst>
            </a:custGeom>
            <a:solidFill>
              <a:srgbClr val="FFFF00"/>
            </a:solidFill>
            <a:ln>
              <a:noFill/>
            </a:ln>
            <a:effectLst/>
          </p:spPr>
          <p:txBody>
            <a:bodyPr wrap="none" anchor="ctr"/>
            <a:lstStyle/>
            <a:p>
              <a:endParaRPr lang="en-US" dirty="0"/>
            </a:p>
          </p:txBody>
        </p:sp>
      </p:grpSp>
      <p:sp>
        <p:nvSpPr>
          <p:cNvPr id="56" name="Freeform 22">
            <a:extLst>
              <a:ext uri="{FF2B5EF4-FFF2-40B4-BE49-F238E27FC236}">
                <a16:creationId xmlns:a16="http://schemas.microsoft.com/office/drawing/2014/main" id="{7248F567-AE03-4E42-BBD5-2B7ED48F8E9F}"/>
              </a:ext>
            </a:extLst>
          </p:cNvPr>
          <p:cNvSpPr>
            <a:spLocks noChangeArrowheads="1"/>
          </p:cNvSpPr>
          <p:nvPr/>
        </p:nvSpPr>
        <p:spPr bwMode="auto">
          <a:xfrm>
            <a:off x="3383364" y="3285613"/>
            <a:ext cx="446391" cy="498399"/>
          </a:xfrm>
          <a:custGeom>
            <a:avLst/>
            <a:gdLst>
              <a:gd name="T0" fmla="*/ 358 w 456"/>
              <a:gd name="T1" fmla="*/ 280 h 508"/>
              <a:gd name="T2" fmla="*/ 227 w 456"/>
              <a:gd name="T3" fmla="*/ 280 h 508"/>
              <a:gd name="T4" fmla="*/ 227 w 456"/>
              <a:gd name="T5" fmla="*/ 406 h 508"/>
              <a:gd name="T6" fmla="*/ 358 w 456"/>
              <a:gd name="T7" fmla="*/ 406 h 508"/>
              <a:gd name="T8" fmla="*/ 358 w 456"/>
              <a:gd name="T9" fmla="*/ 280 h 508"/>
              <a:gd name="T10" fmla="*/ 329 w 456"/>
              <a:gd name="T11" fmla="*/ 0 h 508"/>
              <a:gd name="T12" fmla="*/ 329 w 456"/>
              <a:gd name="T13" fmla="*/ 53 h 508"/>
              <a:gd name="T14" fmla="*/ 126 w 456"/>
              <a:gd name="T15" fmla="*/ 53 h 508"/>
              <a:gd name="T16" fmla="*/ 126 w 456"/>
              <a:gd name="T17" fmla="*/ 0 h 508"/>
              <a:gd name="T18" fmla="*/ 78 w 456"/>
              <a:gd name="T19" fmla="*/ 0 h 508"/>
              <a:gd name="T20" fmla="*/ 78 w 456"/>
              <a:gd name="T21" fmla="*/ 53 h 508"/>
              <a:gd name="T22" fmla="*/ 53 w 456"/>
              <a:gd name="T23" fmla="*/ 53 h 508"/>
              <a:gd name="T24" fmla="*/ 0 w 456"/>
              <a:gd name="T25" fmla="*/ 101 h 508"/>
              <a:gd name="T26" fmla="*/ 0 w 456"/>
              <a:gd name="T27" fmla="*/ 454 h 508"/>
              <a:gd name="T28" fmla="*/ 53 w 456"/>
              <a:gd name="T29" fmla="*/ 507 h 508"/>
              <a:gd name="T30" fmla="*/ 406 w 456"/>
              <a:gd name="T31" fmla="*/ 507 h 508"/>
              <a:gd name="T32" fmla="*/ 455 w 456"/>
              <a:gd name="T33" fmla="*/ 454 h 508"/>
              <a:gd name="T34" fmla="*/ 455 w 456"/>
              <a:gd name="T35" fmla="*/ 101 h 508"/>
              <a:gd name="T36" fmla="*/ 406 w 456"/>
              <a:gd name="T37" fmla="*/ 53 h 508"/>
              <a:gd name="T38" fmla="*/ 382 w 456"/>
              <a:gd name="T39" fmla="*/ 53 h 508"/>
              <a:gd name="T40" fmla="*/ 382 w 456"/>
              <a:gd name="T41" fmla="*/ 0 h 508"/>
              <a:gd name="T42" fmla="*/ 329 w 456"/>
              <a:gd name="T43" fmla="*/ 0 h 508"/>
              <a:gd name="T44" fmla="*/ 406 w 456"/>
              <a:gd name="T45" fmla="*/ 454 h 508"/>
              <a:gd name="T46" fmla="*/ 53 w 456"/>
              <a:gd name="T47" fmla="*/ 454 h 508"/>
              <a:gd name="T48" fmla="*/ 53 w 456"/>
              <a:gd name="T49" fmla="*/ 179 h 508"/>
              <a:gd name="T50" fmla="*/ 406 w 456"/>
              <a:gd name="T51" fmla="*/ 179 h 508"/>
              <a:gd name="T52" fmla="*/ 406 w 456"/>
              <a:gd name="T53" fmla="*/ 454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6" h="508">
                <a:moveTo>
                  <a:pt x="358" y="280"/>
                </a:moveTo>
                <a:lnTo>
                  <a:pt x="227" y="280"/>
                </a:lnTo>
                <a:lnTo>
                  <a:pt x="227" y="406"/>
                </a:lnTo>
                <a:lnTo>
                  <a:pt x="358" y="406"/>
                </a:lnTo>
                <a:lnTo>
                  <a:pt x="358" y="280"/>
                </a:lnTo>
                <a:close/>
                <a:moveTo>
                  <a:pt x="329" y="0"/>
                </a:moveTo>
                <a:lnTo>
                  <a:pt x="329" y="53"/>
                </a:lnTo>
                <a:lnTo>
                  <a:pt x="126" y="53"/>
                </a:lnTo>
                <a:lnTo>
                  <a:pt x="126" y="0"/>
                </a:lnTo>
                <a:lnTo>
                  <a:pt x="78" y="0"/>
                </a:lnTo>
                <a:lnTo>
                  <a:pt x="78" y="53"/>
                </a:lnTo>
                <a:lnTo>
                  <a:pt x="53" y="53"/>
                </a:lnTo>
                <a:cubicBezTo>
                  <a:pt x="24" y="53"/>
                  <a:pt x="0" y="72"/>
                  <a:pt x="0" y="101"/>
                </a:cubicBezTo>
                <a:lnTo>
                  <a:pt x="0" y="454"/>
                </a:lnTo>
                <a:cubicBezTo>
                  <a:pt x="0" y="483"/>
                  <a:pt x="24" y="507"/>
                  <a:pt x="53" y="507"/>
                </a:cubicBezTo>
                <a:lnTo>
                  <a:pt x="406" y="507"/>
                </a:lnTo>
                <a:cubicBezTo>
                  <a:pt x="435" y="507"/>
                  <a:pt x="455" y="483"/>
                  <a:pt x="455" y="454"/>
                </a:cubicBezTo>
                <a:lnTo>
                  <a:pt x="455" y="101"/>
                </a:lnTo>
                <a:cubicBezTo>
                  <a:pt x="455" y="72"/>
                  <a:pt x="435" y="53"/>
                  <a:pt x="406" y="53"/>
                </a:cubicBezTo>
                <a:lnTo>
                  <a:pt x="382" y="53"/>
                </a:lnTo>
                <a:lnTo>
                  <a:pt x="382" y="0"/>
                </a:lnTo>
                <a:lnTo>
                  <a:pt x="329" y="0"/>
                </a:lnTo>
                <a:close/>
                <a:moveTo>
                  <a:pt x="406" y="454"/>
                </a:moveTo>
                <a:lnTo>
                  <a:pt x="53" y="454"/>
                </a:lnTo>
                <a:lnTo>
                  <a:pt x="53" y="179"/>
                </a:lnTo>
                <a:lnTo>
                  <a:pt x="406" y="179"/>
                </a:lnTo>
                <a:lnTo>
                  <a:pt x="406" y="454"/>
                </a:lnTo>
                <a:close/>
              </a:path>
            </a:pathLst>
          </a:custGeom>
          <a:solidFill>
            <a:schemeClr val="tx1">
              <a:lumMod val="75000"/>
            </a:schemeClr>
          </a:solidFill>
          <a:ln>
            <a:noFill/>
          </a:ln>
          <a:effectLst/>
        </p:spPr>
        <p:txBody>
          <a:bodyPr wrap="none" anchor="ctr"/>
          <a:lstStyle/>
          <a:p>
            <a:endParaRPr lang="en-US" dirty="0"/>
          </a:p>
        </p:txBody>
      </p:sp>
      <p:sp>
        <p:nvSpPr>
          <p:cNvPr id="57" name="Freeform 32">
            <a:extLst>
              <a:ext uri="{FF2B5EF4-FFF2-40B4-BE49-F238E27FC236}">
                <a16:creationId xmlns:a16="http://schemas.microsoft.com/office/drawing/2014/main" id="{0F54350B-0D93-4024-9AC1-8367092099CA}"/>
              </a:ext>
            </a:extLst>
          </p:cNvPr>
          <p:cNvSpPr>
            <a:spLocks noChangeArrowheads="1"/>
          </p:cNvSpPr>
          <p:nvPr/>
        </p:nvSpPr>
        <p:spPr bwMode="auto">
          <a:xfrm>
            <a:off x="3372316" y="3987459"/>
            <a:ext cx="406761" cy="402387"/>
          </a:xfrm>
          <a:custGeom>
            <a:avLst/>
            <a:gdLst>
              <a:gd name="T0" fmla="*/ 347 w 411"/>
              <a:gd name="T1" fmla="*/ 59 h 407"/>
              <a:gd name="T2" fmla="*/ 205 w 411"/>
              <a:gd name="T3" fmla="*/ 0 h 407"/>
              <a:gd name="T4" fmla="*/ 0 w 411"/>
              <a:gd name="T5" fmla="*/ 205 h 407"/>
              <a:gd name="T6" fmla="*/ 205 w 411"/>
              <a:gd name="T7" fmla="*/ 406 h 407"/>
              <a:gd name="T8" fmla="*/ 401 w 411"/>
              <a:gd name="T9" fmla="*/ 254 h 407"/>
              <a:gd name="T10" fmla="*/ 347 w 411"/>
              <a:gd name="T11" fmla="*/ 254 h 407"/>
              <a:gd name="T12" fmla="*/ 205 w 411"/>
              <a:gd name="T13" fmla="*/ 357 h 407"/>
              <a:gd name="T14" fmla="*/ 49 w 411"/>
              <a:gd name="T15" fmla="*/ 205 h 407"/>
              <a:gd name="T16" fmla="*/ 205 w 411"/>
              <a:gd name="T17" fmla="*/ 49 h 407"/>
              <a:gd name="T18" fmla="*/ 313 w 411"/>
              <a:gd name="T19" fmla="*/ 98 h 407"/>
              <a:gd name="T20" fmla="*/ 230 w 411"/>
              <a:gd name="T21" fmla="*/ 176 h 407"/>
              <a:gd name="T22" fmla="*/ 410 w 411"/>
              <a:gd name="T23" fmla="*/ 176 h 407"/>
              <a:gd name="T24" fmla="*/ 410 w 411"/>
              <a:gd name="T25" fmla="*/ 0 h 407"/>
              <a:gd name="T26" fmla="*/ 347 w 411"/>
              <a:gd name="T27" fmla="*/ 59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1" h="407">
                <a:moveTo>
                  <a:pt x="347" y="59"/>
                </a:moveTo>
                <a:cubicBezTo>
                  <a:pt x="313" y="20"/>
                  <a:pt x="259" y="0"/>
                  <a:pt x="205" y="0"/>
                </a:cubicBezTo>
                <a:cubicBezTo>
                  <a:pt x="93" y="0"/>
                  <a:pt x="0" y="93"/>
                  <a:pt x="0" y="205"/>
                </a:cubicBezTo>
                <a:cubicBezTo>
                  <a:pt x="0" y="318"/>
                  <a:pt x="93" y="406"/>
                  <a:pt x="205" y="406"/>
                </a:cubicBezTo>
                <a:cubicBezTo>
                  <a:pt x="298" y="406"/>
                  <a:pt x="376" y="342"/>
                  <a:pt x="401" y="254"/>
                </a:cubicBezTo>
                <a:lnTo>
                  <a:pt x="347" y="254"/>
                </a:lnTo>
                <a:cubicBezTo>
                  <a:pt x="327" y="313"/>
                  <a:pt x="269" y="357"/>
                  <a:pt x="205" y="357"/>
                </a:cubicBezTo>
                <a:cubicBezTo>
                  <a:pt x="122" y="357"/>
                  <a:pt x="49" y="291"/>
                  <a:pt x="49" y="205"/>
                </a:cubicBezTo>
                <a:cubicBezTo>
                  <a:pt x="49" y="120"/>
                  <a:pt x="122" y="49"/>
                  <a:pt x="205" y="49"/>
                </a:cubicBezTo>
                <a:cubicBezTo>
                  <a:pt x="249" y="49"/>
                  <a:pt x="283" y="69"/>
                  <a:pt x="313" y="98"/>
                </a:cubicBezTo>
                <a:lnTo>
                  <a:pt x="230" y="176"/>
                </a:lnTo>
                <a:lnTo>
                  <a:pt x="410" y="176"/>
                </a:lnTo>
                <a:lnTo>
                  <a:pt x="410" y="0"/>
                </a:lnTo>
                <a:lnTo>
                  <a:pt x="347" y="59"/>
                </a:lnTo>
              </a:path>
            </a:pathLst>
          </a:custGeom>
          <a:solidFill>
            <a:schemeClr val="tx1">
              <a:lumMod val="75000"/>
            </a:schemeClr>
          </a:solidFill>
          <a:ln>
            <a:noFill/>
          </a:ln>
          <a:effectLst/>
        </p:spPr>
        <p:txBody>
          <a:bodyPr wrap="none" anchor="ctr"/>
          <a:lstStyle/>
          <a:p>
            <a:endParaRPr lang="en-US" dirty="0"/>
          </a:p>
        </p:txBody>
      </p:sp>
      <p:sp>
        <p:nvSpPr>
          <p:cNvPr id="58" name="Freeform 22">
            <a:extLst>
              <a:ext uri="{FF2B5EF4-FFF2-40B4-BE49-F238E27FC236}">
                <a16:creationId xmlns:a16="http://schemas.microsoft.com/office/drawing/2014/main" id="{B21023E3-BB13-4C5F-8982-F11C2E74776D}"/>
              </a:ext>
            </a:extLst>
          </p:cNvPr>
          <p:cNvSpPr>
            <a:spLocks noChangeArrowheads="1"/>
          </p:cNvSpPr>
          <p:nvPr/>
        </p:nvSpPr>
        <p:spPr bwMode="auto">
          <a:xfrm>
            <a:off x="4339573" y="3316149"/>
            <a:ext cx="1048786" cy="908941"/>
          </a:xfrm>
          <a:custGeom>
            <a:avLst/>
            <a:gdLst>
              <a:gd name="T0" fmla="*/ 0 w 597"/>
              <a:gd name="T1" fmla="*/ 513 h 514"/>
              <a:gd name="T2" fmla="*/ 596 w 597"/>
              <a:gd name="T3" fmla="*/ 513 h 514"/>
              <a:gd name="T4" fmla="*/ 296 w 597"/>
              <a:gd name="T5" fmla="*/ 0 h 514"/>
              <a:gd name="T6" fmla="*/ 0 w 597"/>
              <a:gd name="T7" fmla="*/ 513 h 514"/>
              <a:gd name="T8" fmla="*/ 327 w 597"/>
              <a:gd name="T9" fmla="*/ 436 h 514"/>
              <a:gd name="T10" fmla="*/ 270 w 597"/>
              <a:gd name="T11" fmla="*/ 436 h 514"/>
              <a:gd name="T12" fmla="*/ 270 w 597"/>
              <a:gd name="T13" fmla="*/ 379 h 514"/>
              <a:gd name="T14" fmla="*/ 327 w 597"/>
              <a:gd name="T15" fmla="*/ 379 h 514"/>
              <a:gd name="T16" fmla="*/ 327 w 597"/>
              <a:gd name="T17" fmla="*/ 436 h 514"/>
              <a:gd name="T18" fmla="*/ 327 w 597"/>
              <a:gd name="T19" fmla="*/ 327 h 514"/>
              <a:gd name="T20" fmla="*/ 270 w 597"/>
              <a:gd name="T21" fmla="*/ 327 h 514"/>
              <a:gd name="T22" fmla="*/ 270 w 597"/>
              <a:gd name="T23" fmla="*/ 218 h 514"/>
              <a:gd name="T24" fmla="*/ 327 w 597"/>
              <a:gd name="T25" fmla="*/ 218 h 514"/>
              <a:gd name="T26" fmla="*/ 327 w 597"/>
              <a:gd name="T27" fmla="*/ 327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514">
                <a:moveTo>
                  <a:pt x="0" y="513"/>
                </a:moveTo>
                <a:lnTo>
                  <a:pt x="596" y="513"/>
                </a:lnTo>
                <a:lnTo>
                  <a:pt x="296" y="0"/>
                </a:lnTo>
                <a:lnTo>
                  <a:pt x="0" y="513"/>
                </a:lnTo>
                <a:close/>
                <a:moveTo>
                  <a:pt x="327" y="436"/>
                </a:moveTo>
                <a:lnTo>
                  <a:pt x="270" y="436"/>
                </a:lnTo>
                <a:lnTo>
                  <a:pt x="270" y="379"/>
                </a:lnTo>
                <a:lnTo>
                  <a:pt x="327" y="379"/>
                </a:lnTo>
                <a:lnTo>
                  <a:pt x="327" y="436"/>
                </a:lnTo>
                <a:close/>
                <a:moveTo>
                  <a:pt x="327" y="327"/>
                </a:moveTo>
                <a:lnTo>
                  <a:pt x="270" y="327"/>
                </a:lnTo>
                <a:lnTo>
                  <a:pt x="270" y="218"/>
                </a:lnTo>
                <a:lnTo>
                  <a:pt x="327" y="218"/>
                </a:lnTo>
                <a:lnTo>
                  <a:pt x="327" y="327"/>
                </a:lnTo>
                <a:close/>
              </a:path>
            </a:pathLst>
          </a:custGeom>
          <a:solidFill>
            <a:srgbClr val="FF0000"/>
          </a:solidFill>
          <a:ln>
            <a:noFill/>
          </a:ln>
          <a:effectLst/>
        </p:spPr>
        <p:txBody>
          <a:bodyPr wrap="none" anchor="ctr"/>
          <a:lstStyle/>
          <a:p>
            <a:endParaRPr lang="en-US" dirty="0"/>
          </a:p>
        </p:txBody>
      </p:sp>
    </p:spTree>
    <p:extLst>
      <p:ext uri="{BB962C8B-B14F-4D97-AF65-F5344CB8AC3E}">
        <p14:creationId xmlns:p14="http://schemas.microsoft.com/office/powerpoint/2010/main" val="1232780804"/>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EED0198-33B4-457C-A000-6B7D37E41C68}"/>
              </a:ext>
            </a:extLst>
          </p:cNvPr>
          <p:cNvSpPr>
            <a:spLocks noGrp="1"/>
          </p:cNvSpPr>
          <p:nvPr>
            <p:ph type="title"/>
          </p:nvPr>
        </p:nvSpPr>
        <p:spPr/>
        <p:txBody>
          <a:bodyPr/>
          <a:lstStyle/>
          <a:p>
            <a:r>
              <a:rPr lang="en-US"/>
              <a:t>Challenges</a:t>
            </a:r>
          </a:p>
        </p:txBody>
      </p:sp>
      <p:sp>
        <p:nvSpPr>
          <p:cNvPr id="7" name="Content Placeholder 6">
            <a:extLst>
              <a:ext uri="{FF2B5EF4-FFF2-40B4-BE49-F238E27FC236}">
                <a16:creationId xmlns:a16="http://schemas.microsoft.com/office/drawing/2014/main" id="{F370F429-0D85-4F09-ABDB-72D6F48FC87F}"/>
              </a:ext>
            </a:extLst>
          </p:cNvPr>
          <p:cNvSpPr>
            <a:spLocks noGrp="1"/>
          </p:cNvSpPr>
          <p:nvPr>
            <p:ph sz="quarter" idx="12"/>
          </p:nvPr>
        </p:nvSpPr>
        <p:spPr/>
        <p:txBody>
          <a:bodyPr/>
          <a:lstStyle/>
          <a:p>
            <a:r>
              <a:rPr lang="en-US"/>
              <a:t>Scalability</a:t>
            </a:r>
          </a:p>
          <a:p>
            <a:pPr lvl="1"/>
            <a:r>
              <a:rPr lang="en-US"/>
              <a:t>Managing a large number of secrets</a:t>
            </a:r>
          </a:p>
          <a:p>
            <a:pPr lvl="1"/>
            <a:r>
              <a:rPr lang="en-US"/>
              <a:t>Large number of autonomous teams using heterogeneous technologies</a:t>
            </a:r>
          </a:p>
          <a:p>
            <a:r>
              <a:rPr lang="en-US"/>
              <a:t>Security</a:t>
            </a:r>
          </a:p>
          <a:p>
            <a:pPr lvl="1"/>
            <a:r>
              <a:rPr lang="en-US"/>
              <a:t>Secure storage and handling of secrets by default</a:t>
            </a:r>
          </a:p>
          <a:p>
            <a:r>
              <a:rPr lang="en-US"/>
              <a:t>Availability</a:t>
            </a:r>
          </a:p>
          <a:p>
            <a:pPr lvl="1"/>
            <a:r>
              <a:rPr lang="en-US"/>
              <a:t>Ensuring data accessibility for authorized users.</a:t>
            </a:r>
          </a:p>
          <a:p>
            <a:r>
              <a:rPr lang="en-US"/>
              <a:t>Governance</a:t>
            </a:r>
          </a:p>
          <a:p>
            <a:pPr lvl="1"/>
            <a:r>
              <a:rPr lang="en-US"/>
              <a:t>Access control</a:t>
            </a:r>
          </a:p>
          <a:p>
            <a:pPr lvl="1"/>
            <a:r>
              <a:rPr lang="en-US"/>
              <a:t>Auditing</a:t>
            </a:r>
          </a:p>
        </p:txBody>
      </p:sp>
      <p:sp>
        <p:nvSpPr>
          <p:cNvPr id="8" name="Text Placeholder 7">
            <a:extLst>
              <a:ext uri="{FF2B5EF4-FFF2-40B4-BE49-F238E27FC236}">
                <a16:creationId xmlns:a16="http://schemas.microsoft.com/office/drawing/2014/main" id="{8A051701-6BA9-469E-96F9-C7224A538EF2}"/>
              </a:ext>
            </a:extLst>
          </p:cNvPr>
          <p:cNvSpPr>
            <a:spLocks noGrp="1"/>
          </p:cNvSpPr>
          <p:nvPr>
            <p:ph type="body" sz="quarter" idx="23"/>
          </p:nvPr>
        </p:nvSpPr>
        <p:spPr/>
        <p:txBody>
          <a:bodyPr/>
          <a:lstStyle/>
          <a:p>
            <a:endParaRPr lang="en-US"/>
          </a:p>
        </p:txBody>
      </p:sp>
    </p:spTree>
    <p:extLst>
      <p:ext uri="{BB962C8B-B14F-4D97-AF65-F5344CB8AC3E}">
        <p14:creationId xmlns:p14="http://schemas.microsoft.com/office/powerpoint/2010/main" val="1266854712"/>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C74B7-7B9A-472E-807B-A19CD1EA2A25}"/>
              </a:ext>
            </a:extLst>
          </p:cNvPr>
          <p:cNvSpPr>
            <a:spLocks noGrp="1"/>
          </p:cNvSpPr>
          <p:nvPr>
            <p:ph type="title"/>
          </p:nvPr>
        </p:nvSpPr>
        <p:spPr/>
        <p:txBody>
          <a:bodyPr/>
          <a:lstStyle/>
          <a:p>
            <a:r>
              <a:rPr lang="en-US"/>
              <a:t>Azure Key Vault</a:t>
            </a:r>
          </a:p>
        </p:txBody>
      </p:sp>
      <p:sp>
        <p:nvSpPr>
          <p:cNvPr id="3" name="Content Placeholder 2">
            <a:extLst>
              <a:ext uri="{FF2B5EF4-FFF2-40B4-BE49-F238E27FC236}">
                <a16:creationId xmlns:a16="http://schemas.microsoft.com/office/drawing/2014/main" id="{FB889B3A-6FD0-472A-9CD6-295F764AA13E}"/>
              </a:ext>
            </a:extLst>
          </p:cNvPr>
          <p:cNvSpPr>
            <a:spLocks noGrp="1"/>
          </p:cNvSpPr>
          <p:nvPr>
            <p:ph sz="quarter" idx="12"/>
          </p:nvPr>
        </p:nvSpPr>
        <p:spPr/>
        <p:txBody>
          <a:bodyPr/>
          <a:lstStyle/>
          <a:p>
            <a:r>
              <a:rPr lang="en-US"/>
              <a:t>Centralized storage of secrets in </a:t>
            </a:r>
            <a:r>
              <a:rPr lang="en-US" i="1"/>
              <a:t>Vaults</a:t>
            </a:r>
          </a:p>
          <a:p>
            <a:pPr lvl="1"/>
            <a:r>
              <a:rPr lang="en-US"/>
              <a:t>Controlled distribution</a:t>
            </a:r>
          </a:p>
          <a:p>
            <a:pPr lvl="1"/>
            <a:r>
              <a:rPr lang="en-US"/>
              <a:t>Monitor and log access to secrets and TLS certificates</a:t>
            </a:r>
          </a:p>
          <a:p>
            <a:r>
              <a:rPr lang="en-US"/>
              <a:t>Vaults = secure containers for secrets</a:t>
            </a:r>
          </a:p>
          <a:p>
            <a:pPr lvl="1"/>
            <a:r>
              <a:rPr lang="en-US"/>
              <a:t>Hardware Security Modules (HSMs)</a:t>
            </a:r>
          </a:p>
          <a:p>
            <a:r>
              <a:rPr lang="en-US"/>
              <a:t>Protected by Azure Active Directory</a:t>
            </a:r>
          </a:p>
          <a:p>
            <a:pPr lvl="1"/>
            <a:r>
              <a:rPr lang="en-US"/>
              <a:t>User accounts and service principles</a:t>
            </a:r>
          </a:p>
          <a:p>
            <a:r>
              <a:rPr lang="en-US"/>
              <a:t>Integrated with other Azure Services</a:t>
            </a:r>
          </a:p>
          <a:p>
            <a:pPr lvl="1"/>
            <a:r>
              <a:rPr lang="en-US"/>
              <a:t>E.g. Managed Service Identity</a:t>
            </a:r>
          </a:p>
        </p:txBody>
      </p:sp>
      <p:sp>
        <p:nvSpPr>
          <p:cNvPr id="4" name="Text Placeholder 3">
            <a:extLst>
              <a:ext uri="{FF2B5EF4-FFF2-40B4-BE49-F238E27FC236}">
                <a16:creationId xmlns:a16="http://schemas.microsoft.com/office/drawing/2014/main" id="{DA724BCC-A48D-4917-84E1-69E4BE048427}"/>
              </a:ext>
            </a:extLst>
          </p:cNvPr>
          <p:cNvSpPr>
            <a:spLocks noGrp="1"/>
          </p:cNvSpPr>
          <p:nvPr>
            <p:ph type="body" sz="quarter" idx="23"/>
          </p:nvPr>
        </p:nvSpPr>
        <p:spPr/>
        <p:txBody>
          <a:bodyPr/>
          <a:lstStyle/>
          <a:p>
            <a:r>
              <a:rPr lang="en-US" dirty="0"/>
              <a:t>Read more in docs: </a:t>
            </a:r>
            <a:r>
              <a:rPr lang="en-US" dirty="0">
                <a:hlinkClick r:id="rId2"/>
              </a:rPr>
              <a:t>https://docs.microsoft.com/en-us/azure/key-vault/</a:t>
            </a:r>
            <a:endParaRPr lang="en-US" dirty="0"/>
          </a:p>
        </p:txBody>
      </p:sp>
    </p:spTree>
    <p:extLst>
      <p:ext uri="{BB962C8B-B14F-4D97-AF65-F5344CB8AC3E}">
        <p14:creationId xmlns:p14="http://schemas.microsoft.com/office/powerpoint/2010/main" val="2980512373"/>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C74B7-7B9A-472E-807B-A19CD1EA2A25}"/>
              </a:ext>
            </a:extLst>
          </p:cNvPr>
          <p:cNvSpPr>
            <a:spLocks noGrp="1"/>
          </p:cNvSpPr>
          <p:nvPr>
            <p:ph type="title"/>
          </p:nvPr>
        </p:nvSpPr>
        <p:spPr/>
        <p:txBody>
          <a:bodyPr/>
          <a:lstStyle/>
          <a:p>
            <a:r>
              <a:rPr lang="en-US" dirty="0"/>
              <a:t>Managed Identity</a:t>
            </a:r>
          </a:p>
        </p:txBody>
      </p:sp>
      <p:sp>
        <p:nvSpPr>
          <p:cNvPr id="3" name="Content Placeholder 2">
            <a:extLst>
              <a:ext uri="{FF2B5EF4-FFF2-40B4-BE49-F238E27FC236}">
                <a16:creationId xmlns:a16="http://schemas.microsoft.com/office/drawing/2014/main" id="{FB889B3A-6FD0-472A-9CD6-295F764AA13E}"/>
              </a:ext>
            </a:extLst>
          </p:cNvPr>
          <p:cNvSpPr>
            <a:spLocks noGrp="1"/>
          </p:cNvSpPr>
          <p:nvPr>
            <p:ph sz="quarter" idx="12"/>
          </p:nvPr>
        </p:nvSpPr>
        <p:spPr/>
        <p:txBody>
          <a:bodyPr/>
          <a:lstStyle/>
          <a:p>
            <a:r>
              <a:rPr lang="en-US" dirty="0"/>
              <a:t>Simplify handling secrets for Azure services</a:t>
            </a:r>
          </a:p>
          <a:p>
            <a:pPr lvl="1"/>
            <a:r>
              <a:rPr lang="en-US" dirty="0"/>
              <a:t>Creation, use, key rotation</a:t>
            </a:r>
          </a:p>
          <a:p>
            <a:r>
              <a:rPr lang="en-US" dirty="0"/>
              <a:t>Never store credentials in code or config</a:t>
            </a:r>
          </a:p>
          <a:p>
            <a:pPr lvl="1"/>
            <a:r>
              <a:rPr lang="en-US" dirty="0"/>
              <a:t>Integrated with Azure AD</a:t>
            </a:r>
          </a:p>
          <a:p>
            <a:r>
              <a:rPr lang="en-US" dirty="0"/>
              <a:t>Supports development and production</a:t>
            </a:r>
          </a:p>
          <a:p>
            <a:pPr lvl="1"/>
            <a:r>
              <a:rPr lang="en-US" dirty="0"/>
              <a:t>Use developer’s credentials during dev</a:t>
            </a:r>
          </a:p>
          <a:p>
            <a:pPr lvl="1"/>
            <a:r>
              <a:rPr lang="en-US" dirty="0"/>
              <a:t>Handle access credentials automatically in prod</a:t>
            </a:r>
          </a:p>
          <a:p>
            <a:r>
              <a:rPr lang="en-US" dirty="0"/>
              <a:t>Integrated with many Azure Services</a:t>
            </a:r>
          </a:p>
          <a:p>
            <a:pPr lvl="1"/>
            <a:r>
              <a:rPr lang="en-US" dirty="0">
                <a:hlinkClick r:id="rId2"/>
              </a:rPr>
              <a:t>Read more…</a:t>
            </a:r>
            <a:endParaRPr lang="en-US" dirty="0"/>
          </a:p>
          <a:p>
            <a:pPr lvl="1"/>
            <a:r>
              <a:rPr lang="en-US" dirty="0"/>
              <a:t>Here: Focus on </a:t>
            </a:r>
            <a:r>
              <a:rPr lang="en-US" i="1" dirty="0"/>
              <a:t>Azure </a:t>
            </a:r>
            <a:r>
              <a:rPr lang="en-US" i="1" dirty="0" err="1"/>
              <a:t>KeyVault</a:t>
            </a:r>
            <a:r>
              <a:rPr lang="en-US" dirty="0"/>
              <a:t> integration</a:t>
            </a:r>
          </a:p>
        </p:txBody>
      </p:sp>
      <p:sp>
        <p:nvSpPr>
          <p:cNvPr id="4" name="Text Placeholder 3">
            <a:extLst>
              <a:ext uri="{FF2B5EF4-FFF2-40B4-BE49-F238E27FC236}">
                <a16:creationId xmlns:a16="http://schemas.microsoft.com/office/drawing/2014/main" id="{DA724BCC-A48D-4917-84E1-69E4BE048427}"/>
              </a:ext>
            </a:extLst>
          </p:cNvPr>
          <p:cNvSpPr>
            <a:spLocks noGrp="1"/>
          </p:cNvSpPr>
          <p:nvPr>
            <p:ph type="body" sz="quarter" idx="23"/>
          </p:nvPr>
        </p:nvSpPr>
        <p:spPr/>
        <p:txBody>
          <a:bodyPr/>
          <a:lstStyle/>
          <a:p>
            <a:endParaRPr lang="en-US"/>
          </a:p>
        </p:txBody>
      </p:sp>
    </p:spTree>
    <p:extLst>
      <p:ext uri="{BB962C8B-B14F-4D97-AF65-F5344CB8AC3E}">
        <p14:creationId xmlns:p14="http://schemas.microsoft.com/office/powerpoint/2010/main" val="607520771"/>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Design">
  <a:themeElements>
    <a:clrScheme name="Custom 1">
      <a:dk1>
        <a:srgbClr val="595959"/>
      </a:dk1>
      <a:lt1>
        <a:srgbClr val="FFFFFF"/>
      </a:lt1>
      <a:dk2>
        <a:srgbClr val="7F7F7F"/>
      </a:dk2>
      <a:lt2>
        <a:srgbClr val="F2F2F2"/>
      </a:lt2>
      <a:accent1>
        <a:srgbClr val="0071BC"/>
      </a:accent1>
      <a:accent2>
        <a:srgbClr val="72BF44"/>
      </a:accent2>
      <a:accent3>
        <a:srgbClr val="C52A1C"/>
      </a:accent3>
      <a:accent4>
        <a:srgbClr val="FFCC00"/>
      </a:accent4>
      <a:accent5>
        <a:srgbClr val="50A5DC"/>
      </a:accent5>
      <a:accent6>
        <a:srgbClr val="9DD435"/>
      </a:accent6>
      <a:hlink>
        <a:srgbClr val="0070C0"/>
      </a:hlink>
      <a:folHlink>
        <a:srgbClr val="00B0F0"/>
      </a:folHlink>
    </a:clrScheme>
    <a:fontScheme name="software architec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Read-Only]" id="{678C3389-14F5-4653-8DF3-32367C0FA725}" vid="{CBA5437F-661A-434D-8794-45CDD80053B1}"/>
    </a:ext>
  </a:extLst>
</a:theme>
</file>

<file path=ppt/theme/theme3.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4.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5F383DF-C9C6-4402-8B8E-3416F02D4A6D}" vid="{303CC729-1AF9-4F61-9F88-97AC3BF66CC0}"/>
    </a:ext>
  </a:extLst>
</a:theme>
</file>

<file path=ppt/theme/theme5.xml><?xml version="1.0" encoding="utf-8"?>
<a:theme xmlns:a="http://schemas.openxmlformats.org/drawingml/2006/main" name="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C90029AD581154692170791F90B0BA6" ma:contentTypeVersion="0" ma:contentTypeDescription="Create a new document." ma:contentTypeScope="" ma:versionID="453f2a28f59e13bb333d4563bd7e6ec5">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B978F6DD-25A2-48DB-A93B-386E9DA01ECA}">
  <ds:schemaRefs>
    <ds:schemaRef ds:uri="http://schemas.microsoft.com/sharepoint/v3/contenttype/forms"/>
  </ds:schemaRefs>
</ds:datastoreItem>
</file>

<file path=customXml/itemProps2.xml><?xml version="1.0" encoding="utf-8"?>
<ds:datastoreItem xmlns:ds="http://schemas.openxmlformats.org/officeDocument/2006/customXml" ds:itemID="{03D43D4A-F5F8-47F6-A4EC-521F433C91BF}">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14A11C81-3A20-458B-AC33-D8C9DB9BBB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otalTime>0</TotalTime>
  <Words>2287</Words>
  <Application>Microsoft Office PowerPoint</Application>
  <PresentationFormat>On-screen Show (16:9)</PresentationFormat>
  <Paragraphs>487</Paragraphs>
  <Slides>50</Slides>
  <Notes>8</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50</vt:i4>
      </vt:variant>
    </vt:vector>
  </HeadingPairs>
  <TitlesOfParts>
    <vt:vector size="67" baseType="lpstr">
      <vt:lpstr>Arial</vt:lpstr>
      <vt:lpstr>Bodoni MT</vt:lpstr>
      <vt:lpstr>Calibri</vt:lpstr>
      <vt:lpstr>Consolas</vt:lpstr>
      <vt:lpstr>Segoe Pro Light</vt:lpstr>
      <vt:lpstr>Segoe UI</vt:lpstr>
      <vt:lpstr>Segoe UI Light</vt:lpstr>
      <vt:lpstr>Segoe UI Semibold</vt:lpstr>
      <vt:lpstr>Segoe UI Semilight</vt:lpstr>
      <vt:lpstr>Wingdings</vt:lpstr>
      <vt:lpstr>Wingdings 3</vt:lpstr>
      <vt:lpstr>Larissa-Design</vt:lpstr>
      <vt:lpstr>5-50109_Microsoft_Light_Template</vt:lpstr>
      <vt:lpstr>1_COLOR TEMPLATE</vt:lpstr>
      <vt:lpstr>5-30721_Build_2016_Template_Dark</vt:lpstr>
      <vt:lpstr>Office Theme</vt:lpstr>
      <vt:lpstr>think-cell Slide</vt:lpstr>
      <vt:lpstr>Azure</vt:lpstr>
      <vt:lpstr>Azure AppService</vt:lpstr>
      <vt:lpstr>Overview Azure App Service</vt:lpstr>
      <vt:lpstr>Overview Azure App Service</vt:lpstr>
      <vt:lpstr>Configure</vt:lpstr>
      <vt:lpstr>The Problem</vt:lpstr>
      <vt:lpstr>Challenges</vt:lpstr>
      <vt:lpstr>Azure Key Vault</vt:lpstr>
      <vt:lpstr>Managed Identity</vt:lpstr>
      <vt:lpstr>Tips</vt:lpstr>
      <vt:lpstr>Deployment Options</vt:lpstr>
      <vt:lpstr>Deployment Options</vt:lpstr>
      <vt:lpstr>Authentication</vt:lpstr>
      <vt:lpstr>Management</vt:lpstr>
      <vt:lpstr>Web Jobs</vt:lpstr>
      <vt:lpstr>Azure Storage</vt:lpstr>
      <vt:lpstr>NoSQL vs. SQL</vt:lpstr>
      <vt:lpstr>Azure Storage</vt:lpstr>
      <vt:lpstr>Azure Storage</vt:lpstr>
      <vt:lpstr>Blob Storage</vt:lpstr>
      <vt:lpstr>Authentication</vt:lpstr>
      <vt:lpstr>Events</vt:lpstr>
      <vt:lpstr>Azure SQL Database</vt:lpstr>
      <vt:lpstr>SQL Options in Azure</vt:lpstr>
      <vt:lpstr>Azure SQL Database</vt:lpstr>
      <vt:lpstr>PowerPoint Presentation</vt:lpstr>
      <vt:lpstr>Elastic database pools</vt:lpstr>
      <vt:lpstr>Azure Cosmos DB</vt:lpstr>
      <vt:lpstr>Developing planet-scale apps comes with  planet-scale challenges</vt:lpstr>
      <vt:lpstr>Put your data where your users are </vt:lpstr>
      <vt:lpstr>Introducing Azure Cosmos DB A globally distributed, massively scalable, multi-model database service</vt:lpstr>
      <vt:lpstr>Introducing Azure Cosmos DB A globally distributed, massively scalable, multi-model database service</vt:lpstr>
      <vt:lpstr>Azure DevOps</vt:lpstr>
      <vt:lpstr>The converged DevOps lifecycle</vt:lpstr>
      <vt:lpstr>Shift to DevOps</vt:lpstr>
      <vt:lpstr>DevOps habits and practices</vt:lpstr>
      <vt:lpstr>CI/CD in the Microsoft Universe</vt:lpstr>
      <vt:lpstr>DevOps </vt:lpstr>
      <vt:lpstr>Microsoft Tooling</vt:lpstr>
      <vt:lpstr>OSS Tooling</vt:lpstr>
      <vt:lpstr>DevOps with ARM</vt:lpstr>
      <vt:lpstr>PowerPoint Presentation</vt:lpstr>
      <vt:lpstr>Areas of Focus</vt:lpstr>
      <vt:lpstr>Deploying with ARM</vt:lpstr>
      <vt:lpstr>Support for IaaS and PaaS</vt:lpstr>
      <vt:lpstr>Advanced Concepts, Resources</vt:lpstr>
      <vt:lpstr>Azure DevOps Project</vt:lpstr>
      <vt:lpstr>Azure DevOps Pipelines</vt:lpstr>
      <vt:lpstr>Azure DevOps Pipelines</vt:lpstr>
      <vt:lpstr>Q&amp;A</vt:lpstr>
    </vt:vector>
  </TitlesOfParts>
  <Company>software architects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ftarch Presentation Template</dc:title>
  <dc:subject/>
  <dc:creator>Rainer Stropek</dc:creator>
  <cp:keywords/>
  <dc:description/>
  <cp:lastModifiedBy>Rainer Stropek</cp:lastModifiedBy>
  <cp:revision>533</cp:revision>
  <dcterms:created xsi:type="dcterms:W3CDTF">2008-12-21T08:14:37Z</dcterms:created>
  <dcterms:modified xsi:type="dcterms:W3CDTF">2019-02-10T10:35:39Z</dcterms:modified>
  <cp:contentStatus>Template</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90029AD581154692170791F90B0BA6</vt:lpwstr>
  </property>
</Properties>
</file>